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2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3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212.xml" ContentType="application/vnd.openxmlformats-officedocument.presentationml.tags+xml"/>
  <Override PartName="/ppt/charts/chart7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Ex1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charts/chart8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2.xml" ContentType="application/vnd.openxmlformats-officedocument.drawingml.chartshapes+xml"/>
  <Override PartName="/ppt/charts/chartEx2.xml" ContentType="application/vnd.ms-office.chartex+xml"/>
  <Override PartName="/ppt/charts/style4.xml" ContentType="application/vnd.ms-office.chartstyle+xml"/>
  <Override PartName="/ppt/charts/colors4.xml" ContentType="application/vnd.ms-office.chartcolorstyle+xml"/>
  <Override PartName="/ppt/charts/chart9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3.xml" ContentType="application/vnd.openxmlformats-officedocument.drawingml.chartshapes+xml"/>
  <Override PartName="/ppt/charts/chartEx3.xml" ContentType="application/vnd.ms-office.chartex+xml"/>
  <Override PartName="/ppt/charts/style6.xml" ContentType="application/vnd.ms-office.chartstyle+xml"/>
  <Override PartName="/ppt/charts/colors6.xml" ContentType="application/vnd.ms-office.chartcolorstyle+xml"/>
  <Override PartName="/ppt/charts/chart10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4.xml" ContentType="application/vnd.openxmlformats-officedocument.drawingml.chartshapes+xml"/>
  <Override PartName="/ppt/charts/chartEx4.xml" ContentType="application/vnd.ms-office.chartex+xml"/>
  <Override PartName="/ppt/charts/style8.xml" ContentType="application/vnd.ms-office.chartstyle+xml"/>
  <Override PartName="/ppt/charts/colors8.xml" ContentType="application/vnd.ms-office.chartcolorstyle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5.xml" ContentType="application/vnd.openxmlformats-officedocument.drawingml.chartshapes+xml"/>
  <Override PartName="/ppt/charts/chartEx5.xml" ContentType="application/vnd.ms-office.chartex+xml"/>
  <Override PartName="/ppt/charts/style10.xml" ContentType="application/vnd.ms-office.chartstyle+xml"/>
  <Override PartName="/ppt/charts/colors10.xml" ContentType="application/vnd.ms-office.chartcolorstyl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drawings/drawing6.xml" ContentType="application/vnd.openxmlformats-officedocument.drawingml.chartshapes+xml"/>
  <Override PartName="/ppt/charts/chartEx6.xml" ContentType="application/vnd.ms-office.chartex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drawings/drawing7.xml" ContentType="application/vnd.openxmlformats-officedocument.drawingml.chartshapes+xml"/>
  <Override PartName="/ppt/charts/chartEx7.xml" ContentType="application/vnd.ms-office.chartex+xml"/>
  <Override PartName="/ppt/charts/style14.xml" ContentType="application/vnd.ms-office.chartstyle+xml"/>
  <Override PartName="/ppt/charts/colors14.xml" ContentType="application/vnd.ms-office.chartcolorstyle+xml"/>
  <Override PartName="/ppt/charts/chart14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drawings/drawing8.xml" ContentType="application/vnd.openxmlformats-officedocument.drawingml.chartshapes+xml"/>
  <Override PartName="/ppt/charts/chartEx8.xml" ContentType="application/vnd.ms-office.chartex+xml"/>
  <Override PartName="/ppt/charts/style16.xml" ContentType="application/vnd.ms-office.chartstyle+xml"/>
  <Override PartName="/ppt/charts/colors16.xml" ContentType="application/vnd.ms-office.chartcolorstyle+xml"/>
  <Override PartName="/ppt/charts/chart15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drawings/drawing9.xml" ContentType="application/vnd.openxmlformats-officedocument.drawingml.chartshapes+xml"/>
  <Override PartName="/ppt/charts/chartEx9.xml" ContentType="application/vnd.ms-office.chartex+xml"/>
  <Override PartName="/ppt/charts/style18.xml" ContentType="application/vnd.ms-office.chartstyle+xml"/>
  <Override PartName="/ppt/charts/colors18.xml" ContentType="application/vnd.ms-office.chartcolorstyle+xml"/>
  <Override PartName="/ppt/charts/chart16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drawings/drawing10.xml" ContentType="application/vnd.openxmlformats-officedocument.drawingml.chartshapes+xml"/>
  <Override PartName="/ppt/charts/chartEx10.xml" ContentType="application/vnd.ms-office.chartex+xml"/>
  <Override PartName="/ppt/charts/style20.xml" ContentType="application/vnd.ms-office.chartstyle+xml"/>
  <Override PartName="/ppt/charts/colors20.xml" ContentType="application/vnd.ms-office.chartcolorstyle+xml"/>
  <Override PartName="/ppt/tags/tag213.xml" ContentType="application/vnd.openxmlformats-officedocument.presentationml.tags+xml"/>
  <Override PartName="/ppt/charts/chart17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drawings/drawing11.xml" ContentType="application/vnd.openxmlformats-officedocument.drawingml.chartshapes+xml"/>
  <Override PartName="/ppt/charts/chartEx11.xml" ContentType="application/vnd.ms-office.chartex+xml"/>
  <Override PartName="/ppt/charts/style22.xml" ContentType="application/vnd.ms-office.chartstyle+xml"/>
  <Override PartName="/ppt/charts/colors22.xml" ContentType="application/vnd.ms-office.chartcolorstyle+xml"/>
  <Override PartName="/ppt/charts/chart18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Ex12.xml" ContentType="application/vnd.ms-office.chartex+xml"/>
  <Override PartName="/ppt/charts/style24.xml" ContentType="application/vnd.ms-office.chartstyle+xml"/>
  <Override PartName="/ppt/charts/colors24.xml" ContentType="application/vnd.ms-office.chartcolorstyle+xml"/>
  <Override PartName="/ppt/charts/chartEx13.xml" ContentType="application/vnd.ms-office.chartex+xml"/>
  <Override PartName="/ppt/charts/style25.xml" ContentType="application/vnd.ms-office.chartstyle+xml"/>
  <Override PartName="/ppt/charts/colors25.xml" ContentType="application/vnd.ms-office.chartcolorstyle+xml"/>
  <Override PartName="/ppt/charts/chartEx14.xml" ContentType="application/vnd.ms-office.chartex+xml"/>
  <Override PartName="/ppt/charts/style26.xml" ContentType="application/vnd.ms-office.chartstyle+xml"/>
  <Override PartName="/ppt/charts/colors26.xml" ContentType="application/vnd.ms-office.chartcolorstyle+xml"/>
  <Override PartName="/ppt/charts/chartEx15.xml" ContentType="application/vnd.ms-office.chartex+xml"/>
  <Override PartName="/ppt/charts/style27.xml" ContentType="application/vnd.ms-office.chartstyle+xml"/>
  <Override PartName="/ppt/charts/colors27.xml" ContentType="application/vnd.ms-office.chartcolorstyle+xml"/>
  <Override PartName="/ppt/charts/chartEx16.xml" ContentType="application/vnd.ms-office.chartex+xml"/>
  <Override PartName="/ppt/charts/style28.xml" ContentType="application/vnd.ms-office.chartstyle+xml"/>
  <Override PartName="/ppt/charts/colors28.xml" ContentType="application/vnd.ms-office.chartcolorstyle+xml"/>
  <Override PartName="/ppt/charts/chartEx17.xml" ContentType="application/vnd.ms-office.chartex+xml"/>
  <Override PartName="/ppt/charts/style29.xml" ContentType="application/vnd.ms-office.chartstyle+xml"/>
  <Override PartName="/ppt/charts/colors29.xml" ContentType="application/vnd.ms-office.chartcolorstyle+xml"/>
  <Override PartName="/ppt/charts/chartEx18.xml" ContentType="application/vnd.ms-office.chartex+xml"/>
  <Override PartName="/ppt/charts/style30.xml" ContentType="application/vnd.ms-office.chartstyle+xml"/>
  <Override PartName="/ppt/charts/colors30.xml" ContentType="application/vnd.ms-office.chartcolorstyle+xml"/>
  <Override PartName="/ppt/charts/chartEx19.xml" ContentType="application/vnd.ms-office.chartex+xml"/>
  <Override PartName="/ppt/charts/style31.xml" ContentType="application/vnd.ms-office.chartstyle+xml"/>
  <Override PartName="/ppt/charts/colors31.xml" ContentType="application/vnd.ms-office.chartcolorstyle+xml"/>
  <Override PartName="/ppt/charts/chartEx20.xml" ContentType="application/vnd.ms-office.chartex+xml"/>
  <Override PartName="/ppt/charts/style32.xml" ContentType="application/vnd.ms-office.chartstyle+xml"/>
  <Override PartName="/ppt/charts/colors32.xml" ContentType="application/vnd.ms-office.chartcolorstyle+xml"/>
  <Override PartName="/ppt/charts/chartEx21.xml" ContentType="application/vnd.ms-office.chartex+xml"/>
  <Override PartName="/ppt/charts/style33.xml" ContentType="application/vnd.ms-office.chartstyle+xml"/>
  <Override PartName="/ppt/charts/colors33.xml" ContentType="application/vnd.ms-office.chartcolorstyle+xml"/>
  <Override PartName="/ppt/tags/tag21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Ex22.xml" ContentType="application/vnd.ms-office.chartex+xml"/>
  <Override PartName="/ppt/charts/style34.xml" ContentType="application/vnd.ms-office.chartstyle+xml"/>
  <Override PartName="/ppt/charts/colors34.xml" ContentType="application/vnd.ms-office.chartcolorstyle+xml"/>
  <Override PartName="/ppt/charts/chartEx23.xml" ContentType="application/vnd.ms-office.chartex+xml"/>
  <Override PartName="/ppt/charts/style35.xml" ContentType="application/vnd.ms-office.chartstyle+xml"/>
  <Override PartName="/ppt/charts/colors35.xml" ContentType="application/vnd.ms-office.chartcolorstyle+xml"/>
  <Override PartName="/ppt/tags/tag215.xml" ContentType="application/vnd.openxmlformats-officedocument.presentationml.tags+xml"/>
  <Override PartName="/ppt/charts/chart19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drawings/drawing12.xml" ContentType="application/vnd.openxmlformats-officedocument.drawingml.chartshapes+xml"/>
  <Override PartName="/ppt/charts/chart20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drawings/drawing13.xml" ContentType="application/vnd.openxmlformats-officedocument.drawingml.chartshapes+xml"/>
  <Override PartName="/ppt/charts/chart21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drawings/drawing14.xml" ContentType="application/vnd.openxmlformats-officedocument.drawingml.chartshapes+xml"/>
  <Override PartName="/ppt/charts/chart22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23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24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28"/>
    <p:sldMasterId id="2147484269" r:id="rId29"/>
    <p:sldMasterId id="2147484353" r:id="rId30"/>
  </p:sldMasterIdLst>
  <p:notesMasterIdLst>
    <p:notesMasterId r:id="rId36"/>
  </p:notesMasterIdLst>
  <p:handoutMasterIdLst>
    <p:handoutMasterId r:id="rId37"/>
  </p:handoutMasterIdLst>
  <p:sldIdLst>
    <p:sldId id="2147483347" r:id="rId31"/>
    <p:sldId id="2147483349" r:id="rId32"/>
    <p:sldId id="2147483351" r:id="rId33"/>
    <p:sldId id="2147483350" r:id="rId34"/>
    <p:sldId id="2147483331" r:id="rId35"/>
  </p:sldIdLst>
  <p:sldSz cx="12192000" cy="6858000"/>
  <p:notesSz cx="6858000" cy="9144000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B2B2C10-B9E6-B389-7147-9BEDF1EDB772}" name="Sandra Irbe" initials="SI" userId="S::Sandra.Irbe@theglobalfund.org::f4b5cbef-0229-474f-9cbd-77724ba720bb" providerId="AD"/>
  <p188:author id="{2B106C23-02DE-1DF5-FACD-67E137C25A61}" name="Katie Read" initials="KR" userId="S::Katie.Read@theglobalfund.org::7d7383e7-8421-4f1e-83b7-aa945f3491c4" providerId="AD"/>
  <p188:author id="{1E413149-B8FD-66A3-C996-04361F3E7202}" name="Caroline Hopkins" initials="CH" userId="S::Caroline.Hopkins@theglobalfund.org::2803804f-218c-4af5-a16e-7c08578b7049" providerId="AD"/>
  <p188:author id="{6765395C-FC53-20CD-8C2F-8416230D9339}" name="Ben Park" initials="BP" userId="S::ben.park@theglobalfund.org::c9baa865-8220-49cd-94b2-a9224991b9ad" providerId="AD"/>
  <p188:author id="{BF88D65E-7D60-CEAD-D602-B8FA70738CB2}" name="Arjun Arackal" initials="AA" userId="S::Arjun.Arackal@theglobalfund.org::ad645f80-e1ac-4256-892d-a248738106de" providerId="AD"/>
  <p188:author id="{9E97816A-E422-FB9A-3022-509D6E25D0D7}" name="Céline Guerin-Pedrali" initials="CGP" userId="S::Celine.Guerin-pedrali@theglobalfund.org::c5ac6980-a3fd-46b3-9117-441ab0496c4e" providerId="AD"/>
  <p188:author id="{1ED37180-FBCA-A91E-2DD5-8140DC32FC49}" name="Céline Guerin-Pedrali" initials="CG" userId="S::celine.guerin-pedrali@theglobalfund.org::c5ac6980-a3fd-46b3-9117-441ab0496c4e" providerId="AD"/>
  <p188:author id="{E01CE288-2F60-77A5-EB16-5B732CDE4BD5}" name="Pankhuri Jha" initials="PJ" userId="S::pankhuri.jha@theglobalfund.org::42772197-c9fc-40f2-b9bd-f325ce9f06e6" providerId="AD"/>
  <p188:author id="{7F1EDC9B-93C1-D8F0-90C4-78F3209F9C39}" name="Japneet" initials="J" userId="S::Japneet.Kaur@theglobalfund.org::c237a667-ca4a-43b2-b2e3-f1a9549e77cb" providerId="AD"/>
  <p188:author id="{482A71A0-01EA-60CE-49AF-6FB9B8B51AF9}" name="Sandra Irbe" initials="SI" userId="S::sandra.irbe@theglobalfund.org::f4b5cbef-0229-474f-9cbd-77724ba720bb" providerId="AD"/>
  <p188:author id="{6B7F01AC-7D5F-B2FA-58E2-A1B87CF57BBA}" name="Samuel Beattie" initials="SB" userId="S::Samuel.Beattie@theglobalfund.org::a85bb1b1-6941-45be-b6ca-0961261d0707" providerId="AD"/>
  <p188:author id="{AA5187B0-E24B-28F5-EBB5-F8BA1410406F}" name="Samira Hadana" initials="SH" userId="S::Samira.Hadana@theglobalfund.org::13e652af-96db-44ae-8f20-dfc26685ec93" providerId="AD"/>
  <p188:author id="{A33E66BB-06A2-A601-E174-63CC700EBCC4}" name="Moses Muputisi" initials="MM" userId="S::Moses.Muputisi@theglobalfund.org::e13ca376-1a36-4e0b-ae82-ff1d04b075f3" providerId="AD"/>
  <p188:author id="{FFF721D9-7197-4AF7-37D1-9CE0E9D066BA}" name="Aude Mellet" initials="AM" userId="S::Aude.Mellet@theglobalfund.org::181b5f5b-ce0c-4a8d-a7ea-3a40822e5bdd" providerId="AD"/>
  <p188:author id="{28F4BBE1-9CF1-0276-01DE-F6188DAAB613}" name="Chirag Rajpuria" initials="CR" userId="S::Chirag.Rajpuria@theglobalfund.org::4ba4aaa4-2a2a-4824-95c1-a36c487f149d" providerId="AD"/>
  <p188:author id="{DB1EC0E5-5887-1E52-52B3-C4675A89235B}" name="Caroline Hopkins" initials="CH" userId="S::caroline.hopkins@theglobalfund.org::2803804f-218c-4af5-a16e-7c08578b7049" providerId="AD"/>
  <p188:author id="{539D37F2-7BCB-E7A4-11F1-3EBCA772FDD6}" name="Claude Bahati" initials="CB" userId="S::Claude.Bahati@theglobalfund.org::03782a1f-69b7-473e-9abb-7daca45578e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4DF9"/>
    <a:srgbClr val="B3092E"/>
    <a:srgbClr val="9FE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4727629-EFB2-4D2E-94A0-F74E3E477761}" v="81" dt="2024-07-25T08:51:55.110"/>
  </p1510:revLst>
</p1510:revInfo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105" autoAdjust="0"/>
    <p:restoredTop sz="94609"/>
  </p:normalViewPr>
  <p:slideViewPr>
    <p:cSldViewPr snapToGrid="0">
      <p:cViewPr varScale="1">
        <p:scale>
          <a:sx n="59" d="100"/>
          <a:sy n="59" d="100"/>
        </p:scale>
        <p:origin x="19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presProps" Target="presProps.xml"/><Relationship Id="rId21" Type="http://schemas.openxmlformats.org/officeDocument/2006/relationships/customXml" Target="../customXml/item21.xml"/><Relationship Id="rId34" Type="http://schemas.openxmlformats.org/officeDocument/2006/relationships/slide" Target="slides/slide4.xml"/><Relationship Id="rId42" Type="http://schemas.openxmlformats.org/officeDocument/2006/relationships/tableStyles" Target="tableStyle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slideMaster" Target="slideMasters/slideMaster2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slide" Target="slides/slide2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45" Type="http://schemas.microsoft.com/office/2018/10/relationships/authors" Target="author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slideMaster" Target="slideMasters/slideMaster1.xml"/><Relationship Id="rId36" Type="http://schemas.openxmlformats.org/officeDocument/2006/relationships/notesMaster" Target="notesMasters/notesMaster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1.xml"/><Relationship Id="rId44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slideMaster" Target="slideMasters/slideMaster3.xml"/><Relationship Id="rId35" Type="http://schemas.openxmlformats.org/officeDocument/2006/relationships/slide" Target="slides/slide5.xml"/><Relationship Id="rId43" Type="http://schemas.microsoft.com/office/2016/11/relationships/changesInfo" Target="changesInfos/changesInfo1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slide" Target="slides/slide3.xml"/><Relationship Id="rId38" Type="http://schemas.openxmlformats.org/officeDocument/2006/relationships/tags" Target="tags/tag1.xml"/><Relationship Id="rId20" Type="http://schemas.openxmlformats.org/officeDocument/2006/relationships/customXml" Target="../customXml/item20.xml"/><Relationship Id="rId41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un Osonuga" userId="6d4a9fd65a6bad53" providerId="LiveId" clId="{74727629-EFB2-4D2E-94A0-F74E3E477761}"/>
    <pc:docChg chg="undo custSel addSld delSld modSld delMainMaster delSection modSection">
      <pc:chgData name="Seun Osonuga" userId="6d4a9fd65a6bad53" providerId="LiveId" clId="{74727629-EFB2-4D2E-94A0-F74E3E477761}" dt="2024-07-25T08:52:21.931" v="763" actId="20577"/>
      <pc:docMkLst>
        <pc:docMk/>
      </pc:docMkLst>
      <pc:sldChg chg="del">
        <pc:chgData name="Seun Osonuga" userId="6d4a9fd65a6bad53" providerId="LiveId" clId="{74727629-EFB2-4D2E-94A0-F74E3E477761}" dt="2024-07-24T08:25:18.681" v="0" actId="47"/>
        <pc:sldMkLst>
          <pc:docMk/>
          <pc:sldMk cId="1971864904" sldId="2147471007"/>
        </pc:sldMkLst>
      </pc:sldChg>
      <pc:sldChg chg="del">
        <pc:chgData name="Seun Osonuga" userId="6d4a9fd65a6bad53" providerId="LiveId" clId="{74727629-EFB2-4D2E-94A0-F74E3E477761}" dt="2024-07-24T08:25:18.681" v="0" actId="47"/>
        <pc:sldMkLst>
          <pc:docMk/>
          <pc:sldMk cId="508009314" sldId="2147471238"/>
        </pc:sldMkLst>
      </pc:sldChg>
      <pc:sldChg chg="del">
        <pc:chgData name="Seun Osonuga" userId="6d4a9fd65a6bad53" providerId="LiveId" clId="{74727629-EFB2-4D2E-94A0-F74E3E477761}" dt="2024-07-24T08:25:18.681" v="0" actId="47"/>
        <pc:sldMkLst>
          <pc:docMk/>
          <pc:sldMk cId="3042749303" sldId="2147471301"/>
        </pc:sldMkLst>
      </pc:sldChg>
      <pc:sldChg chg="del">
        <pc:chgData name="Seun Osonuga" userId="6d4a9fd65a6bad53" providerId="LiveId" clId="{74727629-EFB2-4D2E-94A0-F74E3E477761}" dt="2024-07-24T08:25:18.681" v="0" actId="47"/>
        <pc:sldMkLst>
          <pc:docMk/>
          <pc:sldMk cId="1067929794" sldId="2147471302"/>
        </pc:sldMkLst>
      </pc:sldChg>
      <pc:sldChg chg="del">
        <pc:chgData name="Seun Osonuga" userId="6d4a9fd65a6bad53" providerId="LiveId" clId="{74727629-EFB2-4D2E-94A0-F74E3E477761}" dt="2024-07-24T08:25:18.681" v="0" actId="47"/>
        <pc:sldMkLst>
          <pc:docMk/>
          <pc:sldMk cId="1547639651" sldId="2147471304"/>
        </pc:sldMkLst>
      </pc:sldChg>
      <pc:sldChg chg="del">
        <pc:chgData name="Seun Osonuga" userId="6d4a9fd65a6bad53" providerId="LiveId" clId="{74727629-EFB2-4D2E-94A0-F74E3E477761}" dt="2024-07-24T08:25:18.681" v="0" actId="47"/>
        <pc:sldMkLst>
          <pc:docMk/>
          <pc:sldMk cId="1658050543" sldId="2147471305"/>
        </pc:sldMkLst>
      </pc:sldChg>
      <pc:sldChg chg="del">
        <pc:chgData name="Seun Osonuga" userId="6d4a9fd65a6bad53" providerId="LiveId" clId="{74727629-EFB2-4D2E-94A0-F74E3E477761}" dt="2024-07-24T08:25:18.681" v="0" actId="47"/>
        <pc:sldMkLst>
          <pc:docMk/>
          <pc:sldMk cId="3751258498" sldId="2147471306"/>
        </pc:sldMkLst>
      </pc:sldChg>
      <pc:sldChg chg="del">
        <pc:chgData name="Seun Osonuga" userId="6d4a9fd65a6bad53" providerId="LiveId" clId="{74727629-EFB2-4D2E-94A0-F74E3E477761}" dt="2024-07-24T08:25:18.681" v="0" actId="47"/>
        <pc:sldMkLst>
          <pc:docMk/>
          <pc:sldMk cId="1418586210" sldId="2147471309"/>
        </pc:sldMkLst>
      </pc:sldChg>
      <pc:sldChg chg="del">
        <pc:chgData name="Seun Osonuga" userId="6d4a9fd65a6bad53" providerId="LiveId" clId="{74727629-EFB2-4D2E-94A0-F74E3E477761}" dt="2024-07-24T08:25:29.207" v="2" actId="47"/>
        <pc:sldMkLst>
          <pc:docMk/>
          <pc:sldMk cId="3695132731" sldId="2147471312"/>
        </pc:sldMkLst>
      </pc:sldChg>
      <pc:sldChg chg="del">
        <pc:chgData name="Seun Osonuga" userId="6d4a9fd65a6bad53" providerId="LiveId" clId="{74727629-EFB2-4D2E-94A0-F74E3E477761}" dt="2024-07-24T08:27:54.369" v="87" actId="47"/>
        <pc:sldMkLst>
          <pc:docMk/>
          <pc:sldMk cId="3646505600" sldId="2147471331"/>
        </pc:sldMkLst>
      </pc:sldChg>
      <pc:sldChg chg="del">
        <pc:chgData name="Seun Osonuga" userId="6d4a9fd65a6bad53" providerId="LiveId" clId="{74727629-EFB2-4D2E-94A0-F74E3E477761}" dt="2024-07-24T08:27:54.369" v="87" actId="47"/>
        <pc:sldMkLst>
          <pc:docMk/>
          <pc:sldMk cId="3514604732" sldId="2147471332"/>
        </pc:sldMkLst>
      </pc:sldChg>
      <pc:sldChg chg="del">
        <pc:chgData name="Seun Osonuga" userId="6d4a9fd65a6bad53" providerId="LiveId" clId="{74727629-EFB2-4D2E-94A0-F74E3E477761}" dt="2024-07-24T08:25:18.681" v="0" actId="47"/>
        <pc:sldMkLst>
          <pc:docMk/>
          <pc:sldMk cId="3081804106" sldId="2147473651"/>
        </pc:sldMkLst>
      </pc:sldChg>
      <pc:sldChg chg="del">
        <pc:chgData name="Seun Osonuga" userId="6d4a9fd65a6bad53" providerId="LiveId" clId="{74727629-EFB2-4D2E-94A0-F74E3E477761}" dt="2024-07-24T08:25:18.681" v="0" actId="47"/>
        <pc:sldMkLst>
          <pc:docMk/>
          <pc:sldMk cId="1167835102" sldId="2147473663"/>
        </pc:sldMkLst>
      </pc:sldChg>
      <pc:sldChg chg="del">
        <pc:chgData name="Seun Osonuga" userId="6d4a9fd65a6bad53" providerId="LiveId" clId="{74727629-EFB2-4D2E-94A0-F74E3E477761}" dt="2024-07-24T08:25:18.681" v="0" actId="47"/>
        <pc:sldMkLst>
          <pc:docMk/>
          <pc:sldMk cId="3767221496" sldId="2147473664"/>
        </pc:sldMkLst>
      </pc:sldChg>
      <pc:sldChg chg="del">
        <pc:chgData name="Seun Osonuga" userId="6d4a9fd65a6bad53" providerId="LiveId" clId="{74727629-EFB2-4D2E-94A0-F74E3E477761}" dt="2024-07-24T08:25:18.681" v="0" actId="47"/>
        <pc:sldMkLst>
          <pc:docMk/>
          <pc:sldMk cId="3423273251" sldId="2147473665"/>
        </pc:sldMkLst>
      </pc:sldChg>
      <pc:sldChg chg="del">
        <pc:chgData name="Seun Osonuga" userId="6d4a9fd65a6bad53" providerId="LiveId" clId="{74727629-EFB2-4D2E-94A0-F74E3E477761}" dt="2024-07-24T08:25:18.681" v="0" actId="47"/>
        <pc:sldMkLst>
          <pc:docMk/>
          <pc:sldMk cId="2078369410" sldId="2147473666"/>
        </pc:sldMkLst>
      </pc:sldChg>
      <pc:sldChg chg="del">
        <pc:chgData name="Seun Osonuga" userId="6d4a9fd65a6bad53" providerId="LiveId" clId="{74727629-EFB2-4D2E-94A0-F74E3E477761}" dt="2024-07-24T08:27:54.369" v="87" actId="47"/>
        <pc:sldMkLst>
          <pc:docMk/>
          <pc:sldMk cId="2548565419" sldId="2147473667"/>
        </pc:sldMkLst>
      </pc:sldChg>
      <pc:sldChg chg="del">
        <pc:chgData name="Seun Osonuga" userId="6d4a9fd65a6bad53" providerId="LiveId" clId="{74727629-EFB2-4D2E-94A0-F74E3E477761}" dt="2024-07-24T08:25:29.207" v="2" actId="47"/>
        <pc:sldMkLst>
          <pc:docMk/>
          <pc:sldMk cId="2502283580" sldId="2147479875"/>
        </pc:sldMkLst>
      </pc:sldChg>
      <pc:sldChg chg="del">
        <pc:chgData name="Seun Osonuga" userId="6d4a9fd65a6bad53" providerId="LiveId" clId="{74727629-EFB2-4D2E-94A0-F74E3E477761}" dt="2024-07-24T08:27:54.369" v="87" actId="47"/>
        <pc:sldMkLst>
          <pc:docMk/>
          <pc:sldMk cId="621843727" sldId="2147483322"/>
        </pc:sldMkLst>
      </pc:sldChg>
      <pc:sldChg chg="del">
        <pc:chgData name="Seun Osonuga" userId="6d4a9fd65a6bad53" providerId="LiveId" clId="{74727629-EFB2-4D2E-94A0-F74E3E477761}" dt="2024-07-24T08:27:54.369" v="87" actId="47"/>
        <pc:sldMkLst>
          <pc:docMk/>
          <pc:sldMk cId="374630243" sldId="2147483323"/>
        </pc:sldMkLst>
      </pc:sldChg>
      <pc:sldChg chg="del">
        <pc:chgData name="Seun Osonuga" userId="6d4a9fd65a6bad53" providerId="LiveId" clId="{74727629-EFB2-4D2E-94A0-F74E3E477761}" dt="2024-07-24T08:27:54.369" v="87" actId="47"/>
        <pc:sldMkLst>
          <pc:docMk/>
          <pc:sldMk cId="655760376" sldId="2147483324"/>
        </pc:sldMkLst>
      </pc:sldChg>
      <pc:sldChg chg="del">
        <pc:chgData name="Seun Osonuga" userId="6d4a9fd65a6bad53" providerId="LiveId" clId="{74727629-EFB2-4D2E-94A0-F74E3E477761}" dt="2024-07-24T08:27:54.369" v="87" actId="47"/>
        <pc:sldMkLst>
          <pc:docMk/>
          <pc:sldMk cId="883203918" sldId="2147483325"/>
        </pc:sldMkLst>
      </pc:sldChg>
      <pc:sldChg chg="del">
        <pc:chgData name="Seun Osonuga" userId="6d4a9fd65a6bad53" providerId="LiveId" clId="{74727629-EFB2-4D2E-94A0-F74E3E477761}" dt="2024-07-24T08:27:54.369" v="87" actId="47"/>
        <pc:sldMkLst>
          <pc:docMk/>
          <pc:sldMk cId="1676575122" sldId="2147483326"/>
        </pc:sldMkLst>
      </pc:sldChg>
      <pc:sldChg chg="modSp del mod">
        <pc:chgData name="Seun Osonuga" userId="6d4a9fd65a6bad53" providerId="LiveId" clId="{74727629-EFB2-4D2E-94A0-F74E3E477761}" dt="2024-07-25T08:38:23.704" v="451" actId="47"/>
        <pc:sldMkLst>
          <pc:docMk/>
          <pc:sldMk cId="990798143" sldId="2147483330"/>
        </pc:sldMkLst>
        <pc:spChg chg="mod">
          <ac:chgData name="Seun Osonuga" userId="6d4a9fd65a6bad53" providerId="LiveId" clId="{74727629-EFB2-4D2E-94A0-F74E3E477761}" dt="2024-07-24T08:25:42.985" v="13" actId="20577"/>
          <ac:spMkLst>
            <pc:docMk/>
            <pc:sldMk cId="990798143" sldId="2147483330"/>
            <ac:spMk id="79" creationId="{A1676573-A720-4D61-8D96-36566EDD4721}"/>
          </ac:spMkLst>
        </pc:spChg>
      </pc:sldChg>
      <pc:sldChg chg="addSp delSp modSp mod">
        <pc:chgData name="Seun Osonuga" userId="6d4a9fd65a6bad53" providerId="LiveId" clId="{74727629-EFB2-4D2E-94A0-F74E3E477761}" dt="2024-07-24T08:30:51.847" v="253" actId="1076"/>
        <pc:sldMkLst>
          <pc:docMk/>
          <pc:sldMk cId="4251224681" sldId="2147483331"/>
        </pc:sldMkLst>
        <pc:spChg chg="mod">
          <ac:chgData name="Seun Osonuga" userId="6d4a9fd65a6bad53" providerId="LiveId" clId="{74727629-EFB2-4D2E-94A0-F74E3E477761}" dt="2024-07-24T08:30:00.625" v="249" actId="20577"/>
          <ac:spMkLst>
            <pc:docMk/>
            <pc:sldMk cId="4251224681" sldId="2147483331"/>
            <ac:spMk id="80" creationId="{549EDD33-D1C7-4B4F-89CC-EF19992C51AF}"/>
          </ac:spMkLst>
        </pc:spChg>
        <pc:spChg chg="add mod">
          <ac:chgData name="Seun Osonuga" userId="6d4a9fd65a6bad53" providerId="LiveId" clId="{74727629-EFB2-4D2E-94A0-F74E3E477761}" dt="2024-07-24T08:29:33.665" v="199" actId="1035"/>
          <ac:spMkLst>
            <pc:docMk/>
            <pc:sldMk cId="4251224681" sldId="2147483331"/>
            <ac:spMk id="81" creationId="{3190BE78-F6BF-4694-BB8A-06DDFBA23464}"/>
          </ac:spMkLst>
        </pc:spChg>
        <pc:spChg chg="add del mod">
          <ac:chgData name="Seun Osonuga" userId="6d4a9fd65a6bad53" providerId="LiveId" clId="{74727629-EFB2-4D2E-94A0-F74E3E477761}" dt="2024-07-24T08:28:01.832" v="88" actId="478"/>
          <ac:spMkLst>
            <pc:docMk/>
            <pc:sldMk cId="4251224681" sldId="2147483331"/>
            <ac:spMk id="83" creationId="{66BD5D0D-3F95-4ADC-A0C5-C23F024001F9}"/>
          </ac:spMkLst>
        </pc:spChg>
        <pc:spChg chg="mod">
          <ac:chgData name="Seun Osonuga" userId="6d4a9fd65a6bad53" providerId="LiveId" clId="{74727629-EFB2-4D2E-94A0-F74E3E477761}" dt="2024-07-24T08:28:49.490" v="146" actId="20577"/>
          <ac:spMkLst>
            <pc:docMk/>
            <pc:sldMk cId="4251224681" sldId="2147483331"/>
            <ac:spMk id="88" creationId="{F5E03D2B-16D1-4AB0-89C7-82EA43BF1FEA}"/>
          </ac:spMkLst>
        </pc:spChg>
        <pc:spChg chg="mod">
          <ac:chgData name="Seun Osonuga" userId="6d4a9fd65a6bad53" providerId="LiveId" clId="{74727629-EFB2-4D2E-94A0-F74E3E477761}" dt="2024-07-24T08:29:25.577" v="183" actId="1035"/>
          <ac:spMkLst>
            <pc:docMk/>
            <pc:sldMk cId="4251224681" sldId="2147483331"/>
            <ac:spMk id="90" creationId="{3A1411BA-337D-4147-80F1-225EBD3C3719}"/>
          </ac:spMkLst>
        </pc:spChg>
        <pc:spChg chg="mod">
          <ac:chgData name="Seun Osonuga" userId="6d4a9fd65a6bad53" providerId="LiveId" clId="{74727629-EFB2-4D2E-94A0-F74E3E477761}" dt="2024-07-24T08:29:25.577" v="183" actId="1035"/>
          <ac:spMkLst>
            <pc:docMk/>
            <pc:sldMk cId="4251224681" sldId="2147483331"/>
            <ac:spMk id="91" creationId="{0136B833-1CD6-4ABF-8936-D1C865D84B90}"/>
          </ac:spMkLst>
        </pc:spChg>
        <pc:spChg chg="add mod">
          <ac:chgData name="Seun Osonuga" userId="6d4a9fd65a6bad53" providerId="LiveId" clId="{74727629-EFB2-4D2E-94A0-F74E3E477761}" dt="2024-07-24T08:29:33.665" v="199" actId="1035"/>
          <ac:spMkLst>
            <pc:docMk/>
            <pc:sldMk cId="4251224681" sldId="2147483331"/>
            <ac:spMk id="95" creationId="{BE050158-54A5-41D9-BA5D-B14F6F24298F}"/>
          </ac:spMkLst>
        </pc:spChg>
        <pc:spChg chg="add mod">
          <ac:chgData name="Seun Osonuga" userId="6d4a9fd65a6bad53" providerId="LiveId" clId="{74727629-EFB2-4D2E-94A0-F74E3E477761}" dt="2024-07-24T08:30:40.788" v="251" actId="1076"/>
          <ac:spMkLst>
            <pc:docMk/>
            <pc:sldMk cId="4251224681" sldId="2147483331"/>
            <ac:spMk id="96" creationId="{15E68DDF-D534-487C-9655-F75253184C73}"/>
          </ac:spMkLst>
        </pc:spChg>
        <pc:spChg chg="add mod">
          <ac:chgData name="Seun Osonuga" userId="6d4a9fd65a6bad53" providerId="LiveId" clId="{74727629-EFB2-4D2E-94A0-F74E3E477761}" dt="2024-07-24T08:30:51.847" v="253" actId="1076"/>
          <ac:spMkLst>
            <pc:docMk/>
            <pc:sldMk cId="4251224681" sldId="2147483331"/>
            <ac:spMk id="97" creationId="{81B1A1C3-84B0-48B2-8D42-2283FC75C9BE}"/>
          </ac:spMkLst>
        </pc:spChg>
        <pc:graphicFrameChg chg="mod">
          <ac:chgData name="Seun Osonuga" userId="6d4a9fd65a6bad53" providerId="LiveId" clId="{74727629-EFB2-4D2E-94A0-F74E3E477761}" dt="2024-07-24T08:29:33.665" v="199" actId="1035"/>
          <ac:graphicFrameMkLst>
            <pc:docMk/>
            <pc:sldMk cId="4251224681" sldId="2147483331"/>
            <ac:graphicFrameMk id="5" creationId="{0D365958-1319-4553-A41C-9EE73C8DB9AA}"/>
          </ac:graphicFrameMkLst>
        </pc:graphicFrameChg>
        <pc:graphicFrameChg chg="mod">
          <ac:chgData name="Seun Osonuga" userId="6d4a9fd65a6bad53" providerId="LiveId" clId="{74727629-EFB2-4D2E-94A0-F74E3E477761}" dt="2024-07-24T08:29:20.677" v="175" actId="1036"/>
          <ac:graphicFrameMkLst>
            <pc:docMk/>
            <pc:sldMk cId="4251224681" sldId="2147483331"/>
            <ac:graphicFrameMk id="82" creationId="{A414131B-6382-4347-BBAD-911BA5B836FD}"/>
          </ac:graphicFrameMkLst>
        </pc:graphicFrameChg>
        <pc:graphicFrameChg chg="mod">
          <ac:chgData name="Seun Osonuga" userId="6d4a9fd65a6bad53" providerId="LiveId" clId="{74727629-EFB2-4D2E-94A0-F74E3E477761}" dt="2024-07-24T08:29:20.677" v="175" actId="1036"/>
          <ac:graphicFrameMkLst>
            <pc:docMk/>
            <pc:sldMk cId="4251224681" sldId="2147483331"/>
            <ac:graphicFrameMk id="89" creationId="{FEE28285-81CA-4F43-B4C9-5C936FC60816}"/>
          </ac:graphicFrameMkLst>
        </pc:graphicFrameChg>
        <pc:cxnChg chg="mod">
          <ac:chgData name="Seun Osonuga" userId="6d4a9fd65a6bad53" providerId="LiveId" clId="{74727629-EFB2-4D2E-94A0-F74E3E477761}" dt="2024-07-24T08:29:44.052" v="220" actId="1035"/>
          <ac:cxnSpMkLst>
            <pc:docMk/>
            <pc:sldMk cId="4251224681" sldId="2147483331"/>
            <ac:cxnSpMk id="87" creationId="{9570E63A-F846-4D2A-9007-EDC88D30AB8F}"/>
          </ac:cxnSpMkLst>
        </pc:cxnChg>
      </pc:sldChg>
      <pc:sldChg chg="modSp mod">
        <pc:chgData name="Seun Osonuga" userId="6d4a9fd65a6bad53" providerId="LiveId" clId="{74727629-EFB2-4D2E-94A0-F74E3E477761}" dt="2024-07-25T08:52:21.931" v="763" actId="20577"/>
        <pc:sldMkLst>
          <pc:docMk/>
          <pc:sldMk cId="1758967811" sldId="2147483347"/>
        </pc:sldMkLst>
        <pc:spChg chg="mod">
          <ac:chgData name="Seun Osonuga" userId="6d4a9fd65a6bad53" providerId="LiveId" clId="{74727629-EFB2-4D2E-94A0-F74E3E477761}" dt="2024-07-25T08:52:21.931" v="763" actId="20577"/>
          <ac:spMkLst>
            <pc:docMk/>
            <pc:sldMk cId="1758967811" sldId="2147483347"/>
            <ac:spMk id="85" creationId="{08B7AD02-C73E-4111-A351-F2BDF6E199B9}"/>
          </ac:spMkLst>
        </pc:spChg>
        <pc:spChg chg="mod">
          <ac:chgData name="Seun Osonuga" userId="6d4a9fd65a6bad53" providerId="LiveId" clId="{74727629-EFB2-4D2E-94A0-F74E3E477761}" dt="2024-07-25T08:52:15.056" v="756" actId="20577"/>
          <ac:spMkLst>
            <pc:docMk/>
            <pc:sldMk cId="1758967811" sldId="2147483347"/>
            <ac:spMk id="105" creationId="{BCE63DB9-00EE-47EA-90E8-38F5C2E0D419}"/>
          </ac:spMkLst>
        </pc:spChg>
      </pc:sldChg>
      <pc:sldChg chg="delSp modSp del mod">
        <pc:chgData name="Seun Osonuga" userId="6d4a9fd65a6bad53" providerId="LiveId" clId="{74727629-EFB2-4D2E-94A0-F74E3E477761}" dt="2024-07-25T08:38:23.704" v="451" actId="47"/>
        <pc:sldMkLst>
          <pc:docMk/>
          <pc:sldMk cId="3759859464" sldId="2147483348"/>
        </pc:sldMkLst>
        <pc:spChg chg="mod">
          <ac:chgData name="Seun Osonuga" userId="6d4a9fd65a6bad53" providerId="LiveId" clId="{74727629-EFB2-4D2E-94A0-F74E3E477761}" dt="2024-07-24T08:25:57.154" v="17" actId="20577"/>
          <ac:spMkLst>
            <pc:docMk/>
            <pc:sldMk cId="3759859464" sldId="2147483348"/>
            <ac:spMk id="79" creationId="{A1676573-A720-4D61-8D96-36566EDD4721}"/>
          </ac:spMkLst>
        </pc:spChg>
        <pc:spChg chg="del">
          <ac:chgData name="Seun Osonuga" userId="6d4a9fd65a6bad53" providerId="LiveId" clId="{74727629-EFB2-4D2E-94A0-F74E3E477761}" dt="2024-07-24T08:25:35.740" v="3" actId="478"/>
          <ac:spMkLst>
            <pc:docMk/>
            <pc:sldMk cId="3759859464" sldId="2147483348"/>
            <ac:spMk id="94" creationId="{1D255FA6-BC16-491F-B334-EF6CB7BBD3A6}"/>
          </ac:spMkLst>
        </pc:spChg>
      </pc:sldChg>
      <pc:sldChg chg="modSp mod">
        <pc:chgData name="Seun Osonuga" userId="6d4a9fd65a6bad53" providerId="LiveId" clId="{74727629-EFB2-4D2E-94A0-F74E3E477761}" dt="2024-07-24T15:31:35.057" v="283" actId="12788"/>
        <pc:sldMkLst>
          <pc:docMk/>
          <pc:sldMk cId="3289136143" sldId="2147483349"/>
        </pc:sldMkLst>
        <pc:spChg chg="mod">
          <ac:chgData name="Seun Osonuga" userId="6d4a9fd65a6bad53" providerId="LiveId" clId="{74727629-EFB2-4D2E-94A0-F74E3E477761}" dt="2024-07-24T08:26:05.489" v="21" actId="20577"/>
          <ac:spMkLst>
            <pc:docMk/>
            <pc:sldMk cId="3289136143" sldId="2147483349"/>
            <ac:spMk id="79" creationId="{A1676573-A720-4D61-8D96-36566EDD4721}"/>
          </ac:spMkLst>
        </pc:spChg>
        <pc:spChg chg="mod">
          <ac:chgData name="Seun Osonuga" userId="6d4a9fd65a6bad53" providerId="LiveId" clId="{74727629-EFB2-4D2E-94A0-F74E3E477761}" dt="2024-07-24T15:31:35.057" v="283" actId="12788"/>
          <ac:spMkLst>
            <pc:docMk/>
            <pc:sldMk cId="3289136143" sldId="2147483349"/>
            <ac:spMk id="100" creationId="{03548322-74D0-4BDE-B5E9-C160CFAC5926}"/>
          </ac:spMkLst>
        </pc:spChg>
        <pc:spChg chg="mod">
          <ac:chgData name="Seun Osonuga" userId="6d4a9fd65a6bad53" providerId="LiveId" clId="{74727629-EFB2-4D2E-94A0-F74E3E477761}" dt="2024-07-24T15:31:35.057" v="283" actId="12788"/>
          <ac:spMkLst>
            <pc:docMk/>
            <pc:sldMk cId="3289136143" sldId="2147483349"/>
            <ac:spMk id="103" creationId="{71F12B92-1A40-4200-B4C1-4DB6F785D4BC}"/>
          </ac:spMkLst>
        </pc:spChg>
        <pc:spChg chg="mod">
          <ac:chgData name="Seun Osonuga" userId="6d4a9fd65a6bad53" providerId="LiveId" clId="{74727629-EFB2-4D2E-94A0-F74E3E477761}" dt="2024-07-24T15:31:35.057" v="283" actId="12788"/>
          <ac:spMkLst>
            <pc:docMk/>
            <pc:sldMk cId="3289136143" sldId="2147483349"/>
            <ac:spMk id="104" creationId="{2314C996-C6F1-433B-9BDD-90D1FC7D57AF}"/>
          </ac:spMkLst>
        </pc:spChg>
        <pc:spChg chg="mod">
          <ac:chgData name="Seun Osonuga" userId="6d4a9fd65a6bad53" providerId="LiveId" clId="{74727629-EFB2-4D2E-94A0-F74E3E477761}" dt="2024-07-24T15:31:35.057" v="283" actId="12788"/>
          <ac:spMkLst>
            <pc:docMk/>
            <pc:sldMk cId="3289136143" sldId="2147483349"/>
            <ac:spMk id="106" creationId="{CD184E5E-6E63-452E-8888-5B1CB6F8E567}"/>
          </ac:spMkLst>
        </pc:spChg>
        <pc:spChg chg="mod">
          <ac:chgData name="Seun Osonuga" userId="6d4a9fd65a6bad53" providerId="LiveId" clId="{74727629-EFB2-4D2E-94A0-F74E3E477761}" dt="2024-07-24T15:31:35.057" v="283" actId="12788"/>
          <ac:spMkLst>
            <pc:docMk/>
            <pc:sldMk cId="3289136143" sldId="2147483349"/>
            <ac:spMk id="110" creationId="{C0D970A4-8843-44CB-AD30-FAF4AFF6454F}"/>
          </ac:spMkLst>
        </pc:spChg>
        <pc:spChg chg="mod">
          <ac:chgData name="Seun Osonuga" userId="6d4a9fd65a6bad53" providerId="LiveId" clId="{74727629-EFB2-4D2E-94A0-F74E3E477761}" dt="2024-07-24T15:31:35.057" v="283" actId="12788"/>
          <ac:spMkLst>
            <pc:docMk/>
            <pc:sldMk cId="3289136143" sldId="2147483349"/>
            <ac:spMk id="111" creationId="{642BF039-DE0F-4917-A3EF-D90BD72D3E64}"/>
          </ac:spMkLst>
        </pc:spChg>
        <pc:spChg chg="mod">
          <ac:chgData name="Seun Osonuga" userId="6d4a9fd65a6bad53" providerId="LiveId" clId="{74727629-EFB2-4D2E-94A0-F74E3E477761}" dt="2024-07-24T15:31:35.057" v="283" actId="12788"/>
          <ac:spMkLst>
            <pc:docMk/>
            <pc:sldMk cId="3289136143" sldId="2147483349"/>
            <ac:spMk id="113" creationId="{7F2FD1C2-A455-4ADE-9D9E-3AFEBFB52265}"/>
          </ac:spMkLst>
        </pc:spChg>
        <pc:spChg chg="mod">
          <ac:chgData name="Seun Osonuga" userId="6d4a9fd65a6bad53" providerId="LiveId" clId="{74727629-EFB2-4D2E-94A0-F74E3E477761}" dt="2024-07-24T15:31:35.057" v="283" actId="12788"/>
          <ac:spMkLst>
            <pc:docMk/>
            <pc:sldMk cId="3289136143" sldId="2147483349"/>
            <ac:spMk id="118" creationId="{4C63DAB6-9A76-4AD0-93AC-DDD913B26AB9}"/>
          </ac:spMkLst>
        </pc:spChg>
        <pc:spChg chg="mod">
          <ac:chgData name="Seun Osonuga" userId="6d4a9fd65a6bad53" providerId="LiveId" clId="{74727629-EFB2-4D2E-94A0-F74E3E477761}" dt="2024-07-24T15:31:35.057" v="283" actId="12788"/>
          <ac:spMkLst>
            <pc:docMk/>
            <pc:sldMk cId="3289136143" sldId="2147483349"/>
            <ac:spMk id="136" creationId="{02E28D34-761B-4B56-94E0-7B51B3F28325}"/>
          </ac:spMkLst>
        </pc:spChg>
        <pc:spChg chg="mod">
          <ac:chgData name="Seun Osonuga" userId="6d4a9fd65a6bad53" providerId="LiveId" clId="{74727629-EFB2-4D2E-94A0-F74E3E477761}" dt="2024-07-24T15:31:35.057" v="283" actId="12788"/>
          <ac:spMkLst>
            <pc:docMk/>
            <pc:sldMk cId="3289136143" sldId="2147483349"/>
            <ac:spMk id="138" creationId="{9DCB145B-EC79-41FC-AB2A-A87E2C255AFF}"/>
          </ac:spMkLst>
        </pc:spChg>
        <pc:spChg chg="mod">
          <ac:chgData name="Seun Osonuga" userId="6d4a9fd65a6bad53" providerId="LiveId" clId="{74727629-EFB2-4D2E-94A0-F74E3E477761}" dt="2024-07-24T15:31:35.057" v="283" actId="12788"/>
          <ac:spMkLst>
            <pc:docMk/>
            <pc:sldMk cId="3289136143" sldId="2147483349"/>
            <ac:spMk id="141" creationId="{5D27822D-B3A0-416D-93B3-85E54C1E71B8}"/>
          </ac:spMkLst>
        </pc:spChg>
        <pc:spChg chg="mod">
          <ac:chgData name="Seun Osonuga" userId="6d4a9fd65a6bad53" providerId="LiveId" clId="{74727629-EFB2-4D2E-94A0-F74E3E477761}" dt="2024-07-24T15:31:35.057" v="283" actId="12788"/>
          <ac:spMkLst>
            <pc:docMk/>
            <pc:sldMk cId="3289136143" sldId="2147483349"/>
            <ac:spMk id="142" creationId="{6A6F09AD-794F-4B0D-85B9-EFC22F4A97FB}"/>
          </ac:spMkLst>
        </pc:spChg>
        <pc:grpChg chg="mod">
          <ac:chgData name="Seun Osonuga" userId="6d4a9fd65a6bad53" providerId="LiveId" clId="{74727629-EFB2-4D2E-94A0-F74E3E477761}" dt="2024-07-24T15:31:35.057" v="283" actId="12788"/>
          <ac:grpSpMkLst>
            <pc:docMk/>
            <pc:sldMk cId="3289136143" sldId="2147483349"/>
            <ac:grpSpMk id="4" creationId="{B7306060-40BF-4600-88CD-AA02AF32EF81}"/>
          </ac:grpSpMkLst>
        </pc:grpChg>
        <pc:graphicFrameChg chg="mod">
          <ac:chgData name="Seun Osonuga" userId="6d4a9fd65a6bad53" providerId="LiveId" clId="{74727629-EFB2-4D2E-94A0-F74E3E477761}" dt="2024-07-24T15:31:35.057" v="283" actId="12788"/>
          <ac:graphicFrameMkLst>
            <pc:docMk/>
            <pc:sldMk cId="3289136143" sldId="2147483349"/>
            <ac:graphicFrameMk id="101" creationId="{7A29E2DD-8107-41F5-B81A-B4436038CF03}"/>
          </ac:graphicFrameMkLst>
        </pc:graphicFrameChg>
        <pc:graphicFrameChg chg="mod">
          <ac:chgData name="Seun Osonuga" userId="6d4a9fd65a6bad53" providerId="LiveId" clId="{74727629-EFB2-4D2E-94A0-F74E3E477761}" dt="2024-07-24T15:31:35.057" v="283" actId="12788"/>
          <ac:graphicFrameMkLst>
            <pc:docMk/>
            <pc:sldMk cId="3289136143" sldId="2147483349"/>
            <ac:graphicFrameMk id="105" creationId="{5C67A7AF-986C-44C1-9DC4-429E2B1353A5}"/>
          </ac:graphicFrameMkLst>
        </pc:graphicFrameChg>
        <pc:graphicFrameChg chg="mod">
          <ac:chgData name="Seun Osonuga" userId="6d4a9fd65a6bad53" providerId="LiveId" clId="{74727629-EFB2-4D2E-94A0-F74E3E477761}" dt="2024-07-24T15:31:35.057" v="283" actId="12788"/>
          <ac:graphicFrameMkLst>
            <pc:docMk/>
            <pc:sldMk cId="3289136143" sldId="2147483349"/>
            <ac:graphicFrameMk id="107" creationId="{FE32925A-E33D-43A0-AFD6-228858CCD8F5}"/>
          </ac:graphicFrameMkLst>
        </pc:graphicFrameChg>
        <pc:graphicFrameChg chg="mod">
          <ac:chgData name="Seun Osonuga" userId="6d4a9fd65a6bad53" providerId="LiveId" clId="{74727629-EFB2-4D2E-94A0-F74E3E477761}" dt="2024-07-24T15:31:35.057" v="283" actId="12788"/>
          <ac:graphicFrameMkLst>
            <pc:docMk/>
            <pc:sldMk cId="3289136143" sldId="2147483349"/>
            <ac:graphicFrameMk id="112" creationId="{5CE9C20E-31A9-46B6-9103-AF9894654387}"/>
          </ac:graphicFrameMkLst>
        </pc:graphicFrameChg>
        <pc:graphicFrameChg chg="mod">
          <ac:chgData name="Seun Osonuga" userId="6d4a9fd65a6bad53" providerId="LiveId" clId="{74727629-EFB2-4D2E-94A0-F74E3E477761}" dt="2024-07-24T15:31:35.057" v="283" actId="12788"/>
          <ac:graphicFrameMkLst>
            <pc:docMk/>
            <pc:sldMk cId="3289136143" sldId="2147483349"/>
            <ac:graphicFrameMk id="115" creationId="{5D058A10-C084-40E6-B4F5-7EBF4816DCDD}"/>
          </ac:graphicFrameMkLst>
        </pc:graphicFrameChg>
        <pc:graphicFrameChg chg="mod">
          <ac:chgData name="Seun Osonuga" userId="6d4a9fd65a6bad53" providerId="LiveId" clId="{74727629-EFB2-4D2E-94A0-F74E3E477761}" dt="2024-07-24T15:31:35.057" v="283" actId="12788"/>
          <ac:graphicFrameMkLst>
            <pc:docMk/>
            <pc:sldMk cId="3289136143" sldId="2147483349"/>
            <ac:graphicFrameMk id="137" creationId="{5B122856-D5F3-4532-B804-251BD2A17A78}"/>
          </ac:graphicFrameMkLst>
        </pc:graphicFrameChg>
        <pc:graphicFrameChg chg="mod">
          <ac:chgData name="Seun Osonuga" userId="6d4a9fd65a6bad53" providerId="LiveId" clId="{74727629-EFB2-4D2E-94A0-F74E3E477761}" dt="2024-07-24T15:31:35.057" v="283" actId="12788"/>
          <ac:graphicFrameMkLst>
            <pc:docMk/>
            <pc:sldMk cId="3289136143" sldId="2147483349"/>
            <ac:graphicFrameMk id="139" creationId="{99161D2F-5C2F-4D66-ADC7-366906F69ED0}"/>
          </ac:graphicFrameMkLst>
        </pc:graphicFrameChg>
        <pc:graphicFrameChg chg="mod">
          <ac:chgData name="Seun Osonuga" userId="6d4a9fd65a6bad53" providerId="LiveId" clId="{74727629-EFB2-4D2E-94A0-F74E3E477761}" dt="2024-07-24T15:31:35.057" v="283" actId="12788"/>
          <ac:graphicFrameMkLst>
            <pc:docMk/>
            <pc:sldMk cId="3289136143" sldId="2147483349"/>
            <ac:graphicFrameMk id="143" creationId="{F54FF53A-6A72-4E2B-A19A-12D37A601C5E}"/>
          </ac:graphicFrameMkLst>
        </pc:graphicFrameChg>
        <pc:cxnChg chg="mod">
          <ac:chgData name="Seun Osonuga" userId="6d4a9fd65a6bad53" providerId="LiveId" clId="{74727629-EFB2-4D2E-94A0-F74E3E477761}" dt="2024-07-24T15:31:35.057" v="283" actId="12788"/>
          <ac:cxnSpMkLst>
            <pc:docMk/>
            <pc:sldMk cId="3289136143" sldId="2147483349"/>
            <ac:cxnSpMk id="102" creationId="{1A93B402-192D-491D-9586-FBC667119ADB}"/>
          </ac:cxnSpMkLst>
        </pc:cxnChg>
        <pc:cxnChg chg="mod">
          <ac:chgData name="Seun Osonuga" userId="6d4a9fd65a6bad53" providerId="LiveId" clId="{74727629-EFB2-4D2E-94A0-F74E3E477761}" dt="2024-07-24T15:31:35.057" v="283" actId="12788"/>
          <ac:cxnSpMkLst>
            <pc:docMk/>
            <pc:sldMk cId="3289136143" sldId="2147483349"/>
            <ac:cxnSpMk id="108" creationId="{EC35A280-9C0E-4323-8B36-4ADD2C4C18AB}"/>
          </ac:cxnSpMkLst>
        </pc:cxnChg>
        <pc:cxnChg chg="mod">
          <ac:chgData name="Seun Osonuga" userId="6d4a9fd65a6bad53" providerId="LiveId" clId="{74727629-EFB2-4D2E-94A0-F74E3E477761}" dt="2024-07-24T15:31:35.057" v="283" actId="12788"/>
          <ac:cxnSpMkLst>
            <pc:docMk/>
            <pc:sldMk cId="3289136143" sldId="2147483349"/>
            <ac:cxnSpMk id="116" creationId="{A994D0DD-AA2B-4291-BDB7-2AA20001A97A}"/>
          </ac:cxnSpMkLst>
        </pc:cxnChg>
        <pc:cxnChg chg="mod">
          <ac:chgData name="Seun Osonuga" userId="6d4a9fd65a6bad53" providerId="LiveId" clId="{74727629-EFB2-4D2E-94A0-F74E3E477761}" dt="2024-07-24T15:31:35.057" v="283" actId="12788"/>
          <ac:cxnSpMkLst>
            <pc:docMk/>
            <pc:sldMk cId="3289136143" sldId="2147483349"/>
            <ac:cxnSpMk id="140" creationId="{DCC0946A-1576-4A0F-B0CA-F3A98B120E0F}"/>
          </ac:cxnSpMkLst>
        </pc:cxnChg>
      </pc:sldChg>
      <pc:sldChg chg="addSp delSp modSp mod">
        <pc:chgData name="Seun Osonuga" userId="6d4a9fd65a6bad53" providerId="LiveId" clId="{74727629-EFB2-4D2E-94A0-F74E3E477761}" dt="2024-07-25T08:51:57.990" v="732" actId="1076"/>
        <pc:sldMkLst>
          <pc:docMk/>
          <pc:sldMk cId="3331175220" sldId="2147483350"/>
        </pc:sldMkLst>
        <pc:spChg chg="add mod">
          <ac:chgData name="Seun Osonuga" userId="6d4a9fd65a6bad53" providerId="LiveId" clId="{74727629-EFB2-4D2E-94A0-F74E3E477761}" dt="2024-07-25T08:51:09.022" v="665" actId="14100"/>
          <ac:spMkLst>
            <pc:docMk/>
            <pc:sldMk cId="3331175220" sldId="2147483350"/>
            <ac:spMk id="2" creationId="{9B6E4C80-45F1-425D-90D4-0E5A4E29814F}"/>
          </ac:spMkLst>
        </pc:spChg>
        <pc:spChg chg="del mod">
          <ac:chgData name="Seun Osonuga" userId="6d4a9fd65a6bad53" providerId="LiveId" clId="{74727629-EFB2-4D2E-94A0-F74E3E477761}" dt="2024-07-24T08:26:33.784" v="37" actId="478"/>
          <ac:spMkLst>
            <pc:docMk/>
            <pc:sldMk cId="3331175220" sldId="2147483350"/>
            <ac:spMk id="5" creationId="{F2EB43DB-D181-2A7E-B1E9-12E8829BE0B7}"/>
          </ac:spMkLst>
        </pc:spChg>
        <pc:spChg chg="add mod">
          <ac:chgData name="Seun Osonuga" userId="6d4a9fd65a6bad53" providerId="LiveId" clId="{74727629-EFB2-4D2E-94A0-F74E3E477761}" dt="2024-07-24T08:27:18.012" v="82" actId="20577"/>
          <ac:spMkLst>
            <pc:docMk/>
            <pc:sldMk cId="3331175220" sldId="2147483350"/>
            <ac:spMk id="6" creationId="{1780476F-FC4D-4D70-83A0-8086E86304EF}"/>
          </ac:spMkLst>
        </pc:spChg>
        <pc:spChg chg="add mod">
          <ac:chgData name="Seun Osonuga" userId="6d4a9fd65a6bad53" providerId="LiveId" clId="{74727629-EFB2-4D2E-94A0-F74E3E477761}" dt="2024-07-25T08:51:57.990" v="732" actId="1076"/>
          <ac:spMkLst>
            <pc:docMk/>
            <pc:sldMk cId="3331175220" sldId="2147483350"/>
            <ac:spMk id="9" creationId="{3419E6E8-C2D3-4467-A712-F8F7C600FE26}"/>
          </ac:spMkLst>
        </pc:spChg>
        <pc:graphicFrameChg chg="mod modGraphic">
          <ac:chgData name="Seun Osonuga" userId="6d4a9fd65a6bad53" providerId="LiveId" clId="{74727629-EFB2-4D2E-94A0-F74E3E477761}" dt="2024-07-24T08:26:43.984" v="40" actId="14100"/>
          <ac:graphicFrameMkLst>
            <pc:docMk/>
            <pc:sldMk cId="3331175220" sldId="2147483350"/>
            <ac:graphicFrameMk id="8" creationId="{0B6561DD-AFA0-4A42-8F07-3E1FEC1C8B19}"/>
          </ac:graphicFrameMkLst>
        </pc:graphicFrameChg>
      </pc:sldChg>
      <pc:sldChg chg="addSp delSp modSp add mod">
        <pc:chgData name="Seun Osonuga" userId="6d4a9fd65a6bad53" providerId="LiveId" clId="{74727629-EFB2-4D2E-94A0-F74E3E477761}" dt="2024-07-25T08:51:52.411" v="730" actId="21"/>
        <pc:sldMkLst>
          <pc:docMk/>
          <pc:sldMk cId="1372165271" sldId="2147483351"/>
        </pc:sldMkLst>
        <pc:spChg chg="add mod">
          <ac:chgData name="Seun Osonuga" userId="6d4a9fd65a6bad53" providerId="LiveId" clId="{74727629-EFB2-4D2E-94A0-F74E3E477761}" dt="2024-07-25T08:51:43.535" v="728" actId="20577"/>
          <ac:spMkLst>
            <pc:docMk/>
            <pc:sldMk cId="1372165271" sldId="2147483351"/>
            <ac:spMk id="97" creationId="{CBAC70DC-C195-47FF-879B-FBF0A109A9B5}"/>
          </ac:spMkLst>
        </pc:spChg>
        <pc:spChg chg="add del mod">
          <ac:chgData name="Seun Osonuga" userId="6d4a9fd65a6bad53" providerId="LiveId" clId="{74727629-EFB2-4D2E-94A0-F74E3E477761}" dt="2024-07-25T08:51:52.411" v="730" actId="21"/>
          <ac:spMkLst>
            <pc:docMk/>
            <pc:sldMk cId="1372165271" sldId="2147483351"/>
            <ac:spMk id="98" creationId="{8FE706A8-E110-43A8-92B0-EC73663AD912}"/>
          </ac:spMkLst>
        </pc:spChg>
        <pc:spChg chg="del mod">
          <ac:chgData name="Seun Osonuga" userId="6d4a9fd65a6bad53" providerId="LiveId" clId="{74727629-EFB2-4D2E-94A0-F74E3E477761}" dt="2024-07-25T08:44:29.807" v="539" actId="478"/>
          <ac:spMkLst>
            <pc:docMk/>
            <pc:sldMk cId="1372165271" sldId="2147483351"/>
            <ac:spMk id="109" creationId="{418E1261-8361-4027-91F9-F8DAECCC7B45}"/>
          </ac:spMkLst>
        </pc:spChg>
        <pc:spChg chg="del">
          <ac:chgData name="Seun Osonuga" userId="6d4a9fd65a6bad53" providerId="LiveId" clId="{74727629-EFB2-4D2E-94A0-F74E3E477761}" dt="2024-07-24T15:26:13.929" v="256" actId="478"/>
          <ac:spMkLst>
            <pc:docMk/>
            <pc:sldMk cId="1372165271" sldId="2147483351"/>
            <ac:spMk id="120" creationId="{60C84091-2B2B-4E67-AFDF-1DE5E5D98C61}"/>
          </ac:spMkLst>
        </pc:spChg>
        <pc:spChg chg="mod">
          <ac:chgData name="Seun Osonuga" userId="6d4a9fd65a6bad53" providerId="LiveId" clId="{74727629-EFB2-4D2E-94A0-F74E3E477761}" dt="2024-07-25T08:47:11.017" v="597" actId="1076"/>
          <ac:spMkLst>
            <pc:docMk/>
            <pc:sldMk cId="1372165271" sldId="2147483351"/>
            <ac:spMk id="121" creationId="{3D62C117-5AC1-4C81-A914-A9A72E0DF50E}"/>
          </ac:spMkLst>
        </pc:spChg>
        <pc:spChg chg="del mod topLvl">
          <ac:chgData name="Seun Osonuga" userId="6d4a9fd65a6bad53" providerId="LiveId" clId="{74727629-EFB2-4D2E-94A0-F74E3E477761}" dt="2024-07-25T07:47:13.611" v="303" actId="478"/>
          <ac:spMkLst>
            <pc:docMk/>
            <pc:sldMk cId="1372165271" sldId="2147483351"/>
            <ac:spMk id="144" creationId="{5CE22FDE-5544-4C6A-9DAD-B437ADAF861F}"/>
          </ac:spMkLst>
        </pc:spChg>
        <pc:spChg chg="del mod topLvl">
          <ac:chgData name="Seun Osonuga" userId="6d4a9fd65a6bad53" providerId="LiveId" clId="{74727629-EFB2-4D2E-94A0-F74E3E477761}" dt="2024-07-25T07:47:13.611" v="303" actId="478"/>
          <ac:spMkLst>
            <pc:docMk/>
            <pc:sldMk cId="1372165271" sldId="2147483351"/>
            <ac:spMk id="147" creationId="{971C9063-0933-4004-877F-8E2587C2AE5F}"/>
          </ac:spMkLst>
        </pc:spChg>
        <pc:spChg chg="del mod topLvl">
          <ac:chgData name="Seun Osonuga" userId="6d4a9fd65a6bad53" providerId="LiveId" clId="{74727629-EFB2-4D2E-94A0-F74E3E477761}" dt="2024-07-25T07:47:13.611" v="303" actId="478"/>
          <ac:spMkLst>
            <pc:docMk/>
            <pc:sldMk cId="1372165271" sldId="2147483351"/>
            <ac:spMk id="148" creationId="{35184935-7122-4C1A-8FB4-7719F545CFBB}"/>
          </ac:spMkLst>
        </pc:spChg>
        <pc:spChg chg="mod ord topLvl">
          <ac:chgData name="Seun Osonuga" userId="6d4a9fd65a6bad53" providerId="LiveId" clId="{74727629-EFB2-4D2E-94A0-F74E3E477761}" dt="2024-07-25T08:46:45.085" v="569" actId="14100"/>
          <ac:spMkLst>
            <pc:docMk/>
            <pc:sldMk cId="1372165271" sldId="2147483351"/>
            <ac:spMk id="150" creationId="{E6085849-293F-46BB-B2F4-2D128583292D}"/>
          </ac:spMkLst>
        </pc:spChg>
        <pc:spChg chg="mod topLvl">
          <ac:chgData name="Seun Osonuga" userId="6d4a9fd65a6bad53" providerId="LiveId" clId="{74727629-EFB2-4D2E-94A0-F74E3E477761}" dt="2024-07-25T07:59:41.517" v="446" actId="14100"/>
          <ac:spMkLst>
            <pc:docMk/>
            <pc:sldMk cId="1372165271" sldId="2147483351"/>
            <ac:spMk id="153" creationId="{258AE297-0F3E-40C1-A0AA-217C33CD6BD8}"/>
          </ac:spMkLst>
        </pc:spChg>
        <pc:spChg chg="del mod topLvl">
          <ac:chgData name="Seun Osonuga" userId="6d4a9fd65a6bad53" providerId="LiveId" clId="{74727629-EFB2-4D2E-94A0-F74E3E477761}" dt="2024-07-25T07:47:10.332" v="302" actId="478"/>
          <ac:spMkLst>
            <pc:docMk/>
            <pc:sldMk cId="1372165271" sldId="2147483351"/>
            <ac:spMk id="154" creationId="{4071BEE2-8B2B-48FF-8C4B-97857D65D3E4}"/>
          </ac:spMkLst>
        </pc:spChg>
        <pc:spChg chg="del mod topLvl">
          <ac:chgData name="Seun Osonuga" userId="6d4a9fd65a6bad53" providerId="LiveId" clId="{74727629-EFB2-4D2E-94A0-F74E3E477761}" dt="2024-07-25T07:56:31.038" v="356" actId="478"/>
          <ac:spMkLst>
            <pc:docMk/>
            <pc:sldMk cId="1372165271" sldId="2147483351"/>
            <ac:spMk id="156" creationId="{CE35AA94-58A7-4B65-BA10-19765B542CF6}"/>
          </ac:spMkLst>
        </pc:spChg>
        <pc:spChg chg="del mod topLvl">
          <ac:chgData name="Seun Osonuga" userId="6d4a9fd65a6bad53" providerId="LiveId" clId="{74727629-EFB2-4D2E-94A0-F74E3E477761}" dt="2024-07-25T07:56:35.753" v="357" actId="478"/>
          <ac:spMkLst>
            <pc:docMk/>
            <pc:sldMk cId="1372165271" sldId="2147483351"/>
            <ac:spMk id="159" creationId="{65F67377-4B25-4DBA-A4EC-BB07456E38F3}"/>
          </ac:spMkLst>
        </pc:spChg>
        <pc:spChg chg="del mod topLvl">
          <ac:chgData name="Seun Osonuga" userId="6d4a9fd65a6bad53" providerId="LiveId" clId="{74727629-EFB2-4D2E-94A0-F74E3E477761}" dt="2024-07-25T07:56:39.284" v="358" actId="478"/>
          <ac:spMkLst>
            <pc:docMk/>
            <pc:sldMk cId="1372165271" sldId="2147483351"/>
            <ac:spMk id="160" creationId="{AB850BCF-DACB-435A-84DE-40CD1DBF9408}"/>
          </ac:spMkLst>
        </pc:spChg>
        <pc:spChg chg="del mod">
          <ac:chgData name="Seun Osonuga" userId="6d4a9fd65a6bad53" providerId="LiveId" clId="{74727629-EFB2-4D2E-94A0-F74E3E477761}" dt="2024-07-25T08:44:21.351" v="535" actId="478"/>
          <ac:spMkLst>
            <pc:docMk/>
            <pc:sldMk cId="1372165271" sldId="2147483351"/>
            <ac:spMk id="168" creationId="{27446404-5908-422E-B34D-508C6EF171DB}"/>
          </ac:spMkLst>
        </pc:spChg>
        <pc:spChg chg="del mod">
          <ac:chgData name="Seun Osonuga" userId="6d4a9fd65a6bad53" providerId="LiveId" clId="{74727629-EFB2-4D2E-94A0-F74E3E477761}" dt="2024-07-25T08:44:28.287" v="538" actId="478"/>
          <ac:spMkLst>
            <pc:docMk/>
            <pc:sldMk cId="1372165271" sldId="2147483351"/>
            <ac:spMk id="169" creationId="{2DA90D7A-3820-4FA3-96A3-4901F531E145}"/>
          </ac:spMkLst>
        </pc:spChg>
        <pc:spChg chg="del mod">
          <ac:chgData name="Seun Osonuga" userId="6d4a9fd65a6bad53" providerId="LiveId" clId="{74727629-EFB2-4D2E-94A0-F74E3E477761}" dt="2024-07-25T08:44:25.971" v="536" actId="478"/>
          <ac:spMkLst>
            <pc:docMk/>
            <pc:sldMk cId="1372165271" sldId="2147483351"/>
            <ac:spMk id="170" creationId="{E5A00908-A6A5-45B8-8CBB-938A483589C2}"/>
          </ac:spMkLst>
        </pc:spChg>
        <pc:grpChg chg="del">
          <ac:chgData name="Seun Osonuga" userId="6d4a9fd65a6bad53" providerId="LiveId" clId="{74727629-EFB2-4D2E-94A0-F74E3E477761}" dt="2024-07-25T07:46:48.456" v="301" actId="165"/>
          <ac:grpSpMkLst>
            <pc:docMk/>
            <pc:sldMk cId="1372165271" sldId="2147483351"/>
            <ac:grpSpMk id="2" creationId="{57508B3C-1BD2-41AA-8B3C-8C921DE611B2}"/>
          </ac:grpSpMkLst>
        </pc:grpChg>
        <pc:grpChg chg="del">
          <ac:chgData name="Seun Osonuga" userId="6d4a9fd65a6bad53" providerId="LiveId" clId="{74727629-EFB2-4D2E-94A0-F74E3E477761}" dt="2024-07-25T07:46:44.870" v="300" actId="478"/>
          <ac:grpSpMkLst>
            <pc:docMk/>
            <pc:sldMk cId="1372165271" sldId="2147483351"/>
            <ac:grpSpMk id="4" creationId="{B7306060-40BF-4600-88CD-AA02AF32EF81}"/>
          </ac:grpSpMkLst>
        </pc:grpChg>
        <pc:grpChg chg="del">
          <ac:chgData name="Seun Osonuga" userId="6d4a9fd65a6bad53" providerId="LiveId" clId="{74727629-EFB2-4D2E-94A0-F74E3E477761}" dt="2024-07-24T15:29:56.439" v="277" actId="478"/>
          <ac:grpSpMkLst>
            <pc:docMk/>
            <pc:sldMk cId="1372165271" sldId="2147483351"/>
            <ac:grpSpMk id="5" creationId="{F41D819F-7AA2-4098-8DF1-B9DB86620BE9}"/>
          </ac:grpSpMkLst>
        </pc:grpChg>
        <pc:graphicFrameChg chg="add mod">
          <ac:chgData name="Seun Osonuga" userId="6d4a9fd65a6bad53" providerId="LiveId" clId="{74727629-EFB2-4D2E-94A0-F74E3E477761}" dt="2024-07-25T08:49:55.371" v="605" actId="255"/>
          <ac:graphicFrameMkLst>
            <pc:docMk/>
            <pc:sldMk cId="1372165271" sldId="2147483351"/>
            <ac:graphicFrameMk id="7" creationId="{B15C4BCD-062B-4F01-94F9-B0623BC4D421}"/>
          </ac:graphicFrameMkLst>
        </pc:graphicFrameChg>
        <pc:graphicFrameChg chg="del modGraphic">
          <ac:chgData name="Seun Osonuga" userId="6d4a9fd65a6bad53" providerId="LiveId" clId="{74727629-EFB2-4D2E-94A0-F74E3E477761}" dt="2024-07-24T15:26:22.058" v="258" actId="478"/>
          <ac:graphicFrameMkLst>
            <pc:docMk/>
            <pc:sldMk cId="1372165271" sldId="2147483351"/>
            <ac:graphicFrameMk id="8" creationId="{30D4A90C-6B9D-4354-A16C-BF38E672258B}"/>
          </ac:graphicFrameMkLst>
        </pc:graphicFrameChg>
        <pc:graphicFrameChg chg="add del mod modGraphic">
          <ac:chgData name="Seun Osonuga" userId="6d4a9fd65a6bad53" providerId="LiveId" clId="{74727629-EFB2-4D2E-94A0-F74E3E477761}" dt="2024-07-24T15:29:06.547" v="276" actId="478"/>
          <ac:graphicFrameMkLst>
            <pc:docMk/>
            <pc:sldMk cId="1372165271" sldId="2147483351"/>
            <ac:graphicFrameMk id="9" creationId="{A03EA129-5205-41E5-A49C-6BB2B737EF9D}"/>
          </ac:graphicFrameMkLst>
        </pc:graphicFrameChg>
        <pc:graphicFrameChg chg="add del mod">
          <ac:chgData name="Seun Osonuga" userId="6d4a9fd65a6bad53" providerId="LiveId" clId="{74727629-EFB2-4D2E-94A0-F74E3E477761}" dt="2024-07-25T07:44:41.689" v="286" actId="478"/>
          <ac:graphicFrameMkLst>
            <pc:docMk/>
            <pc:sldMk cId="1372165271" sldId="2147483351"/>
            <ac:graphicFrameMk id="14" creationId="{4BBF3612-2C95-4493-BE2E-DC1BEA8C3E96}"/>
          </ac:graphicFrameMkLst>
        </pc:graphicFrameChg>
        <pc:graphicFrameChg chg="add mod">
          <ac:chgData name="Seun Osonuga" userId="6d4a9fd65a6bad53" providerId="LiveId" clId="{74727629-EFB2-4D2E-94A0-F74E3E477761}" dt="2024-07-25T08:46:51.145" v="593" actId="1037"/>
          <ac:graphicFrameMkLst>
            <pc:docMk/>
            <pc:sldMk cId="1372165271" sldId="2147483351"/>
            <ac:graphicFrameMk id="86" creationId="{057D2EB0-C191-44E7-AEE1-9F9653FBFA0F}"/>
          </ac:graphicFrameMkLst>
        </pc:graphicFrameChg>
        <pc:graphicFrameChg chg="add mod">
          <ac:chgData name="Seun Osonuga" userId="6d4a9fd65a6bad53" providerId="LiveId" clId="{74727629-EFB2-4D2E-94A0-F74E3E477761}" dt="2024-07-25T08:46:51.145" v="593" actId="1037"/>
          <ac:graphicFrameMkLst>
            <pc:docMk/>
            <pc:sldMk cId="1372165271" sldId="2147483351"/>
            <ac:graphicFrameMk id="87" creationId="{EAC46F85-3F27-499D-8C61-A3EBEE540D0C}"/>
          </ac:graphicFrameMkLst>
        </pc:graphicFrameChg>
        <pc:graphicFrameChg chg="add mod">
          <ac:chgData name="Seun Osonuga" userId="6d4a9fd65a6bad53" providerId="LiveId" clId="{74727629-EFB2-4D2E-94A0-F74E3E477761}" dt="2024-07-25T08:46:51.145" v="593" actId="1037"/>
          <ac:graphicFrameMkLst>
            <pc:docMk/>
            <pc:sldMk cId="1372165271" sldId="2147483351"/>
            <ac:graphicFrameMk id="88" creationId="{315D7EBB-39BC-4F52-AF0C-AFBE42D7010D}"/>
          </ac:graphicFrameMkLst>
        </pc:graphicFrameChg>
        <pc:graphicFrameChg chg="add mod">
          <ac:chgData name="Seun Osonuga" userId="6d4a9fd65a6bad53" providerId="LiveId" clId="{74727629-EFB2-4D2E-94A0-F74E3E477761}" dt="2024-07-25T08:46:51.145" v="593" actId="1037"/>
          <ac:graphicFrameMkLst>
            <pc:docMk/>
            <pc:sldMk cId="1372165271" sldId="2147483351"/>
            <ac:graphicFrameMk id="89" creationId="{81C7D848-9898-4607-8757-36A8F3E6DE1D}"/>
          </ac:graphicFrameMkLst>
        </pc:graphicFrameChg>
        <pc:graphicFrameChg chg="add mod">
          <ac:chgData name="Seun Osonuga" userId="6d4a9fd65a6bad53" providerId="LiveId" clId="{74727629-EFB2-4D2E-94A0-F74E3E477761}" dt="2024-07-25T08:46:51.145" v="593" actId="1037"/>
          <ac:graphicFrameMkLst>
            <pc:docMk/>
            <pc:sldMk cId="1372165271" sldId="2147483351"/>
            <ac:graphicFrameMk id="90" creationId="{6D927026-B447-4718-8E5A-0ED066808A0A}"/>
          </ac:graphicFrameMkLst>
        </pc:graphicFrameChg>
        <pc:graphicFrameChg chg="add mod">
          <ac:chgData name="Seun Osonuga" userId="6d4a9fd65a6bad53" providerId="LiveId" clId="{74727629-EFB2-4D2E-94A0-F74E3E477761}" dt="2024-07-25T08:46:51.145" v="593" actId="1037"/>
          <ac:graphicFrameMkLst>
            <pc:docMk/>
            <pc:sldMk cId="1372165271" sldId="2147483351"/>
            <ac:graphicFrameMk id="91" creationId="{B18B9A7C-EF39-46FE-BAC9-C8EC09AA619C}"/>
          </ac:graphicFrameMkLst>
        </pc:graphicFrameChg>
        <pc:graphicFrameChg chg="add mod">
          <ac:chgData name="Seun Osonuga" userId="6d4a9fd65a6bad53" providerId="LiveId" clId="{74727629-EFB2-4D2E-94A0-F74E3E477761}" dt="2024-07-25T08:46:51.145" v="593" actId="1037"/>
          <ac:graphicFrameMkLst>
            <pc:docMk/>
            <pc:sldMk cId="1372165271" sldId="2147483351"/>
            <ac:graphicFrameMk id="92" creationId="{0CAEAEA8-A076-4841-952E-B12D23063AA7}"/>
          </ac:graphicFrameMkLst>
        </pc:graphicFrameChg>
        <pc:graphicFrameChg chg="add mod">
          <ac:chgData name="Seun Osonuga" userId="6d4a9fd65a6bad53" providerId="LiveId" clId="{74727629-EFB2-4D2E-94A0-F74E3E477761}" dt="2024-07-25T08:46:51.145" v="593" actId="1037"/>
          <ac:graphicFrameMkLst>
            <pc:docMk/>
            <pc:sldMk cId="1372165271" sldId="2147483351"/>
            <ac:graphicFrameMk id="93" creationId="{3DAA0280-5EB7-48B6-A328-4D9ADF821B5F}"/>
          </ac:graphicFrameMkLst>
        </pc:graphicFrameChg>
        <pc:graphicFrameChg chg="add mod">
          <ac:chgData name="Seun Osonuga" userId="6d4a9fd65a6bad53" providerId="LiveId" clId="{74727629-EFB2-4D2E-94A0-F74E3E477761}" dt="2024-07-25T08:46:51.145" v="593" actId="1037"/>
          <ac:graphicFrameMkLst>
            <pc:docMk/>
            <pc:sldMk cId="1372165271" sldId="2147483351"/>
            <ac:graphicFrameMk id="94" creationId="{BE9BCA69-E82A-4B39-8C6E-B54B8EA88502}"/>
          </ac:graphicFrameMkLst>
        </pc:graphicFrameChg>
        <pc:graphicFrameChg chg="add mod">
          <ac:chgData name="Seun Osonuga" userId="6d4a9fd65a6bad53" providerId="LiveId" clId="{74727629-EFB2-4D2E-94A0-F74E3E477761}" dt="2024-07-25T08:46:51.145" v="593" actId="1037"/>
          <ac:graphicFrameMkLst>
            <pc:docMk/>
            <pc:sldMk cId="1372165271" sldId="2147483351"/>
            <ac:graphicFrameMk id="95" creationId="{DFB00D2C-BFAC-4406-A2DA-C641579E8CBE}"/>
          </ac:graphicFrameMkLst>
        </pc:graphicFrameChg>
        <pc:graphicFrameChg chg="add del mod">
          <ac:chgData name="Seun Osonuga" userId="6d4a9fd65a6bad53" providerId="LiveId" clId="{74727629-EFB2-4D2E-94A0-F74E3E477761}" dt="2024-07-25T08:46:35.864" v="568" actId="478"/>
          <ac:graphicFrameMkLst>
            <pc:docMk/>
            <pc:sldMk cId="1372165271" sldId="2147483351"/>
            <ac:graphicFrameMk id="96" creationId="{D34F384E-F0BC-4B41-AD59-F07D88D66AD3}"/>
          </ac:graphicFrameMkLst>
        </pc:graphicFrameChg>
        <pc:graphicFrameChg chg="del">
          <ac:chgData name="Seun Osonuga" userId="6d4a9fd65a6bad53" providerId="LiveId" clId="{74727629-EFB2-4D2E-94A0-F74E3E477761}" dt="2024-07-24T15:26:07.762" v="255" actId="478"/>
          <ac:graphicFrameMkLst>
            <pc:docMk/>
            <pc:sldMk cId="1372165271" sldId="2147483351"/>
            <ac:graphicFrameMk id="114" creationId="{A8BB5688-8B57-44B2-A19E-90D8CD952C0E}"/>
          </ac:graphicFrameMkLst>
        </pc:graphicFrameChg>
        <pc:graphicFrameChg chg="del mod topLvl">
          <ac:chgData name="Seun Osonuga" userId="6d4a9fd65a6bad53" providerId="LiveId" clId="{74727629-EFB2-4D2E-94A0-F74E3E477761}" dt="2024-07-25T07:47:13.611" v="303" actId="478"/>
          <ac:graphicFrameMkLst>
            <pc:docMk/>
            <pc:sldMk cId="1372165271" sldId="2147483351"/>
            <ac:graphicFrameMk id="145" creationId="{10699E75-899E-4D34-B45C-78B412C0DE46}"/>
          </ac:graphicFrameMkLst>
        </pc:graphicFrameChg>
        <pc:graphicFrameChg chg="del mod topLvl">
          <ac:chgData name="Seun Osonuga" userId="6d4a9fd65a6bad53" providerId="LiveId" clId="{74727629-EFB2-4D2E-94A0-F74E3E477761}" dt="2024-07-25T07:47:13.611" v="303" actId="478"/>
          <ac:graphicFrameMkLst>
            <pc:docMk/>
            <pc:sldMk cId="1372165271" sldId="2147483351"/>
            <ac:graphicFrameMk id="149" creationId="{9485D3F6-2DBA-4DFE-B4A9-CE624AD20733}"/>
          </ac:graphicFrameMkLst>
        </pc:graphicFrameChg>
        <pc:graphicFrameChg chg="mod topLvl">
          <ac:chgData name="Seun Osonuga" userId="6d4a9fd65a6bad53" providerId="LiveId" clId="{74727629-EFB2-4D2E-94A0-F74E3E477761}" dt="2024-07-25T07:46:48.456" v="301" actId="165"/>
          <ac:graphicFrameMkLst>
            <pc:docMk/>
            <pc:sldMk cId="1372165271" sldId="2147483351"/>
            <ac:graphicFrameMk id="157" creationId="{066454A8-8B9A-4BAC-8166-BD886D2702A0}"/>
          </ac:graphicFrameMkLst>
        </pc:graphicFrameChg>
        <pc:graphicFrameChg chg="mod topLvl modGraphic">
          <ac:chgData name="Seun Osonuga" userId="6d4a9fd65a6bad53" providerId="LiveId" clId="{74727629-EFB2-4D2E-94A0-F74E3E477761}" dt="2024-07-25T08:46:51.145" v="593" actId="1037"/>
          <ac:graphicFrameMkLst>
            <pc:docMk/>
            <pc:sldMk cId="1372165271" sldId="2147483351"/>
            <ac:graphicFrameMk id="161" creationId="{AB9CE0A8-3DB0-4583-BA9D-1056C3E1CEC6}"/>
          </ac:graphicFrameMkLst>
        </pc:graphicFrameChg>
        <pc:cxnChg chg="del mod topLvl">
          <ac:chgData name="Seun Osonuga" userId="6d4a9fd65a6bad53" providerId="LiveId" clId="{74727629-EFB2-4D2E-94A0-F74E3E477761}" dt="2024-07-25T07:47:13.611" v="303" actId="478"/>
          <ac:cxnSpMkLst>
            <pc:docMk/>
            <pc:sldMk cId="1372165271" sldId="2147483351"/>
            <ac:cxnSpMk id="146" creationId="{8F2895D2-5F3F-4C9E-909D-8C918F4687AF}"/>
          </ac:cxnSpMkLst>
        </pc:cxnChg>
        <pc:cxnChg chg="mod topLvl">
          <ac:chgData name="Seun Osonuga" userId="6d4a9fd65a6bad53" providerId="LiveId" clId="{74727629-EFB2-4D2E-94A0-F74E3E477761}" dt="2024-07-25T07:59:41.517" v="446" actId="14100"/>
          <ac:cxnSpMkLst>
            <pc:docMk/>
            <pc:sldMk cId="1372165271" sldId="2147483351"/>
            <ac:cxnSpMk id="152" creationId="{A096806B-275E-4991-AC08-5CE2ECC39DC1}"/>
          </ac:cxnSpMkLst>
        </pc:cxnChg>
        <pc:cxnChg chg="del mod topLvl">
          <ac:chgData name="Seun Osonuga" userId="6d4a9fd65a6bad53" providerId="LiveId" clId="{74727629-EFB2-4D2E-94A0-F74E3E477761}" dt="2024-07-25T07:56:35.753" v="357" actId="478"/>
          <ac:cxnSpMkLst>
            <pc:docMk/>
            <pc:sldMk cId="1372165271" sldId="2147483351"/>
            <ac:cxnSpMk id="158" creationId="{4BD2ED3A-BF4A-458D-A2EC-6930C365D46C}"/>
          </ac:cxnSpMkLst>
        </pc:cxnChg>
      </pc:sldChg>
      <pc:sldMasterChg chg="delSldLayout">
        <pc:chgData name="Seun Osonuga" userId="6d4a9fd65a6bad53" providerId="LiveId" clId="{74727629-EFB2-4D2E-94A0-F74E3E477761}" dt="2024-07-24T08:25:29.207" v="2" actId="47"/>
        <pc:sldMasterMkLst>
          <pc:docMk/>
          <pc:sldMasterMk cId="1194077168" sldId="2147483648"/>
        </pc:sldMasterMkLst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1194077168" sldId="2147483648"/>
            <pc:sldLayoutMk cId="3884004038" sldId="2147483705"/>
          </pc:sldLayoutMkLst>
        </pc:sldLayoutChg>
        <pc:sldLayoutChg chg="del">
          <pc:chgData name="Seun Osonuga" userId="6d4a9fd65a6bad53" providerId="LiveId" clId="{74727629-EFB2-4D2E-94A0-F74E3E477761}" dt="2024-07-24T08:25:29.207" v="2" actId="47"/>
          <pc:sldLayoutMkLst>
            <pc:docMk/>
            <pc:sldMasterMk cId="1194077168" sldId="2147483648"/>
            <pc:sldLayoutMk cId="3280898136" sldId="2147484133"/>
          </pc:sldLayoutMkLst>
        </pc:sldLayoutChg>
      </pc:sldMasterChg>
      <pc:sldMasterChg chg="del delSldLayout">
        <pc:chgData name="Seun Osonuga" userId="6d4a9fd65a6bad53" providerId="LiveId" clId="{74727629-EFB2-4D2E-94A0-F74E3E477761}" dt="2024-07-24T08:25:18.681" v="0" actId="47"/>
        <pc:sldMasterMkLst>
          <pc:docMk/>
          <pc:sldMasterMk cId="562994065" sldId="2147484134"/>
        </pc:sldMasterMkLst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2482244137" sldId="2147484135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2017569423" sldId="2147484136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3182742383" sldId="2147484137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241310932" sldId="2147484138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209255297" sldId="2147484139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1586332834" sldId="2147484140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1166196994" sldId="2147484141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4016885506" sldId="2147484142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135830231" sldId="2147484143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727642279" sldId="2147484144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705405204" sldId="2147484145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487712686" sldId="2147484146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641371809" sldId="2147484147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3666775466" sldId="2147484148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1203760380" sldId="2147484149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2240490003" sldId="2147484150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1106756749" sldId="2147484151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4207912294" sldId="2147484152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2561737407" sldId="2147484153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364969636" sldId="2147484154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178744876" sldId="2147484155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2914318202" sldId="2147484156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1070982942" sldId="2147484157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2266547046" sldId="2147484158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3422117945" sldId="2147484159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3306601955" sldId="2147484160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3375757736" sldId="2147484161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4257652379" sldId="2147484162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3696637002" sldId="2147484163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2706125701" sldId="2147484164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1682526883" sldId="2147484165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3236162021" sldId="2147484166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317343711" sldId="2147484167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364301550" sldId="2147484168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3084981908" sldId="2147484169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82483256" sldId="2147484170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1705516065" sldId="2147484171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3256345675" sldId="2147484172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1215125385" sldId="2147484173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2847827496" sldId="2147484174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1723106216" sldId="2147484175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562994065" sldId="2147484134"/>
            <pc:sldLayoutMk cId="3177027689" sldId="2147484176"/>
          </pc:sldLayoutMkLst>
        </pc:sldLayoutChg>
      </pc:sldMasterChg>
      <pc:sldMasterChg chg="del delSldLayout">
        <pc:chgData name="Seun Osonuga" userId="6d4a9fd65a6bad53" providerId="LiveId" clId="{74727629-EFB2-4D2E-94A0-F74E3E477761}" dt="2024-07-24T08:25:18.681" v="0" actId="47"/>
        <pc:sldMasterMkLst>
          <pc:docMk/>
          <pc:sldMasterMk cId="2495346564" sldId="2147484372"/>
        </pc:sldMasterMkLst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1065521828" sldId="2147484373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1189330102" sldId="2147484374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273399726" sldId="2147484375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1488606811" sldId="2147484376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1257110214" sldId="2147484377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447405944" sldId="2147484378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2012740851" sldId="2147484379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3613744067" sldId="2147484380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3494096483" sldId="2147484381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338883603" sldId="2147484382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2467259536" sldId="2147484383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1861377716" sldId="2147484384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3852388570" sldId="2147484385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3911007702" sldId="2147484386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3233575852" sldId="2147484387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2684170222" sldId="2147484388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72349996" sldId="2147484389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2744659915" sldId="2147484390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1545134031" sldId="2147484391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1950649900" sldId="2147484392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618392432" sldId="2147484393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830132889" sldId="2147484394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663631246" sldId="2147484395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1224665685" sldId="2147484396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1918285092" sldId="2147484397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80537869" sldId="2147484398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4202869333" sldId="2147484399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963459501" sldId="2147484400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2013078512" sldId="2147484401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3818938008" sldId="2147484402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3643040501" sldId="2147484403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2002680213" sldId="2147484404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1868417046" sldId="2147484405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3226706278" sldId="2147484406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4030393689" sldId="2147484407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3823963772" sldId="2147484408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2641084928" sldId="2147484409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2891035008" sldId="2147484410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156988731" sldId="2147484411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281861089" sldId="2147484412"/>
          </pc:sldLayoutMkLst>
        </pc:sldLayoutChg>
        <pc:sldLayoutChg chg="del">
          <pc:chgData name="Seun Osonuga" userId="6d4a9fd65a6bad53" providerId="LiveId" clId="{74727629-EFB2-4D2E-94A0-F74E3E477761}" dt="2024-07-24T08:25:18.681" v="0" actId="47"/>
          <pc:sldLayoutMkLst>
            <pc:docMk/>
            <pc:sldMasterMk cId="2495346564" sldId="2147484372"/>
            <pc:sldLayoutMk cId="2077696696" sldId="2147484413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4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5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chartUserShapes" Target="../drawings/drawing6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chartUserShapes" Target="../drawings/drawing7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chartUserShapes" Target="../drawings/drawing8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chartUserShapes" Target="../drawings/drawing9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19.xml"/><Relationship Id="rId1" Type="http://schemas.microsoft.com/office/2011/relationships/chartStyle" Target="style19.xml"/><Relationship Id="rId4" Type="http://schemas.openxmlformats.org/officeDocument/2006/relationships/chartUserShapes" Target="../drawings/drawing10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1.xml"/><Relationship Id="rId1" Type="http://schemas.microsoft.com/office/2011/relationships/chartStyle" Target="style21.xml"/><Relationship Id="rId4" Type="http://schemas.openxmlformats.org/officeDocument/2006/relationships/chartUserShapes" Target="../drawings/drawing11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36.xml"/><Relationship Id="rId1" Type="http://schemas.microsoft.com/office/2011/relationships/chartStyle" Target="style36.xml"/><Relationship Id="rId4" Type="http://schemas.openxmlformats.org/officeDocument/2006/relationships/chartUserShapes" Target="../drawings/drawing12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37.xml"/><Relationship Id="rId1" Type="http://schemas.microsoft.com/office/2011/relationships/chartStyle" Target="style37.xml"/><Relationship Id="rId4" Type="http://schemas.openxmlformats.org/officeDocument/2006/relationships/chartUserShapes" Target="../drawings/drawing13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2.xlsx"/><Relationship Id="rId2" Type="http://schemas.microsoft.com/office/2011/relationships/chartColorStyle" Target="colors38.xml"/><Relationship Id="rId1" Type="http://schemas.microsoft.com/office/2011/relationships/chartStyle" Target="style38.xml"/><Relationship Id="rId4" Type="http://schemas.openxmlformats.org/officeDocument/2006/relationships/chartUserShapes" Target="../drawings/drawing14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3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4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5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2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3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Microsoft_Excel_Worksheet6.xlsx"/></Relationships>
</file>

<file path=ppt/charts/_rels/chartEx10.xml.rels><?xml version="1.0" encoding="UTF-8" standalone="yes"?>
<Relationships xmlns="http://schemas.openxmlformats.org/package/2006/relationships"><Relationship Id="rId3" Type="http://schemas.microsoft.com/office/2011/relationships/chartColorStyle" Target="colors20.xml"/><Relationship Id="rId2" Type="http://schemas.microsoft.com/office/2011/relationships/chartStyle" Target="style20.xml"/><Relationship Id="rId1" Type="http://schemas.openxmlformats.org/officeDocument/2006/relationships/package" Target="../embeddings/Microsoft_Excel_Worksheet24.xlsx"/></Relationships>
</file>

<file path=ppt/charts/_rels/chartEx11.xml.rels><?xml version="1.0" encoding="UTF-8" standalone="yes"?>
<Relationships xmlns="http://schemas.openxmlformats.org/package/2006/relationships"><Relationship Id="rId3" Type="http://schemas.microsoft.com/office/2011/relationships/chartColorStyle" Target="colors22.xml"/><Relationship Id="rId2" Type="http://schemas.microsoft.com/office/2011/relationships/chartStyle" Target="style22.xml"/><Relationship Id="rId1" Type="http://schemas.openxmlformats.org/officeDocument/2006/relationships/package" Target="../embeddings/Microsoft_Excel_Worksheet26.xlsx"/></Relationships>
</file>

<file path=ppt/charts/_rels/chartEx12.xml.rels><?xml version="1.0" encoding="UTF-8" standalone="yes"?>
<Relationships xmlns="http://schemas.openxmlformats.org/package/2006/relationships"><Relationship Id="rId3" Type="http://schemas.microsoft.com/office/2011/relationships/chartColorStyle" Target="colors24.xml"/><Relationship Id="rId2" Type="http://schemas.microsoft.com/office/2011/relationships/chartStyle" Target="style24.xml"/><Relationship Id="rId1" Type="http://schemas.openxmlformats.org/officeDocument/2006/relationships/package" Target="../embeddings/Microsoft_Excel_Worksheet28.xlsx"/></Relationships>
</file>

<file path=ppt/charts/_rels/chartEx13.xml.rels><?xml version="1.0" encoding="UTF-8" standalone="yes"?>
<Relationships xmlns="http://schemas.openxmlformats.org/package/2006/relationships"><Relationship Id="rId3" Type="http://schemas.microsoft.com/office/2011/relationships/chartColorStyle" Target="colors25.xml"/><Relationship Id="rId2" Type="http://schemas.microsoft.com/office/2011/relationships/chartStyle" Target="style25.xml"/><Relationship Id="rId1" Type="http://schemas.openxmlformats.org/officeDocument/2006/relationships/package" Target="../embeddings/Microsoft_Excel_Worksheet29.xlsx"/></Relationships>
</file>

<file path=ppt/charts/_rels/chartEx14.xml.rels><?xml version="1.0" encoding="UTF-8" standalone="yes"?>
<Relationships xmlns="http://schemas.openxmlformats.org/package/2006/relationships"><Relationship Id="rId3" Type="http://schemas.microsoft.com/office/2011/relationships/chartColorStyle" Target="colors26.xml"/><Relationship Id="rId2" Type="http://schemas.microsoft.com/office/2011/relationships/chartStyle" Target="style26.xml"/><Relationship Id="rId1" Type="http://schemas.openxmlformats.org/officeDocument/2006/relationships/package" Target="../embeddings/Microsoft_Excel_Worksheet30.xlsx"/></Relationships>
</file>

<file path=ppt/charts/_rels/chartEx15.xml.rels><?xml version="1.0" encoding="UTF-8" standalone="yes"?>
<Relationships xmlns="http://schemas.openxmlformats.org/package/2006/relationships"><Relationship Id="rId3" Type="http://schemas.microsoft.com/office/2011/relationships/chartColorStyle" Target="colors27.xml"/><Relationship Id="rId2" Type="http://schemas.microsoft.com/office/2011/relationships/chartStyle" Target="style27.xml"/><Relationship Id="rId1" Type="http://schemas.openxmlformats.org/officeDocument/2006/relationships/package" Target="../embeddings/Microsoft_Excel_Worksheet31.xlsx"/></Relationships>
</file>

<file path=ppt/charts/_rels/chartEx16.xml.rels><?xml version="1.0" encoding="UTF-8" standalone="yes"?>
<Relationships xmlns="http://schemas.openxmlformats.org/package/2006/relationships"><Relationship Id="rId3" Type="http://schemas.microsoft.com/office/2011/relationships/chartColorStyle" Target="colors28.xml"/><Relationship Id="rId2" Type="http://schemas.microsoft.com/office/2011/relationships/chartStyle" Target="style28.xml"/><Relationship Id="rId1" Type="http://schemas.openxmlformats.org/officeDocument/2006/relationships/package" Target="../embeddings/Microsoft_Excel_Worksheet32.xlsx"/></Relationships>
</file>

<file path=ppt/charts/_rels/chartEx17.xml.rels><?xml version="1.0" encoding="UTF-8" standalone="yes"?>
<Relationships xmlns="http://schemas.openxmlformats.org/package/2006/relationships"><Relationship Id="rId3" Type="http://schemas.microsoft.com/office/2011/relationships/chartColorStyle" Target="colors29.xml"/><Relationship Id="rId2" Type="http://schemas.microsoft.com/office/2011/relationships/chartStyle" Target="style29.xml"/><Relationship Id="rId1" Type="http://schemas.openxmlformats.org/officeDocument/2006/relationships/package" Target="../embeddings/Microsoft_Excel_Worksheet33.xlsx"/></Relationships>
</file>

<file path=ppt/charts/_rels/chartEx18.xml.rels><?xml version="1.0" encoding="UTF-8" standalone="yes"?>
<Relationships xmlns="http://schemas.openxmlformats.org/package/2006/relationships"><Relationship Id="rId3" Type="http://schemas.microsoft.com/office/2011/relationships/chartColorStyle" Target="colors30.xml"/><Relationship Id="rId2" Type="http://schemas.microsoft.com/office/2011/relationships/chartStyle" Target="style30.xml"/><Relationship Id="rId1" Type="http://schemas.openxmlformats.org/officeDocument/2006/relationships/package" Target="../embeddings/Microsoft_Excel_Worksheet34.xlsx"/></Relationships>
</file>

<file path=ppt/charts/_rels/chartEx19.xml.rels><?xml version="1.0" encoding="UTF-8" standalone="yes"?>
<Relationships xmlns="http://schemas.openxmlformats.org/package/2006/relationships"><Relationship Id="rId3" Type="http://schemas.microsoft.com/office/2011/relationships/chartColorStyle" Target="colors31.xml"/><Relationship Id="rId2" Type="http://schemas.microsoft.com/office/2011/relationships/chartStyle" Target="style31.xml"/><Relationship Id="rId1" Type="http://schemas.openxmlformats.org/officeDocument/2006/relationships/package" Target="../embeddings/Microsoft_Excel_Worksheet35.xlsx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Microsoft_Excel_Worksheet8.xlsx"/></Relationships>
</file>

<file path=ppt/charts/_rels/chartEx20.xml.rels><?xml version="1.0" encoding="UTF-8" standalone="yes"?>
<Relationships xmlns="http://schemas.openxmlformats.org/package/2006/relationships"><Relationship Id="rId3" Type="http://schemas.microsoft.com/office/2011/relationships/chartColorStyle" Target="colors32.xml"/><Relationship Id="rId2" Type="http://schemas.microsoft.com/office/2011/relationships/chartStyle" Target="style32.xml"/><Relationship Id="rId1" Type="http://schemas.openxmlformats.org/officeDocument/2006/relationships/package" Target="../embeddings/Microsoft_Excel_Worksheet36.xlsx"/></Relationships>
</file>

<file path=ppt/charts/_rels/chartEx21.xml.rels><?xml version="1.0" encoding="UTF-8" standalone="yes"?>
<Relationships xmlns="http://schemas.openxmlformats.org/package/2006/relationships"><Relationship Id="rId3" Type="http://schemas.microsoft.com/office/2011/relationships/chartColorStyle" Target="colors33.xml"/><Relationship Id="rId2" Type="http://schemas.microsoft.com/office/2011/relationships/chartStyle" Target="style33.xml"/><Relationship Id="rId1" Type="http://schemas.openxmlformats.org/officeDocument/2006/relationships/package" Target="../embeddings/Microsoft_Excel_Worksheet37.xlsx"/></Relationships>
</file>

<file path=ppt/charts/_rels/chartEx22.xml.rels><?xml version="1.0" encoding="UTF-8" standalone="yes"?>
<Relationships xmlns="http://schemas.openxmlformats.org/package/2006/relationships"><Relationship Id="rId3" Type="http://schemas.microsoft.com/office/2011/relationships/chartColorStyle" Target="colors34.xml"/><Relationship Id="rId2" Type="http://schemas.microsoft.com/office/2011/relationships/chartStyle" Target="style34.xml"/><Relationship Id="rId1" Type="http://schemas.openxmlformats.org/officeDocument/2006/relationships/package" Target="../embeddings/Microsoft_Excel_Worksheet38.xlsx"/></Relationships>
</file>

<file path=ppt/charts/_rels/chartEx23.xml.rels><?xml version="1.0" encoding="UTF-8" standalone="yes"?>
<Relationships xmlns="http://schemas.openxmlformats.org/package/2006/relationships"><Relationship Id="rId3" Type="http://schemas.microsoft.com/office/2011/relationships/chartColorStyle" Target="colors35.xml"/><Relationship Id="rId2" Type="http://schemas.microsoft.com/office/2011/relationships/chartStyle" Target="style35.xml"/><Relationship Id="rId1" Type="http://schemas.openxmlformats.org/officeDocument/2006/relationships/package" Target="../embeddings/Microsoft_Excel_Worksheet39.xlsx"/></Relationships>
</file>

<file path=ppt/charts/_rels/chartEx3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Microsoft_Excel_Worksheet10.xlsx"/></Relationships>
</file>

<file path=ppt/charts/_rels/chartEx4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Microsoft_Excel_Worksheet12.xlsx"/></Relationships>
</file>

<file path=ppt/charts/_rels/chartEx5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Microsoft_Excel_Worksheet14.xlsx"/></Relationships>
</file>

<file path=ppt/charts/_rels/chartEx6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microsoft.com/office/2011/relationships/chartStyle" Target="style12.xml"/><Relationship Id="rId1" Type="http://schemas.openxmlformats.org/officeDocument/2006/relationships/package" Target="../embeddings/Microsoft_Excel_Worksheet16.xlsx"/></Relationships>
</file>

<file path=ppt/charts/_rels/chartEx7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microsoft.com/office/2011/relationships/chartStyle" Target="style14.xml"/><Relationship Id="rId1" Type="http://schemas.openxmlformats.org/officeDocument/2006/relationships/package" Target="../embeddings/Microsoft_Excel_Worksheet18.xlsx"/></Relationships>
</file>

<file path=ppt/charts/_rels/chartEx8.xml.rels><?xml version="1.0" encoding="UTF-8" standalone="yes"?>
<Relationships xmlns="http://schemas.openxmlformats.org/package/2006/relationships"><Relationship Id="rId3" Type="http://schemas.microsoft.com/office/2011/relationships/chartColorStyle" Target="colors16.xml"/><Relationship Id="rId2" Type="http://schemas.microsoft.com/office/2011/relationships/chartStyle" Target="style16.xml"/><Relationship Id="rId1" Type="http://schemas.openxmlformats.org/officeDocument/2006/relationships/package" Target="../embeddings/Microsoft_Excel_Worksheet20.xlsx"/></Relationships>
</file>

<file path=ppt/charts/_rels/chartEx9.xml.rels><?xml version="1.0" encoding="UTF-8" standalone="yes"?>
<Relationships xmlns="http://schemas.openxmlformats.org/package/2006/relationships"><Relationship Id="rId3" Type="http://schemas.microsoft.com/office/2011/relationships/chartColorStyle" Target="colors18.xml"/><Relationship Id="rId2" Type="http://schemas.microsoft.com/office/2011/relationships/chartStyle" Target="style18.xml"/><Relationship Id="rId1" Type="http://schemas.openxmlformats.org/officeDocument/2006/relationships/package" Target="../embeddings/Microsoft_Excel_Worksheet2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054598754122389E-2"/>
          <c:y val="0.10947368421052632"/>
          <c:w val="0.96189080249175518"/>
          <c:h val="0.781052631578947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4210526315789472E-3"/>
                </c:manualLayout>
              </c:layout>
              <c:numFmt formatCode="#,##0&quot;%&quot;;&quot;-&quot;#,##0&quot;%&quot;" sourceLinked="0"/>
              <c:spPr>
                <a:solidFill>
                  <a:srgbClr val="D6D7D9"/>
                </a:solidFill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12C-4B8D-B26D-7728CFF94924}"/>
                </c:ext>
              </c:extLst>
            </c:dLbl>
            <c:dLbl>
              <c:idx val="1"/>
              <c:layout>
                <c:manualLayout>
                  <c:x val="0"/>
                  <c:y val="-6.3157894736842104E-3"/>
                </c:manualLayout>
              </c:layout>
              <c:numFmt formatCode="#,##0&quot;%&quot;;&quot;-&quot;#,##0&quot;%&quot;" sourceLinked="0"/>
              <c:spPr>
                <a:solidFill>
                  <a:srgbClr val="D6D7D9"/>
                </a:solidFill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12C-4B8D-B26D-7728CFF94924}"/>
                </c:ext>
              </c:extLst>
            </c:dLbl>
            <c:dLbl>
              <c:idx val="2"/>
              <c:layout>
                <c:manualLayout>
                  <c:x val="0"/>
                  <c:y val="-8.4210526315789472E-3"/>
                </c:manualLayout>
              </c:layout>
              <c:numFmt formatCode="#,##0&quot;%&quot;;&quot;-&quot;#,##0&quot;%&quot;" sourceLinked="0"/>
              <c:spPr>
                <a:solidFill>
                  <a:srgbClr val="D6D7D9"/>
                </a:solidFill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12C-4B8D-B26D-7728CFF94924}"/>
                </c:ext>
              </c:extLst>
            </c:dLbl>
            <c:dLbl>
              <c:idx val="3"/>
              <c:layout>
                <c:manualLayout>
                  <c:x val="0"/>
                  <c:y val="-6.3157894736842104E-3"/>
                </c:manualLayout>
              </c:layout>
              <c:numFmt formatCode="#,##0&quot;%&quot;;&quot;-&quot;#,##0&quot;%&quot;" sourceLinked="0"/>
              <c:spPr>
                <a:solidFill>
                  <a:srgbClr val="D6D7D9"/>
                </a:solidFill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12C-4B8D-B26D-7728CFF94924}"/>
                </c:ext>
              </c:extLst>
            </c:dLbl>
            <c:spPr>
              <a:solidFill>
                <a:srgbClr val="D6D7D9"/>
              </a:solidFill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#,##0"%";"-"#,##0"%"</c:formatCode>
                <c:ptCount val="5"/>
                <c:pt idx="0">
                  <c:v>96</c:v>
                </c:pt>
                <c:pt idx="1">
                  <c:v>73</c:v>
                </c:pt>
                <c:pt idx="2">
                  <c:v>100</c:v>
                </c:pt>
                <c:pt idx="3">
                  <c:v>12</c:v>
                </c:pt>
                <c:pt idx="4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12C-4B8D-B26D-7728CFF949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2012273136"/>
        <c:axId val="1"/>
      </c:barChart>
      <c:catAx>
        <c:axId val="20122731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#,##0&quot;%&quot;;&quot;-&quot;#,##0&quot;%&quot;" sourceLinked="1"/>
        <c:majorTickMark val="out"/>
        <c:minorTickMark val="none"/>
        <c:tickLblPos val="nextTo"/>
        <c:crossAx val="20122731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88-4400-8528-297FD05BF1E8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888-4400-8528-297FD05BF1E8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0.37</c:v>
                </c:pt>
                <c:pt idx="1">
                  <c:v>39.63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88-4400-8528-297FD05BF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88-4400-8528-297FD05BF1E8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888-4400-8528-297FD05BF1E8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 formatCode="_(* #,##0.00_);_(* \(#,##0.00\);_(* &quot;-&quot;??_);_(@_)">
                  <c:v>70.070931947754687</c:v>
                </c:pt>
                <c:pt idx="1">
                  <c:v>29.9290680522453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88-4400-8528-297FD05BF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88-4400-8528-297FD05BF1E8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888-4400-8528-297FD05BF1E8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 formatCode="_(* #,##0.00_);_(* \(#,##0.00\);_(* &quot;-&quot;??_);_(@_)">
                  <c:v>56.624649859943972</c:v>
                </c:pt>
                <c:pt idx="1">
                  <c:v>43.3753501400560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88-4400-8528-297FD05BF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88-4400-8528-297FD05BF1E8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888-4400-8528-297FD05BF1E8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 formatCode="_(* #,##0.00_);_(* \(#,##0.00\);_(* &quot;-&quot;??_);_(@_)">
                  <c:v>79.3055555555555</c:v>
                </c:pt>
                <c:pt idx="1">
                  <c:v>20.69444444444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88-4400-8528-297FD05BF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88-4400-8528-297FD05BF1E8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888-4400-8528-297FD05BF1E8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88-4400-8528-297FD05BF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88-4400-8528-297FD05BF1E8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888-4400-8528-297FD05BF1E8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 formatCode="_(* #,##0.00_);_(* \(#,##0.00\);_(* &quot;-&quot;??_);_(@_)">
                  <c:v>97.297297297297291</c:v>
                </c:pt>
                <c:pt idx="1">
                  <c:v>2.70270270270270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88-4400-8528-297FD05BF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88-4400-8528-297FD05BF1E8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888-4400-8528-297FD05BF1E8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0.290000000000006</c:v>
                </c:pt>
                <c:pt idx="1">
                  <c:v>29.70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88-4400-8528-297FD05BF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779855733156033"/>
          <c:y val="0"/>
          <c:w val="0.60908679468162497"/>
          <c:h val="0.92682487366571553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spPr>
            <a:solidFill>
              <a:srgbClr val="2E4DF9"/>
            </a:solidFill>
            <a:ln>
              <a:noFill/>
            </a:ln>
            <a:effectLst/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fld id="{7D5BAE6E-5020-4E17-8631-F4F1B1F2ECF8}" type="VALUE">
                      <a:rPr lang="en-US">
                        <a:solidFill>
                          <a:schemeClr val="bg1">
                            <a:lumMod val="65000"/>
                          </a:schemeClr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9ECC-4DA1-BAE6-69181186E3CC}"/>
                </c:ext>
              </c:extLst>
            </c:dLbl>
            <c:numFmt formatCode="#,##0" sourceLinked="0"/>
            <c:spPr>
              <a:solidFill>
                <a:srgbClr val="2E4DF9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Health worker
recruitment</c:v>
                </c:pt>
                <c:pt idx="1">
                  <c:v>Appropriate testing</c:v>
                </c:pt>
                <c:pt idx="2">
                  <c:v>Availability
of oxygen</c:v>
                </c:pt>
                <c:pt idx="3">
                  <c:v>Availability
of guidelines</c:v>
                </c:pt>
                <c:pt idx="4">
                  <c:v>Community Led
Monitoring</c:v>
                </c:pt>
                <c:pt idx="5">
                  <c:v>CHW renumeration</c:v>
                </c:pt>
                <c:pt idx="6">
                  <c:v>Facility Composite
Score</c:v>
                </c:pt>
                <c:pt idx="7">
                  <c:v>System readiness 
for CHWs</c:v>
                </c:pt>
                <c:pt idx="8">
                  <c:v>Intergated HTM 
with ANC</c:v>
                </c:pt>
                <c:pt idx="9">
                  <c:v>Integrated Supp. 
Supervision</c:v>
                </c:pt>
                <c:pt idx="10">
                  <c:v>High Quality Services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70.287259442556874</c:v>
                </c:pt>
                <c:pt idx="1">
                  <c:v>2.5</c:v>
                </c:pt>
                <c:pt idx="2">
                  <c:v>97.297297297297291</c:v>
                </c:pt>
                <c:pt idx="3">
                  <c:v>100</c:v>
                </c:pt>
                <c:pt idx="4">
                  <c:v>79.3055555555555</c:v>
                </c:pt>
                <c:pt idx="5">
                  <c:v>56.624649859943972</c:v>
                </c:pt>
                <c:pt idx="6">
                  <c:v>70.070931947754687</c:v>
                </c:pt>
                <c:pt idx="7">
                  <c:v>60.371148459383747</c:v>
                </c:pt>
                <c:pt idx="8">
                  <c:v>62.796610169491565</c:v>
                </c:pt>
                <c:pt idx="9">
                  <c:v>87.430555555555586</c:v>
                </c:pt>
                <c:pt idx="10" formatCode="0.00">
                  <c:v>58.4773365277442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CC-4DA1-BAE6-69181186E3C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est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12</c:f>
              <c:strCache>
                <c:ptCount val="11"/>
                <c:pt idx="0">
                  <c:v>Health worker
recruitment</c:v>
                </c:pt>
                <c:pt idx="1">
                  <c:v>Appropriate testing</c:v>
                </c:pt>
                <c:pt idx="2">
                  <c:v>Availability
of oxygen</c:v>
                </c:pt>
                <c:pt idx="3">
                  <c:v>Availability
of guidelines</c:v>
                </c:pt>
                <c:pt idx="4">
                  <c:v>Community Led
Monitoring</c:v>
                </c:pt>
                <c:pt idx="5">
                  <c:v>CHW renumeration</c:v>
                </c:pt>
                <c:pt idx="6">
                  <c:v>Facility Composite
Score</c:v>
                </c:pt>
                <c:pt idx="7">
                  <c:v>System readiness 
for CHWs</c:v>
                </c:pt>
                <c:pt idx="8">
                  <c:v>Intergated HTM 
with ANC</c:v>
                </c:pt>
                <c:pt idx="9">
                  <c:v>Integrated Supp. 
Supervision</c:v>
                </c:pt>
                <c:pt idx="10">
                  <c:v>High Quality Services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29.712740557443126</c:v>
                </c:pt>
                <c:pt idx="1">
                  <c:v>97.5</c:v>
                </c:pt>
                <c:pt idx="2">
                  <c:v>2.7027027027027088</c:v>
                </c:pt>
                <c:pt idx="3">
                  <c:v>0</c:v>
                </c:pt>
                <c:pt idx="4">
                  <c:v>20.6944444444445</c:v>
                </c:pt>
                <c:pt idx="5">
                  <c:v>43.375350140056028</c:v>
                </c:pt>
                <c:pt idx="6">
                  <c:v>29.929068052245313</c:v>
                </c:pt>
                <c:pt idx="7">
                  <c:v>39.628851540616253</c:v>
                </c:pt>
                <c:pt idx="8">
                  <c:v>37.203389830508435</c:v>
                </c:pt>
                <c:pt idx="9">
                  <c:v>12.569444444444414</c:v>
                </c:pt>
                <c:pt idx="10">
                  <c:v>41.5226634722557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CC-4DA1-BAE6-69181186E3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3"/>
        <c:overlap val="100"/>
        <c:axId val="4968479"/>
        <c:axId val="4954335"/>
      </c:barChart>
      <c:catAx>
        <c:axId val="496847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54335"/>
        <c:crosses val="autoZero"/>
        <c:auto val="1"/>
        <c:lblAlgn val="ctr"/>
        <c:lblOffset val="100"/>
        <c:noMultiLvlLbl val="0"/>
      </c:catAx>
      <c:valAx>
        <c:axId val="4954335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49684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28B0-4600-88A6-0A4D2270C127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8B0-4600-88A6-0A4D2270C127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9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B0-4600-88A6-0A4D2270C1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054598754122389E-2"/>
          <c:y val="0.10655737704918032"/>
          <c:w val="0.96189080249175518"/>
          <c:h val="0.786885245901639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2.9314763930745275E-3"/>
                  <c:y val="-7.513574404733110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E7A-4464-A146-4F96A6B80DF8}"/>
                </c:ext>
              </c:extLst>
            </c:dLbl>
            <c:spPr>
              <a:solidFill>
                <a:srgbClr val="D6D7D9"/>
              </a:solidFill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1:$E$1</c:f>
              <c:numCache>
                <c:formatCode>#,##0"%";"-"#,##0"%"</c:formatCode>
                <c:ptCount val="5"/>
                <c:pt idx="0">
                  <c:v>85</c:v>
                </c:pt>
                <c:pt idx="1">
                  <c:v>38</c:v>
                </c:pt>
                <c:pt idx="2">
                  <c:v>100</c:v>
                </c:pt>
                <c:pt idx="3">
                  <c:v>15</c:v>
                </c:pt>
                <c:pt idx="4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E7A-4464-A146-4F96A6B80DF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100"/>
        <c:axId val="2012043864"/>
        <c:axId val="1"/>
      </c:barChart>
      <c:catAx>
        <c:axId val="20120438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#,##0&quot;%&quot;;&quot;-&quot;#,##0&quot;%&quot;" sourceLinked="1"/>
        <c:majorTickMark val="out"/>
        <c:minorTickMark val="none"/>
        <c:tickLblPos val="nextTo"/>
        <c:crossAx val="2012043864"/>
        <c:crosses val="min"/>
        <c:crossBetween val="between"/>
      </c:valAx>
    </c:plotArea>
    <c:plotVisOnly val="0"/>
    <c:dispBlanksAs val="gap"/>
    <c:showDLblsOverMax val="1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28B0-4600-88A6-0A4D2270C127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8B0-4600-88A6-0A4D2270C127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9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B0-4600-88A6-0A4D2270C1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28B0-4600-88A6-0A4D2270C127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8B0-4600-88A6-0A4D2270C127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9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B0-4600-88A6-0A4D2270C1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2E4DF9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27-422E-BC8C-71696D431E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B3092E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27-422E-BC8C-71696D431E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87763360"/>
        <c:axId val="287765440"/>
      </c:barChart>
      <c:catAx>
        <c:axId val="28776336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87765440"/>
        <c:crosses val="autoZero"/>
        <c:auto val="1"/>
        <c:lblAlgn val="ctr"/>
        <c:lblOffset val="100"/>
        <c:noMultiLvlLbl val="0"/>
      </c:catAx>
      <c:valAx>
        <c:axId val="28776544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87763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3240756267850632E-2"/>
          <c:y val="9.7029117069762333E-2"/>
          <c:w val="0.95351848746429879"/>
          <c:h val="0.63168082485550137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2E4DF9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27-422E-BC8C-71696D431E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B3092E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27-422E-BC8C-71696D431E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87763360"/>
        <c:axId val="287765440"/>
      </c:barChart>
      <c:catAx>
        <c:axId val="287763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7765440"/>
        <c:crosses val="autoZero"/>
        <c:auto val="1"/>
        <c:lblAlgn val="ctr"/>
        <c:lblOffset val="100"/>
        <c:noMultiLvlLbl val="0"/>
      </c:catAx>
      <c:valAx>
        <c:axId val="28776544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87763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2E4DF9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27-422E-BC8C-71696D431E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B3092E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27-422E-BC8C-71696D431E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87763360"/>
        <c:axId val="287765440"/>
      </c:barChart>
      <c:catAx>
        <c:axId val="28776336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87765440"/>
        <c:crosses val="autoZero"/>
        <c:auto val="1"/>
        <c:lblAlgn val="ctr"/>
        <c:lblOffset val="100"/>
        <c:noMultiLvlLbl val="0"/>
      </c:catAx>
      <c:valAx>
        <c:axId val="28776544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87763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054598754122389E-2"/>
          <c:y val="0.10947368421052632"/>
          <c:w val="0.96189080249175518"/>
          <c:h val="0.781052631578947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421052631578947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C8E-461E-92EB-8F04B72AF730}"/>
                </c:ext>
              </c:extLst>
            </c:dLbl>
            <c:dLbl>
              <c:idx val="1"/>
              <c:layout>
                <c:manualLayout>
                  <c:x val="0"/>
                  <c:y val="-6.3157894736842104E-3"/>
                </c:manualLayout>
              </c:layout>
              <c:numFmt formatCode="#,##0&quot;%&quot;;&quot;-&quot;#,##0&quot;%&quot;" sourceLinked="0"/>
              <c:spPr>
                <a:solidFill>
                  <a:srgbClr val="D6D7D9"/>
                </a:solidFill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C8E-461E-92EB-8F04B72AF730}"/>
                </c:ext>
              </c:extLst>
            </c:dLbl>
            <c:dLbl>
              <c:idx val="2"/>
              <c:layout>
                <c:manualLayout>
                  <c:x val="0"/>
                  <c:y val="-8.421052631578947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C8E-461E-92EB-8F04B72AF730}"/>
                </c:ext>
              </c:extLst>
            </c:dLbl>
            <c:dLbl>
              <c:idx val="3"/>
              <c:layout>
                <c:manualLayout>
                  <c:x val="0"/>
                  <c:y val="-6.315789473684210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C8E-461E-92EB-8F04B72AF73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#,##0"%";"-"#,##0"%"</c:formatCode>
                <c:ptCount val="5"/>
                <c:pt idx="0">
                  <c:v>92</c:v>
                </c:pt>
                <c:pt idx="1">
                  <c:v>8</c:v>
                </c:pt>
                <c:pt idx="2">
                  <c:v>100</c:v>
                </c:pt>
                <c:pt idx="4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C8E-461E-92EB-8F04B72AF7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2012273136"/>
        <c:axId val="1"/>
      </c:barChart>
      <c:catAx>
        <c:axId val="20122731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#,##0&quot;%&quot;;&quot;-&quot;#,##0&quot;%&quot;" sourceLinked="1"/>
        <c:majorTickMark val="out"/>
        <c:minorTickMark val="none"/>
        <c:tickLblPos val="nextTo"/>
        <c:crossAx val="2012273136"/>
        <c:crosses val="min"/>
        <c:crossBetween val="between"/>
      </c:valAx>
    </c:plotArea>
    <c:plotVisOnly val="0"/>
    <c:dispBlanksAs val="gap"/>
    <c:showDLblsOverMax val="1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054598754122389E-2"/>
          <c:y val="0.10947368421052632"/>
          <c:w val="0.96189080249175518"/>
          <c:h val="0.781052631578947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4210526315789472E-3"/>
                </c:manualLayout>
              </c:layout>
              <c:numFmt formatCode="#,##0&quot;%&quot;;&quot;-&quot;#,##0&quot;%&quot;" sourceLinked="0"/>
              <c:spPr>
                <a:solidFill>
                  <a:srgbClr val="D6D7D9"/>
                </a:solidFill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12C-4B8D-B26D-7728CFF94924}"/>
                </c:ext>
              </c:extLst>
            </c:dLbl>
            <c:dLbl>
              <c:idx val="1"/>
              <c:layout>
                <c:manualLayout>
                  <c:x val="0"/>
                  <c:y val="-6.3157894736842104E-3"/>
                </c:manualLayout>
              </c:layout>
              <c:numFmt formatCode="#,##0&quot;%&quot;;&quot;-&quot;#,##0&quot;%&quot;" sourceLinked="0"/>
              <c:spPr>
                <a:solidFill>
                  <a:srgbClr val="D6D7D9"/>
                </a:solidFill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12C-4B8D-B26D-7728CFF94924}"/>
                </c:ext>
              </c:extLst>
            </c:dLbl>
            <c:dLbl>
              <c:idx val="2"/>
              <c:layout>
                <c:manualLayout>
                  <c:x val="0"/>
                  <c:y val="-8.4210526315789472E-3"/>
                </c:manualLayout>
              </c:layout>
              <c:numFmt formatCode="#,##0&quot;%&quot;;&quot;-&quot;#,##0&quot;%&quot;" sourceLinked="0"/>
              <c:spPr>
                <a:solidFill>
                  <a:srgbClr val="D6D7D9"/>
                </a:solidFill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12C-4B8D-B26D-7728CFF94924}"/>
                </c:ext>
              </c:extLst>
            </c:dLbl>
            <c:dLbl>
              <c:idx val="3"/>
              <c:layout>
                <c:manualLayout>
                  <c:x val="0"/>
                  <c:y val="-6.3157894736842104E-3"/>
                </c:manualLayout>
              </c:layout>
              <c:numFmt formatCode="#,##0&quot;%&quot;;&quot;-&quot;#,##0&quot;%&quot;" sourceLinked="0"/>
              <c:spPr>
                <a:solidFill>
                  <a:srgbClr val="D6D7D9"/>
                </a:solidFill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12C-4B8D-B26D-7728CFF94924}"/>
                </c:ext>
              </c:extLst>
            </c:dLbl>
            <c:spPr>
              <a:solidFill>
                <a:srgbClr val="D6D7D9"/>
              </a:solidFill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#,##0"%";"-"#,##0"%"</c:formatCode>
                <c:ptCount val="5"/>
                <c:pt idx="0">
                  <c:v>96</c:v>
                </c:pt>
                <c:pt idx="1">
                  <c:v>73</c:v>
                </c:pt>
                <c:pt idx="2">
                  <c:v>100</c:v>
                </c:pt>
                <c:pt idx="3">
                  <c:v>12</c:v>
                </c:pt>
                <c:pt idx="4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12C-4B8D-B26D-7728CFF949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2012273136"/>
        <c:axId val="1"/>
      </c:barChart>
      <c:catAx>
        <c:axId val="20122731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#,##0&quot;%&quot;;&quot;-&quot;#,##0&quot;%&quot;" sourceLinked="1"/>
        <c:majorTickMark val="out"/>
        <c:minorTickMark val="none"/>
        <c:tickLblPos val="nextTo"/>
        <c:crossAx val="20122731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054598754122389E-2"/>
          <c:y val="0.10655737704918032"/>
          <c:w val="0.96189080249175518"/>
          <c:h val="0.786885245901639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2.9314763930745275E-3"/>
                  <c:y val="-7.513574404733110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E7A-4464-A146-4F96A6B80DF8}"/>
                </c:ext>
              </c:extLst>
            </c:dLbl>
            <c:spPr>
              <a:solidFill>
                <a:srgbClr val="D6D7D9"/>
              </a:solidFill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1:$E$1</c:f>
              <c:numCache>
                <c:formatCode>#,##0"%";"-"#,##0"%"</c:formatCode>
                <c:ptCount val="5"/>
                <c:pt idx="0">
                  <c:v>85</c:v>
                </c:pt>
                <c:pt idx="1">
                  <c:v>38</c:v>
                </c:pt>
                <c:pt idx="2">
                  <c:v>100</c:v>
                </c:pt>
                <c:pt idx="3">
                  <c:v>15</c:v>
                </c:pt>
                <c:pt idx="4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E7A-4464-A146-4F96A6B80DF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100"/>
        <c:axId val="2012043864"/>
        <c:axId val="1"/>
      </c:barChart>
      <c:catAx>
        <c:axId val="20120438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#,##0&quot;%&quot;;&quot;-&quot;#,##0&quot;%&quot;" sourceLinked="1"/>
        <c:majorTickMark val="out"/>
        <c:minorTickMark val="none"/>
        <c:tickLblPos val="nextTo"/>
        <c:crossAx val="2012043864"/>
        <c:crosses val="min"/>
        <c:crossBetween val="between"/>
      </c:valAx>
    </c:plotArea>
    <c:plotVisOnly val="0"/>
    <c:dispBlanksAs val="gap"/>
    <c:showDLblsOverMax val="1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054598754122389E-2"/>
          <c:y val="0.10947368421052632"/>
          <c:w val="0.96189080249175518"/>
          <c:h val="0.781052631578947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421052631578947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C8E-461E-92EB-8F04B72AF730}"/>
                </c:ext>
              </c:extLst>
            </c:dLbl>
            <c:dLbl>
              <c:idx val="1"/>
              <c:layout>
                <c:manualLayout>
                  <c:x val="0"/>
                  <c:y val="-6.3157894736842104E-3"/>
                </c:manualLayout>
              </c:layout>
              <c:numFmt formatCode="#,##0&quot;%&quot;;&quot;-&quot;#,##0&quot;%&quot;" sourceLinked="0"/>
              <c:spPr>
                <a:solidFill>
                  <a:srgbClr val="D6D7D9"/>
                </a:solidFill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C8E-461E-92EB-8F04B72AF730}"/>
                </c:ext>
              </c:extLst>
            </c:dLbl>
            <c:dLbl>
              <c:idx val="2"/>
              <c:layout>
                <c:manualLayout>
                  <c:x val="0"/>
                  <c:y val="-8.421052631578947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C8E-461E-92EB-8F04B72AF730}"/>
                </c:ext>
              </c:extLst>
            </c:dLbl>
            <c:dLbl>
              <c:idx val="3"/>
              <c:layout>
                <c:manualLayout>
                  <c:x val="0"/>
                  <c:y val="-6.315789473684210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C8E-461E-92EB-8F04B72AF73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#,##0"%";"-"#,##0"%"</c:formatCode>
                <c:ptCount val="5"/>
                <c:pt idx="0">
                  <c:v>92</c:v>
                </c:pt>
                <c:pt idx="1">
                  <c:v>8</c:v>
                </c:pt>
                <c:pt idx="2">
                  <c:v>100</c:v>
                </c:pt>
                <c:pt idx="4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C8E-461E-92EB-8F04B72AF7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2012273136"/>
        <c:axId val="1"/>
      </c:barChart>
      <c:catAx>
        <c:axId val="20122731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#,##0&quot;%&quot;;&quot;-&quot;#,##0&quot;%&quot;" sourceLinked="1"/>
        <c:majorTickMark val="out"/>
        <c:minorTickMark val="none"/>
        <c:tickLblPos val="nextTo"/>
        <c:crossAx val="2012273136"/>
        <c:crosses val="min"/>
        <c:crossBetween val="between"/>
      </c:valAx>
    </c:plotArea>
    <c:plotVisOnly val="0"/>
    <c:dispBlanksAs val="gap"/>
    <c:showDLblsOverMax val="1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88-4400-8528-297FD05BF1E8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888-4400-8528-297FD05BF1E8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8.48</c:v>
                </c:pt>
                <c:pt idx="1">
                  <c:v>41.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88-4400-8528-297FD05BF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88-4400-8528-297FD05BF1E8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888-4400-8528-297FD05BF1E8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7.43</c:v>
                </c:pt>
                <c:pt idx="1">
                  <c:v>12.56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88-4400-8528-297FD05BF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88-4400-8528-297FD05BF1E8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888-4400-8528-297FD05BF1E8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2.8</c:v>
                </c:pt>
                <c:pt idx="1">
                  <c:v>37.2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88-4400-8528-297FD05BF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_-* #,##0.00_-;\-* #,##0.00_-;_-* &quot;-&quot;??_-;_-@_-">
          <cx:pt idx="0">56.6456228956228</cx:pt>
          <cx:pt idx="1">44.126262626262601</cx:pt>
          <cx:pt idx="2">85</cx:pt>
          <cx:pt idx="3">59.8333333333333</cx:pt>
          <cx:pt idx="4">46.818181818181799</cx:pt>
          <cx:pt idx="5">60.440476190476097</cx:pt>
          <cx:pt idx="6">44.570707070707002</cx:pt>
          <cx:pt idx="7">79.1666666666666</cx:pt>
          <cx:pt idx="8">52.42063492063490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Gridlines>
          <cx:spPr>
            <a:ln>
              <a:solidFill>
                <a:schemeClr val="bg1"/>
              </a:solidFill>
            </a:ln>
          </cx:spPr>
        </cx:majorGridlines>
        <cx:majorTickMarks type="cross"/>
        <cx:tickLabels/>
        <cx:numFmt formatCode="General" sourceLinked="0"/>
      </cx:axis>
    </cx:plotArea>
  </cx:chart>
</cx:chartSpace>
</file>

<file path=ppt/charts/chartEx10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52.662721893491103</cx:pt>
          <cx:pt idx="1">58.646616541353303</cx:pt>
          <cx:pt idx="2">82.142857142857096</cx:pt>
          <cx:pt idx="4">100</cx:pt>
          <cx:pt idx="5">66.326530612244895</cx:pt>
          <cx:pt idx="8">94.33962264150939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Gridlines>
          <cx:spPr>
            <a:ln>
              <a:solidFill>
                <a:schemeClr val="bg1"/>
              </a:solidFill>
            </a:ln>
          </cx:spPr>
        </cx:majorGridlines>
        <cx:majorTickMarks type="cross"/>
        <cx:tickLabels/>
      </cx:axis>
    </cx:plotArea>
  </cx:chart>
</cx:chartSpace>
</file>

<file path=ppt/charts/chartEx1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52.662721893491103</cx:pt>
          <cx:pt idx="1">58.646616541353303</cx:pt>
          <cx:pt idx="2">82.142857142857096</cx:pt>
          <cx:pt idx="4">100</cx:pt>
          <cx:pt idx="5">66.326530612244895</cx:pt>
          <cx:pt idx="8">94.33962264150939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TickMarks type="cross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"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defRPr>
            </a:pPr>
            <a:endParaRPr lang="en-US" sz="100" b="0" i="0" u="none" strike="noStrike" baseline="0">
              <a:solidFill>
                <a:prstClr val="black">
                  <a:lumMod val="65000"/>
                  <a:lumOff val="35000"/>
                  <a:alpha val="0"/>
                </a:prstClr>
              </a:solidFill>
              <a:latin typeface="Arial"/>
            </a:endParaRPr>
          </a:p>
        </cx:txPr>
      </cx:axis>
    </cx:plotArea>
  </cx:chart>
</cx:chartSpace>
</file>

<file path=ppt/charts/chartEx1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52.662721893491103</cx:pt>
          <cx:pt idx="1">58.646616541353303</cx:pt>
          <cx:pt idx="2">82.142857142857096</cx:pt>
          <cx:pt idx="4">100</cx:pt>
          <cx:pt idx="5">66.326530612244895</cx:pt>
          <cx:pt idx="8">94.33962264150939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TickMarks type="cross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"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defRPr>
            </a:pPr>
            <a:endParaRPr lang="en-US" sz="100" b="0" i="0" u="none" strike="noStrike" baseline="0">
              <a:solidFill>
                <a:prstClr val="black">
                  <a:lumMod val="65000"/>
                  <a:lumOff val="35000"/>
                  <a:alpha val="0"/>
                </a:prstClr>
              </a:solidFill>
              <a:latin typeface="Arial"/>
            </a:endParaRPr>
          </a:p>
        </cx:txPr>
      </cx:axis>
    </cx:plotArea>
  </cx:chart>
</cx:chartSpace>
</file>

<file path=ppt/charts/chartEx1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52.662721893491103</cx:pt>
          <cx:pt idx="1">58.646616541353303</cx:pt>
          <cx:pt idx="2">82.142857142857096</cx:pt>
          <cx:pt idx="4">100</cx:pt>
          <cx:pt idx="5">66.326530612244895</cx:pt>
          <cx:pt idx="8">94.33962264150939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TickMarks type="cross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"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defRPr>
            </a:pPr>
            <a:endParaRPr lang="en-US" sz="100" b="0" i="0" u="none" strike="noStrike" baseline="0">
              <a:solidFill>
                <a:prstClr val="black">
                  <a:lumMod val="65000"/>
                  <a:lumOff val="35000"/>
                  <a:alpha val="0"/>
                </a:prstClr>
              </a:solidFill>
              <a:latin typeface="Arial"/>
            </a:endParaRPr>
          </a:p>
        </cx:txPr>
      </cx:axis>
    </cx:plotArea>
  </cx:chart>
</cx:chartSpace>
</file>

<file path=ppt/charts/chartEx14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52.662721893491103</cx:pt>
          <cx:pt idx="1">58.646616541353303</cx:pt>
          <cx:pt idx="2">82.142857142857096</cx:pt>
          <cx:pt idx="4">100</cx:pt>
          <cx:pt idx="5">66.326530612244895</cx:pt>
          <cx:pt idx="8">94.33962264150939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TickMarks type="cross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"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defRPr>
            </a:pPr>
            <a:endParaRPr lang="en-US" sz="100" b="0" i="0" u="none" strike="noStrike" baseline="0">
              <a:solidFill>
                <a:prstClr val="black">
                  <a:lumMod val="65000"/>
                  <a:lumOff val="35000"/>
                  <a:alpha val="0"/>
                </a:prstClr>
              </a:solidFill>
              <a:latin typeface="Arial"/>
            </a:endParaRPr>
          </a:p>
        </cx:txPr>
      </cx:axis>
    </cx:plotArea>
  </cx:chart>
</cx:chartSpace>
</file>

<file path=ppt/charts/chartEx15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52.662721893491103</cx:pt>
          <cx:pt idx="1">58.646616541353303</cx:pt>
          <cx:pt idx="2">82.142857142857096</cx:pt>
          <cx:pt idx="4">100</cx:pt>
          <cx:pt idx="5">66.326530612244895</cx:pt>
          <cx:pt idx="8">94.33962264150939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TickMarks type="cross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"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defRPr>
            </a:pPr>
            <a:endParaRPr lang="en-US" sz="100" b="0" i="0" u="none" strike="noStrike" baseline="0">
              <a:solidFill>
                <a:prstClr val="black">
                  <a:lumMod val="65000"/>
                  <a:lumOff val="35000"/>
                  <a:alpha val="0"/>
                </a:prstClr>
              </a:solidFill>
              <a:latin typeface="Arial"/>
            </a:endParaRPr>
          </a:p>
        </cx:txPr>
      </cx:axis>
    </cx:plotArea>
  </cx:chart>
</cx:chartSpace>
</file>

<file path=ppt/charts/chartEx16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25</cx:pt>
          <cx:pt idx="1">80</cx:pt>
          <cx:pt idx="2">100</cx:pt>
          <cx:pt idx="3">100</cx:pt>
          <cx:pt idx="4">80</cx:pt>
          <cx:pt idx="5">100</cx:pt>
          <cx:pt idx="6">0</cx:pt>
          <cx:pt idx="7">33.333333330000002</cx:pt>
          <cx:pt idx="8">20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TickMarks type="cross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"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defRPr>
            </a:pPr>
            <a:endParaRPr lang="en-US" sz="100" b="0" i="0" u="none" strike="noStrike" baseline="0">
              <a:solidFill>
                <a:prstClr val="black">
                  <a:lumMod val="65000"/>
                  <a:lumOff val="35000"/>
                  <a:alpha val="0"/>
                </a:prstClr>
              </a:solidFill>
              <a:latin typeface="Arial"/>
            </a:endParaRPr>
          </a:p>
        </cx:txPr>
      </cx:axis>
    </cx:plotArea>
  </cx:chart>
</cx:chartSpace>
</file>

<file path=ppt/charts/chartEx17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52.662721893491103</cx:pt>
          <cx:pt idx="1">58.646616541353303</cx:pt>
          <cx:pt idx="2">82.142857142857096</cx:pt>
          <cx:pt idx="4">100</cx:pt>
          <cx:pt idx="5">66.326530612244895</cx:pt>
          <cx:pt idx="8">94.33962264150939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TickMarks type="cross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"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defRPr>
            </a:pPr>
            <a:endParaRPr lang="en-US" sz="100" b="0" i="0" u="none" strike="noStrike" baseline="0">
              <a:solidFill>
                <a:prstClr val="black">
                  <a:lumMod val="65000"/>
                  <a:lumOff val="35000"/>
                  <a:alpha val="0"/>
                </a:prstClr>
              </a:solidFill>
              <a:latin typeface="Arial"/>
            </a:endParaRPr>
          </a:p>
        </cx:txPr>
      </cx:axis>
    </cx:plotArea>
  </cx:chart>
</cx:chartSpace>
</file>

<file path=ppt/charts/chartEx18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52.662721893491103</cx:pt>
          <cx:pt idx="1">58.646616541353303</cx:pt>
          <cx:pt idx="2">82.142857142857096</cx:pt>
          <cx:pt idx="4">100</cx:pt>
          <cx:pt idx="5">66.326530612244895</cx:pt>
          <cx:pt idx="8">94.33962264150939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TickMarks type="cross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"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defRPr>
            </a:pPr>
            <a:endParaRPr lang="en-US" sz="100" b="0" i="0" u="none" strike="noStrike" baseline="0">
              <a:solidFill>
                <a:prstClr val="black">
                  <a:lumMod val="65000"/>
                  <a:lumOff val="35000"/>
                  <a:alpha val="0"/>
                </a:prstClr>
              </a:solidFill>
              <a:latin typeface="Arial"/>
            </a:endParaRPr>
          </a:p>
        </cx:txPr>
      </cx:axis>
    </cx:plotArea>
  </cx:chart>
</cx:chartSpace>
</file>

<file path=ppt/charts/chartEx19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52.662721893491103</cx:pt>
          <cx:pt idx="1">58.646616541353303</cx:pt>
          <cx:pt idx="2">82.142857142857096</cx:pt>
          <cx:pt idx="4">100</cx:pt>
          <cx:pt idx="5">66.326530612244895</cx:pt>
          <cx:pt idx="8">94.33962264150939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TickMarks type="cross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"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defRPr>
            </a:pPr>
            <a:endParaRPr lang="en-US" sz="100" b="0" i="0" u="none" strike="noStrike" baseline="0">
              <a:solidFill>
                <a:prstClr val="black">
                  <a:lumMod val="65000"/>
                  <a:lumOff val="35000"/>
                  <a:alpha val="0"/>
                </a:prstClr>
              </a:solidFill>
              <a:latin typeface="Arial"/>
            </a:endParaRPr>
          </a:p>
        </cx:txPr>
      </cx:axis>
    </cx:plotArea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_-* #,##0.00_-;\-* #,##0.00_-;_-* &quot;-&quot;??_-;_-@_-">
          <cx:pt idx="0">100</cx:pt>
          <cx:pt idx="1">66.6666666666666</cx:pt>
          <cx:pt idx="2">100</cx:pt>
          <cx:pt idx="3">100</cx:pt>
          <cx:pt idx="4">100</cx:pt>
          <cx:pt idx="5">100</cx:pt>
          <cx:pt idx="6">100</cx:pt>
          <cx:pt idx="7">75</cx:pt>
          <cx:pt idx="8">75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Gridlines>
          <cx:spPr>
            <a:ln>
              <a:solidFill>
                <a:schemeClr val="bg1"/>
              </a:solidFill>
            </a:ln>
          </cx:spPr>
        </cx:majorGridlines>
        <cx:majorTickMarks type="cross"/>
        <cx:tickLabels/>
        <cx:numFmt formatCode="General" sourceLinked="0"/>
      </cx:axis>
    </cx:plotArea>
  </cx:chart>
</cx:chartSpace>
</file>

<file path=ppt/charts/chartEx20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52.662721893491103</cx:pt>
          <cx:pt idx="1">58.646616541353303</cx:pt>
          <cx:pt idx="2">82.142857142857096</cx:pt>
          <cx:pt idx="4">100</cx:pt>
          <cx:pt idx="5">66.326530612244895</cx:pt>
          <cx:pt idx="8">94.33962264150939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TickMarks type="cross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"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defRPr>
            </a:pPr>
            <a:endParaRPr lang="en-US" sz="100" b="0" i="0" u="none" strike="noStrike" baseline="0">
              <a:solidFill>
                <a:prstClr val="black">
                  <a:lumMod val="65000"/>
                  <a:lumOff val="35000"/>
                  <a:alpha val="0"/>
                </a:prstClr>
              </a:solidFill>
              <a:latin typeface="Arial"/>
            </a:endParaRPr>
          </a:p>
        </cx:txPr>
      </cx:axis>
    </cx:plotArea>
  </cx:chart>
</cx:chartSpace>
</file>

<file path=ppt/charts/chartEx2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52.662721893491103</cx:pt>
          <cx:pt idx="1">58.646616541353303</cx:pt>
          <cx:pt idx="2">82.142857142857096</cx:pt>
          <cx:pt idx="4">100</cx:pt>
          <cx:pt idx="5">66.326530612244895</cx:pt>
          <cx:pt idx="8">94.33962264150939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TickMarks type="cross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"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defRPr>
            </a:pPr>
            <a:endParaRPr lang="en-US" sz="100" b="0" i="0" u="none" strike="noStrike" baseline="0">
              <a:solidFill>
                <a:prstClr val="black">
                  <a:lumMod val="65000"/>
                  <a:lumOff val="35000"/>
                  <a:alpha val="0"/>
                </a:prstClr>
              </a:solidFill>
              <a:latin typeface="Arial"/>
            </a:endParaRPr>
          </a:p>
        </cx:txPr>
      </cx:axis>
    </cx:plotArea>
  </cx:chart>
</cx:chartSpace>
</file>

<file path=ppt/charts/chartEx2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48</cx:f>
        <cx:lvl ptCount="47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  <cx:pt idx="9">Category 2</cx:pt>
          <cx:pt idx="10">Category 2</cx:pt>
          <cx:pt idx="11">Category 2</cx:pt>
          <cx:pt idx="12">Category 2</cx:pt>
          <cx:pt idx="13">Category 2</cx:pt>
          <cx:pt idx="14">Category 2</cx:pt>
          <cx:pt idx="15">Category 2</cx:pt>
          <cx:pt idx="16">Category 3</cx:pt>
          <cx:pt idx="17">Category 3</cx:pt>
          <cx:pt idx="18">Category 3</cx:pt>
          <cx:pt idx="19">Category 3</cx:pt>
          <cx:pt idx="20">Category 3</cx:pt>
          <cx:pt idx="21">Category 3</cx:pt>
          <cx:pt idx="22">Seun</cx:pt>
          <cx:pt idx="23">Seun</cx:pt>
          <cx:pt idx="24">Seun</cx:pt>
          <cx:pt idx="25">Seun</cx:pt>
          <cx:pt idx="26">Seun</cx:pt>
          <cx:pt idx="27">Seun</cx:pt>
          <cx:pt idx="28">Kay</cx:pt>
          <cx:pt idx="29">Kay</cx:pt>
          <cx:pt idx="30">Kay</cx:pt>
          <cx:pt idx="31">Kay</cx:pt>
          <cx:pt idx="32">Kay</cx:pt>
          <cx:pt idx="33">Kay</cx:pt>
          <cx:pt idx="34">Sol</cx:pt>
          <cx:pt idx="35">Sol</cx:pt>
          <cx:pt idx="36">Sol</cx:pt>
          <cx:pt idx="37">Sol</cx:pt>
          <cx:pt idx="38">Sol</cx:pt>
          <cx:pt idx="39">Sol</cx:pt>
          <cx:pt idx="40">Juice</cx:pt>
          <cx:pt idx="41">Juice</cx:pt>
          <cx:pt idx="42">Juice</cx:pt>
          <cx:pt idx="43">Juice</cx:pt>
          <cx:pt idx="44">Juice</cx:pt>
          <cx:pt idx="45">Juice</cx:pt>
          <cx:pt idx="46">Juice</cx:pt>
        </cx:lvl>
      </cx:strDim>
      <cx:numDim type="val">
        <cx:f>Sheet1!$B$2:$B$48</cx:f>
        <cx:lvl ptCount="47" formatCode="General">
          <cx:pt idx="0">-7</cx:pt>
          <cx:pt idx="1">-10</cx:pt>
          <cx:pt idx="2">-28</cx:pt>
          <cx:pt idx="3">47</cx:pt>
          <cx:pt idx="4">11</cx:pt>
          <cx:pt idx="5">-24</cx:pt>
          <cx:pt idx="6">-24</cx:pt>
          <cx:pt idx="7">36</cx:pt>
          <cx:pt idx="8">10</cx:pt>
          <cx:pt idx="9">-78</cx:pt>
          <cx:pt idx="10">47</cx:pt>
          <cx:pt idx="11">-24</cx:pt>
          <cx:pt idx="12">-17</cx:pt>
          <cx:pt idx="13">-12</cx:pt>
          <cx:pt idx="14">-11</cx:pt>
          <cx:pt idx="15">17</cx:pt>
          <cx:pt idx="16">14</cx:pt>
          <cx:pt idx="17">46</cx:pt>
          <cx:pt idx="18">-18</cx:pt>
          <cx:pt idx="19">19</cx:pt>
          <cx:pt idx="20">-26</cx:pt>
          <cx:pt idx="21">-20</cx:pt>
          <cx:pt idx="22">14</cx:pt>
          <cx:pt idx="23">46</cx:pt>
          <cx:pt idx="24">-18</cx:pt>
          <cx:pt idx="25">19</cx:pt>
          <cx:pt idx="26">-26</cx:pt>
          <cx:pt idx="27">-20</cx:pt>
          <cx:pt idx="28">14</cx:pt>
          <cx:pt idx="29">46</cx:pt>
          <cx:pt idx="30">-18</cx:pt>
          <cx:pt idx="31">19</cx:pt>
          <cx:pt idx="32">-26</cx:pt>
          <cx:pt idx="33">-20</cx:pt>
          <cx:pt idx="34">14</cx:pt>
          <cx:pt idx="35">46</cx:pt>
          <cx:pt idx="36">-18</cx:pt>
          <cx:pt idx="37">19</cx:pt>
          <cx:pt idx="38">-26</cx:pt>
          <cx:pt idx="39">-20</cx:pt>
          <cx:pt idx="40">-78</cx:pt>
          <cx:pt idx="41">47</cx:pt>
          <cx:pt idx="42">-24</cx:pt>
          <cx:pt idx="43">-17</cx:pt>
          <cx:pt idx="44">-12</cx:pt>
          <cx:pt idx="45">-11</cx:pt>
          <cx:pt idx="46">17</cx:pt>
        </cx:lvl>
      </cx:numDim>
    </cx:data>
    <cx:data id="1">
      <cx:strDim type="cat">
        <cx:f>Sheet1!$A$2:$A$48</cx:f>
        <cx:lvl ptCount="47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  <cx:pt idx="9">Category 2</cx:pt>
          <cx:pt idx="10">Category 2</cx:pt>
          <cx:pt idx="11">Category 2</cx:pt>
          <cx:pt idx="12">Category 2</cx:pt>
          <cx:pt idx="13">Category 2</cx:pt>
          <cx:pt idx="14">Category 2</cx:pt>
          <cx:pt idx="15">Category 2</cx:pt>
          <cx:pt idx="16">Category 3</cx:pt>
          <cx:pt idx="17">Category 3</cx:pt>
          <cx:pt idx="18">Category 3</cx:pt>
          <cx:pt idx="19">Category 3</cx:pt>
          <cx:pt idx="20">Category 3</cx:pt>
          <cx:pt idx="21">Category 3</cx:pt>
          <cx:pt idx="22">Seun</cx:pt>
          <cx:pt idx="23">Seun</cx:pt>
          <cx:pt idx="24">Seun</cx:pt>
          <cx:pt idx="25">Seun</cx:pt>
          <cx:pt idx="26">Seun</cx:pt>
          <cx:pt idx="27">Seun</cx:pt>
          <cx:pt idx="28">Kay</cx:pt>
          <cx:pt idx="29">Kay</cx:pt>
          <cx:pt idx="30">Kay</cx:pt>
          <cx:pt idx="31">Kay</cx:pt>
          <cx:pt idx="32">Kay</cx:pt>
          <cx:pt idx="33">Kay</cx:pt>
          <cx:pt idx="34">Sol</cx:pt>
          <cx:pt idx="35">Sol</cx:pt>
          <cx:pt idx="36">Sol</cx:pt>
          <cx:pt idx="37">Sol</cx:pt>
          <cx:pt idx="38">Sol</cx:pt>
          <cx:pt idx="39">Sol</cx:pt>
          <cx:pt idx="40">Juice</cx:pt>
          <cx:pt idx="41">Juice</cx:pt>
          <cx:pt idx="42">Juice</cx:pt>
          <cx:pt idx="43">Juice</cx:pt>
          <cx:pt idx="44">Juice</cx:pt>
          <cx:pt idx="45">Juice</cx:pt>
          <cx:pt idx="46">Juice</cx:pt>
        </cx:lvl>
      </cx:strDim>
      <cx:numDim type="val">
        <cx:f>Sheet1!$C$2:$C$48</cx:f>
        <cx:lvl ptCount="47" formatCode="General">
          <cx:pt idx="0">-3</cx:pt>
          <cx:pt idx="1">1</cx:pt>
          <cx:pt idx="2">-6</cx:pt>
          <cx:pt idx="3">10</cx:pt>
          <cx:pt idx="4">34</cx:pt>
          <cx:pt idx="5">128</cx:pt>
          <cx:pt idx="6">22</cx:pt>
          <cx:pt idx="7">-12</cx:pt>
          <cx:pt idx="8">-28</cx:pt>
          <cx:pt idx="9">6</cx:pt>
          <cx:pt idx="10">31</cx:pt>
          <cx:pt idx="11">3</cx:pt>
          <cx:pt idx="12">12</cx:pt>
          <cx:pt idx="13">-12</cx:pt>
          <cx:pt idx="14">-13</cx:pt>
          <cx:pt idx="15">6</cx:pt>
          <cx:pt idx="16">15</cx:pt>
          <cx:pt idx="17">41</cx:pt>
          <cx:pt idx="18">16</cx:pt>
          <cx:pt idx="19">10</cx:pt>
          <cx:pt idx="20">23</cx:pt>
          <cx:pt idx="21">16</cx:pt>
          <cx:pt idx="22">15</cx:pt>
          <cx:pt idx="23">41</cx:pt>
          <cx:pt idx="24">16</cx:pt>
          <cx:pt idx="25">10</cx:pt>
          <cx:pt idx="26">23</cx:pt>
          <cx:pt idx="27">16</cx:pt>
          <cx:pt idx="28">15</cx:pt>
          <cx:pt idx="29">41</cx:pt>
          <cx:pt idx="30">16</cx:pt>
          <cx:pt idx="31">10</cx:pt>
          <cx:pt idx="32">23</cx:pt>
          <cx:pt idx="33">16</cx:pt>
          <cx:pt idx="34">15</cx:pt>
          <cx:pt idx="35">41</cx:pt>
          <cx:pt idx="36">16</cx:pt>
          <cx:pt idx="37">10</cx:pt>
          <cx:pt idx="38">23</cx:pt>
          <cx:pt idx="39">16</cx:pt>
          <cx:pt idx="40">6</cx:pt>
          <cx:pt idx="41">31</cx:pt>
          <cx:pt idx="42">3</cx:pt>
          <cx:pt idx="43">12</cx:pt>
          <cx:pt idx="44">-12</cx:pt>
          <cx:pt idx="45">-13</cx:pt>
          <cx:pt idx="46">6</cx:pt>
        </cx:lvl>
      </cx:numDim>
    </cx:data>
    <cx:data id="2">
      <cx:strDim type="cat">
        <cx:f>Sheet1!$A$2:$A$48</cx:f>
        <cx:lvl ptCount="47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  <cx:pt idx="9">Category 2</cx:pt>
          <cx:pt idx="10">Category 2</cx:pt>
          <cx:pt idx="11">Category 2</cx:pt>
          <cx:pt idx="12">Category 2</cx:pt>
          <cx:pt idx="13">Category 2</cx:pt>
          <cx:pt idx="14">Category 2</cx:pt>
          <cx:pt idx="15">Category 2</cx:pt>
          <cx:pt idx="16">Category 3</cx:pt>
          <cx:pt idx="17">Category 3</cx:pt>
          <cx:pt idx="18">Category 3</cx:pt>
          <cx:pt idx="19">Category 3</cx:pt>
          <cx:pt idx="20">Category 3</cx:pt>
          <cx:pt idx="21">Category 3</cx:pt>
          <cx:pt idx="22">Seun</cx:pt>
          <cx:pt idx="23">Seun</cx:pt>
          <cx:pt idx="24">Seun</cx:pt>
          <cx:pt idx="25">Seun</cx:pt>
          <cx:pt idx="26">Seun</cx:pt>
          <cx:pt idx="27">Seun</cx:pt>
          <cx:pt idx="28">Kay</cx:pt>
          <cx:pt idx="29">Kay</cx:pt>
          <cx:pt idx="30">Kay</cx:pt>
          <cx:pt idx="31">Kay</cx:pt>
          <cx:pt idx="32">Kay</cx:pt>
          <cx:pt idx="33">Kay</cx:pt>
          <cx:pt idx="34">Sol</cx:pt>
          <cx:pt idx="35">Sol</cx:pt>
          <cx:pt idx="36">Sol</cx:pt>
          <cx:pt idx="37">Sol</cx:pt>
          <cx:pt idx="38">Sol</cx:pt>
          <cx:pt idx="39">Sol</cx:pt>
          <cx:pt idx="40">Juice</cx:pt>
          <cx:pt idx="41">Juice</cx:pt>
          <cx:pt idx="42">Juice</cx:pt>
          <cx:pt idx="43">Juice</cx:pt>
          <cx:pt idx="44">Juice</cx:pt>
          <cx:pt idx="45">Juice</cx:pt>
          <cx:pt idx="46">Juice</cx:pt>
        </cx:lvl>
      </cx:strDim>
      <cx:numDim type="val">
        <cx:f>Sheet1!$D$2:$D$48</cx:f>
        <cx:lvl ptCount="47" formatCode="General">
          <cx:pt idx="0">-24</cx:pt>
          <cx:pt idx="1">11</cx:pt>
          <cx:pt idx="2">34</cx:pt>
          <cx:pt idx="3">-19</cx:pt>
          <cx:pt idx="4">4</cx:pt>
          <cx:pt idx="5">27</cx:pt>
          <cx:pt idx="6">27</cx:pt>
          <cx:pt idx="7">-3</cx:pt>
          <cx:pt idx="8">44</cx:pt>
          <cx:pt idx="9">50</cx:pt>
          <cx:pt idx="10">91</cx:pt>
          <cx:pt idx="11">-8</cx:pt>
          <cx:pt idx="12">36</cx:pt>
          <cx:pt idx="13">16</cx:pt>
          <cx:pt idx="14">24</cx:pt>
          <cx:pt idx="15">46</cx:pt>
          <cx:pt idx="16">14</cx:pt>
          <cx:pt idx="17">-6</cx:pt>
          <cx:pt idx="18">48</cx:pt>
          <cx:pt idx="19">23</cx:pt>
          <cx:pt idx="20">23</cx:pt>
          <cx:pt idx="21">-18</cx:pt>
          <cx:pt idx="22">14</cx:pt>
          <cx:pt idx="23">-6</cx:pt>
          <cx:pt idx="24">48</cx:pt>
          <cx:pt idx="25">23</cx:pt>
          <cx:pt idx="26">23</cx:pt>
          <cx:pt idx="27">-18</cx:pt>
          <cx:pt idx="28">14</cx:pt>
          <cx:pt idx="29">-6</cx:pt>
          <cx:pt idx="30">48</cx:pt>
          <cx:pt idx="31">23</cx:pt>
          <cx:pt idx="32">23</cx:pt>
          <cx:pt idx="33">-18</cx:pt>
          <cx:pt idx="34">14</cx:pt>
          <cx:pt idx="35">-6</cx:pt>
          <cx:pt idx="36">48</cx:pt>
          <cx:pt idx="37">23</cx:pt>
          <cx:pt idx="38">23</cx:pt>
          <cx:pt idx="39">-18</cx:pt>
          <cx:pt idx="40">50</cx:pt>
          <cx:pt idx="41">91</cx:pt>
          <cx:pt idx="42">-8</cx:pt>
          <cx:pt idx="43">36</cx:pt>
          <cx:pt idx="44">16</cx:pt>
          <cx:pt idx="45">24</cx:pt>
          <cx:pt idx="46">46</cx:pt>
        </cx:lvl>
      </cx:numDim>
    </cx:data>
  </cx:chartData>
  <cx:chart>
    <cx:plotArea>
      <cx:plotAreaRegion>
        <cx:series layoutId="boxWhisker" uniqueId="{D166A239-61AB-4098-9AF5-8187C1623D98}">
          <cx:tx>
            <cx:txData>
              <cx:f>Sheet1!$B$1</cx:f>
              <cx:v>Series1</cx:v>
            </cx:txData>
          </cx:tx>
          <cx:dataId val="0"/>
          <cx:layoutPr>
            <cx:statistics quartileMethod="exclusive"/>
          </cx:layoutPr>
        </cx:series>
        <cx:series layoutId="boxWhisker" uniqueId="{8E8B735C-9F00-4B35-A7DA-0E421112CEC5}">
          <cx:tx>
            <cx:txData>
              <cx:f>Sheet1!$C$1</cx:f>
              <cx:v>Series2</cx:v>
            </cx:txData>
          </cx:tx>
          <cx:dataId val="1"/>
          <cx:layoutPr>
            <cx:statistics quartileMethod="exclusive"/>
          </cx:layoutPr>
        </cx:series>
        <cx:series layoutId="boxWhisker" uniqueId="{61878CBC-7756-4B5F-8FED-0BAA19E65289}">
          <cx:tx>
            <cx:txData>
              <cx:f>Sheet1!$D$1</cx:f>
              <cx:v>Series3</cx:v>
            </cx:txData>
          </cx:tx>
          <cx:dataId val="2"/>
          <cx:layoutPr>
            <cx:statistics quartileMethod="exclusive"/>
          </cx:layoutPr>
        </cx:series>
      </cx:plotAreaRegion>
      <cx:axis id="0">
        <cx:catScaling gapWidth="1"/>
        <cx:tickLabels/>
      </cx:axis>
      <cx:axis id="1">
        <cx:valScaling/>
        <cx:majorGridlines/>
        <cx:tickLabels/>
      </cx:axis>
    </cx:plotArea>
  </cx:chart>
</cx:chartSpace>
</file>

<file path=ppt/charts/chartEx2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29</cx:f>
        <cx:lvl ptCount="28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  <cx:pt idx="9">Category 2</cx:pt>
          <cx:pt idx="10">Category 2</cx:pt>
          <cx:pt idx="11">Category 2</cx:pt>
          <cx:pt idx="12">Category 2</cx:pt>
          <cx:pt idx="13">Category 2</cx:pt>
          <cx:pt idx="14">Category 2</cx:pt>
          <cx:pt idx="15">Category 2</cx:pt>
          <cx:pt idx="16">Category 3</cx:pt>
          <cx:pt idx="17">Category 3</cx:pt>
          <cx:pt idx="18">Category 3</cx:pt>
          <cx:pt idx="19">Category 3</cx:pt>
          <cx:pt idx="20">Category 3</cx:pt>
          <cx:pt idx="21">Category 3</cx:pt>
          <cx:pt idx="22">Seun</cx:pt>
          <cx:pt idx="23">Seun</cx:pt>
          <cx:pt idx="24">Seun</cx:pt>
          <cx:pt idx="25">Seun</cx:pt>
          <cx:pt idx="26">Seun</cx:pt>
          <cx:pt idx="27">Seun</cx:pt>
        </cx:lvl>
      </cx:strDim>
      <cx:numDim type="val">
        <cx:f>Sheet1!$B$2:$B$29</cx:f>
        <cx:lvl ptCount="28" formatCode="General">
          <cx:pt idx="0">-7</cx:pt>
          <cx:pt idx="1">-10</cx:pt>
          <cx:pt idx="2">-28</cx:pt>
          <cx:pt idx="3">47</cx:pt>
          <cx:pt idx="4">11</cx:pt>
          <cx:pt idx="5">-24</cx:pt>
          <cx:pt idx="6">-24</cx:pt>
          <cx:pt idx="7">36</cx:pt>
          <cx:pt idx="8">10</cx:pt>
          <cx:pt idx="9">-78</cx:pt>
          <cx:pt idx="10">47</cx:pt>
          <cx:pt idx="11">-24</cx:pt>
          <cx:pt idx="12">-17</cx:pt>
          <cx:pt idx="13">-12</cx:pt>
          <cx:pt idx="14">-11</cx:pt>
          <cx:pt idx="15">17</cx:pt>
          <cx:pt idx="16">14</cx:pt>
          <cx:pt idx="17">46</cx:pt>
          <cx:pt idx="18">-18</cx:pt>
          <cx:pt idx="19">19</cx:pt>
          <cx:pt idx="20">-26</cx:pt>
          <cx:pt idx="21">-20</cx:pt>
          <cx:pt idx="22">14</cx:pt>
          <cx:pt idx="23">46</cx:pt>
          <cx:pt idx="24">-18</cx:pt>
          <cx:pt idx="25">19</cx:pt>
          <cx:pt idx="26">-26</cx:pt>
          <cx:pt idx="27">-20</cx:pt>
        </cx:lvl>
      </cx:numDim>
    </cx:data>
    <cx:data id="1">
      <cx:strDim type="cat">
        <cx:f>Sheet1!$A$2:$A$29</cx:f>
        <cx:lvl ptCount="28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  <cx:pt idx="9">Category 2</cx:pt>
          <cx:pt idx="10">Category 2</cx:pt>
          <cx:pt idx="11">Category 2</cx:pt>
          <cx:pt idx="12">Category 2</cx:pt>
          <cx:pt idx="13">Category 2</cx:pt>
          <cx:pt idx="14">Category 2</cx:pt>
          <cx:pt idx="15">Category 2</cx:pt>
          <cx:pt idx="16">Category 3</cx:pt>
          <cx:pt idx="17">Category 3</cx:pt>
          <cx:pt idx="18">Category 3</cx:pt>
          <cx:pt idx="19">Category 3</cx:pt>
          <cx:pt idx="20">Category 3</cx:pt>
          <cx:pt idx="21">Category 3</cx:pt>
          <cx:pt idx="22">Seun</cx:pt>
          <cx:pt idx="23">Seun</cx:pt>
          <cx:pt idx="24">Seun</cx:pt>
          <cx:pt idx="25">Seun</cx:pt>
          <cx:pt idx="26">Seun</cx:pt>
          <cx:pt idx="27">Seun</cx:pt>
        </cx:lvl>
      </cx:strDim>
      <cx:numDim type="val">
        <cx:f>Sheet1!$C$2:$C$29</cx:f>
        <cx:lvl ptCount="28" formatCode="General">
          <cx:pt idx="0">-3</cx:pt>
          <cx:pt idx="1">1</cx:pt>
          <cx:pt idx="2">-6</cx:pt>
          <cx:pt idx="3">10</cx:pt>
          <cx:pt idx="4">34</cx:pt>
          <cx:pt idx="5">128</cx:pt>
          <cx:pt idx="6">22</cx:pt>
          <cx:pt idx="7">-12</cx:pt>
          <cx:pt idx="8">-28</cx:pt>
          <cx:pt idx="9">6</cx:pt>
          <cx:pt idx="10">31</cx:pt>
          <cx:pt idx="11">3</cx:pt>
          <cx:pt idx="12">12</cx:pt>
          <cx:pt idx="13">-12</cx:pt>
          <cx:pt idx="14">-13</cx:pt>
          <cx:pt idx="15">6</cx:pt>
          <cx:pt idx="16">15</cx:pt>
          <cx:pt idx="17">41</cx:pt>
          <cx:pt idx="18">16</cx:pt>
          <cx:pt idx="19">10</cx:pt>
          <cx:pt idx="20">23</cx:pt>
          <cx:pt idx="21">16</cx:pt>
          <cx:pt idx="22">15</cx:pt>
          <cx:pt idx="23">41</cx:pt>
          <cx:pt idx="24">16</cx:pt>
          <cx:pt idx="25">10</cx:pt>
          <cx:pt idx="26">23</cx:pt>
          <cx:pt idx="27">16</cx:pt>
        </cx:lvl>
      </cx:numDim>
    </cx:data>
    <cx:data id="2">
      <cx:strDim type="cat">
        <cx:f>Sheet1!$A$2:$A$29</cx:f>
        <cx:lvl ptCount="28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  <cx:pt idx="9">Category 2</cx:pt>
          <cx:pt idx="10">Category 2</cx:pt>
          <cx:pt idx="11">Category 2</cx:pt>
          <cx:pt idx="12">Category 2</cx:pt>
          <cx:pt idx="13">Category 2</cx:pt>
          <cx:pt idx="14">Category 2</cx:pt>
          <cx:pt idx="15">Category 2</cx:pt>
          <cx:pt idx="16">Category 3</cx:pt>
          <cx:pt idx="17">Category 3</cx:pt>
          <cx:pt idx="18">Category 3</cx:pt>
          <cx:pt idx="19">Category 3</cx:pt>
          <cx:pt idx="20">Category 3</cx:pt>
          <cx:pt idx="21">Category 3</cx:pt>
          <cx:pt idx="22">Seun</cx:pt>
          <cx:pt idx="23">Seun</cx:pt>
          <cx:pt idx="24">Seun</cx:pt>
          <cx:pt idx="25">Seun</cx:pt>
          <cx:pt idx="26">Seun</cx:pt>
          <cx:pt idx="27">Seun</cx:pt>
        </cx:lvl>
      </cx:strDim>
      <cx:numDim type="val">
        <cx:f>Sheet1!$D$2:$D$29</cx:f>
        <cx:lvl ptCount="28" formatCode="General">
          <cx:pt idx="0">-24</cx:pt>
          <cx:pt idx="1">11</cx:pt>
          <cx:pt idx="2">34</cx:pt>
          <cx:pt idx="3">-19</cx:pt>
          <cx:pt idx="4">4</cx:pt>
          <cx:pt idx="5">27</cx:pt>
          <cx:pt idx="6">27</cx:pt>
          <cx:pt idx="7">-3</cx:pt>
          <cx:pt idx="8">44</cx:pt>
          <cx:pt idx="9">50</cx:pt>
          <cx:pt idx="10">91</cx:pt>
          <cx:pt idx="11">-8</cx:pt>
          <cx:pt idx="12">36</cx:pt>
          <cx:pt idx="13">16</cx:pt>
          <cx:pt idx="14">24</cx:pt>
          <cx:pt idx="15">46</cx:pt>
          <cx:pt idx="16">14</cx:pt>
          <cx:pt idx="17">-6</cx:pt>
          <cx:pt idx="18">48</cx:pt>
          <cx:pt idx="19">23</cx:pt>
          <cx:pt idx="20">23</cx:pt>
          <cx:pt idx="21">-18</cx:pt>
          <cx:pt idx="22">14</cx:pt>
          <cx:pt idx="23">-6</cx:pt>
          <cx:pt idx="24">48</cx:pt>
          <cx:pt idx="25">23</cx:pt>
          <cx:pt idx="26">23</cx:pt>
          <cx:pt idx="27">-18</cx:pt>
        </cx:lvl>
      </cx:numDim>
    </cx:data>
  </cx:chartData>
  <cx:chart>
    <cx:plotArea>
      <cx:plotAreaRegion>
        <cx:series layoutId="boxWhisker" uniqueId="{2ACD107A-B233-4652-B7C7-A12EA08BED7F}">
          <cx:tx>
            <cx:txData>
              <cx:f>Sheet1!$B$1</cx:f>
              <cx:v>Series1</cx:v>
            </cx:txData>
          </cx:tx>
          <cx:dataId val="0"/>
          <cx:layoutPr>
            <cx:visibility meanLine="1" nonoutliers="0"/>
            <cx:statistics quartileMethod="exclusive"/>
          </cx:layoutPr>
        </cx:series>
        <cx:series layoutId="boxWhisker" uniqueId="{A91039BB-D20B-4488-ADBB-1FCF3829AAB4}">
          <cx:tx>
            <cx:txData>
              <cx:f>Sheet1!$C$1</cx:f>
              <cx:v>Series2</cx:v>
            </cx:txData>
          </cx:tx>
          <cx:dataId val="1"/>
          <cx:layoutPr>
            <cx:visibility meanLine="1" nonoutliers="0"/>
            <cx:statistics quartileMethod="exclusive"/>
          </cx:layoutPr>
        </cx:series>
        <cx:series layoutId="boxWhisker" uniqueId="{453F7F2E-47C0-4104-9487-66B635F6F98C}">
          <cx:tx>
            <cx:txData>
              <cx:f>Sheet1!$D$1</cx:f>
              <cx:v>Series3</cx:v>
            </cx:txData>
          </cx:tx>
          <cx:dataId val="2"/>
          <cx:layoutPr>
            <cx:visibility meanLine="1" nonoutliers="0"/>
            <cx:statistics quartileMethod="exclusive"/>
          </cx:layoutPr>
        </cx:series>
      </cx:plotAreaRegion>
      <cx:axis id="0">
        <cx:catScaling gapWidth="1"/>
        <cx:tickLabels/>
      </cx:axis>
      <cx:axis id="1">
        <cx:valScaling/>
        <cx:majorGridlines/>
        <cx:tickLabels/>
      </cx:axis>
    </cx:plotArea>
  </cx:chart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9</cx:f>
        <cx:lvl ptCount="8" formatCode="General">
          <cx:pt idx="0">50</cx:pt>
          <cx:pt idx="1">63.3333333333333</cx:pt>
          <cx:pt idx="2">60</cx:pt>
          <cx:pt idx="3">66.6666666666666</cx:pt>
          <cx:pt idx="4">66.6666666666666</cx:pt>
          <cx:pt idx="5">60</cx:pt>
          <cx:pt idx="6">46.6666666666666</cx:pt>
          <cx:pt idx="7">66.6666666666666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Gridlines>
          <cx:spPr>
            <a:ln>
              <a:solidFill>
                <a:schemeClr val="bg1"/>
              </a:solidFill>
            </a:ln>
          </cx:spPr>
        </cx:majorGridlines>
        <cx:majorTickMarks type="cross"/>
        <cx:tickLabels/>
      </cx:axis>
    </cx:plotArea>
  </cx:chart>
</cx:chartSpace>
</file>

<file path=ppt/charts/chartEx4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43.75</cx:pt>
          <cx:pt idx="1">95</cx:pt>
          <cx:pt idx="2">75</cx:pt>
          <cx:pt idx="3">90</cx:pt>
          <cx:pt idx="4">65</cx:pt>
          <cx:pt idx="5">70</cx:pt>
          <cx:pt idx="6">25</cx:pt>
          <cx:pt idx="7">50</cx:pt>
          <cx:pt idx="8">45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Gridlines>
          <cx:spPr>
            <a:ln>
              <a:solidFill>
                <a:schemeClr val="bg1"/>
              </a:solidFill>
            </a:ln>
          </cx:spPr>
        </cx:majorGridlines>
        <cx:majorTickMarks type="cross"/>
        <cx:tickLabels/>
      </cx:axis>
    </cx:plotArea>
  </cx:chart>
</cx:chartSpace>
</file>

<file path=ppt/charts/chartEx5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68.3333333333333</cx:pt>
          <cx:pt idx="1">52.082703315439801</cx:pt>
          <cx:pt idx="2">73.75</cx:pt>
          <cx:pt idx="3">90</cx:pt>
          <cx:pt idx="4">62.571607590404497</cx:pt>
          <cx:pt idx="5">56.6666666666666</cx:pt>
          <cx:pt idx="6">65.445205479452</cx:pt>
          <cx:pt idx="7">56.033333333333303</cx:pt>
          <cx:pt idx="8">78.699633699633694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Gridlines>
          <cx:spPr>
            <a:ln>
              <a:solidFill>
                <a:schemeClr val="bg1"/>
              </a:solidFill>
            </a:ln>
          </cx:spPr>
        </cx:majorGridlines>
        <cx:majorTickMarks type="cross"/>
        <cx:tickLabels/>
      </cx:axis>
    </cx:plotArea>
  </cx:chart>
</cx:chartSpace>
</file>

<file path=ppt/charts/chartEx6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25</cx:pt>
          <cx:pt idx="1">80</cx:pt>
          <cx:pt idx="2">100</cx:pt>
          <cx:pt idx="3">100</cx:pt>
          <cx:pt idx="4">80</cx:pt>
          <cx:pt idx="5">100</cx:pt>
          <cx:pt idx="6">0</cx:pt>
          <cx:pt idx="7">33.3333333333333</cx:pt>
          <cx:pt idx="8">20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Gridlines>
          <cx:spPr>
            <a:ln>
              <a:solidFill>
                <a:schemeClr val="bg1"/>
              </a:solidFill>
            </a:ln>
          </cx:spPr>
        </cx:majorGridlines>
        <cx:majorTickMarks type="cross"/>
        <cx:tickLabels/>
      </cx:axis>
    </cx:plotArea>
  </cx:chart>
</cx:chartSpace>
</file>

<file path=ppt/charts/chartEx7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100</cx:pt>
          <cx:pt idx="1">66.6666666666666</cx:pt>
          <cx:pt idx="2">100</cx:pt>
          <cx:pt idx="3">83.3333333333333</cx:pt>
          <cx:pt idx="4">100</cx:pt>
          <cx:pt idx="5">50</cx:pt>
          <cx:pt idx="6">50</cx:pt>
          <cx:pt idx="7">100</cx:pt>
          <cx:pt idx="8">50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Gridlines>
          <cx:spPr>
            <a:ln>
              <a:solidFill>
                <a:schemeClr val="bg1"/>
              </a:solidFill>
            </a:ln>
          </cx:spPr>
        </cx:majorGridlines>
        <cx:majorTickMarks type="cross"/>
        <cx:tickLabels/>
      </cx:axis>
    </cx:plotArea>
  </cx:chart>
</cx:chartSpace>
</file>

<file path=ppt/charts/chartEx8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100</cx:pt>
          <cx:pt idx="1">100</cx:pt>
          <cx:pt idx="2">100</cx:pt>
          <cx:pt idx="3">100</cx:pt>
          <cx:pt idx="4">100</cx:pt>
          <cx:pt idx="5">100</cx:pt>
          <cx:pt idx="6">100</cx:pt>
          <cx:pt idx="7">100</cx:pt>
          <cx:pt idx="8">100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Gridlines>
          <cx:spPr>
            <a:ln>
              <a:solidFill>
                <a:schemeClr val="bg1"/>
              </a:solidFill>
            </a:ln>
          </cx:spPr>
        </cx:majorGridlines>
        <cx:majorTickMarks type="cross"/>
        <cx:tickLabels/>
      </cx:axis>
    </cx:plotArea>
  </cx:chart>
</cx:chartSpace>
</file>

<file path=ppt/charts/chartEx9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100</cx:pt>
          <cx:pt idx="1">100</cx:pt>
          <cx:pt idx="2">100</cx:pt>
          <cx:pt idx="3">100</cx:pt>
          <cx:pt idx="4">100</cx:pt>
          <cx:pt idx="5">100</cx:pt>
          <cx:pt idx="6">100</cx:pt>
          <cx:pt idx="7">36</cx:pt>
          <cx:pt idx="8">100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Gridlines>
          <cx:spPr>
            <a:ln>
              <a:solidFill>
                <a:schemeClr val="bg1"/>
              </a:solidFill>
            </a:ln>
          </cx:spPr>
        </cx:majorGridlines>
        <cx:majorTickMarks type="cross"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0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5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6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7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8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9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31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32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33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34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35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3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4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47086" y="248161"/>
          <a:ext cx="1061586" cy="886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47086" y="248161"/>
          <a:ext cx="1061586" cy="886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47086" y="248161"/>
          <a:ext cx="1061586" cy="886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26693" y="256065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13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26693" y="256065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14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26693" y="256065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47086" y="248161"/>
          <a:ext cx="1061586" cy="886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47086" y="248161"/>
          <a:ext cx="1061586" cy="886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47086" y="248161"/>
          <a:ext cx="1061586" cy="886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47086" y="248161"/>
          <a:ext cx="1061586" cy="886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47086" y="248161"/>
          <a:ext cx="1061586" cy="886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47086" y="248161"/>
          <a:ext cx="1061586" cy="886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47086" y="248161"/>
          <a:ext cx="1061586" cy="886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47086" y="248161"/>
          <a:ext cx="1061586" cy="886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5D5D090-1BEF-4E2F-A18B-C30A1F5A846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844FA7-60E7-427F-A6D8-F2FC6AA37C1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2EF2CF-D602-4836-B70B-A3AA896C4470}" type="datetimeFigureOut">
              <a:rPr lang="en-US" smtClean="0"/>
              <a:t>7/2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6E8F7B1-3F04-4492-8C7B-BFB0BBFC8FA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EC4A78-4055-41F6-9F1B-0EE8705E71E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890D88-BA10-4C69-A18C-49C9F660E3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0750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9B25B0-38AD-4DCC-B5CD-BFC49102A9DA}" type="datetimeFigureOut">
              <a:rPr lang="en-GB" smtClean="0"/>
              <a:t>25/07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131254-3E2A-413C-B32A-FCE3FE6A85C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888015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31254-3E2A-413C-B32A-FCE3FE6A85CA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3196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31254-3E2A-413C-B32A-FCE3FE6A85C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22469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9.sv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6.png"/><Relationship Id="rId4" Type="http://schemas.openxmlformats.org/officeDocument/2006/relationships/image" Target="../media/image8.sv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5.sv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3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openxmlformats.org/officeDocument/2006/relationships/image" Target="../media/image6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5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6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6" Type="http://schemas.openxmlformats.org/officeDocument/2006/relationships/image" Target="../media/image6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23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6" Type="http://schemas.openxmlformats.org/officeDocument/2006/relationships/image" Target="../media/image6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2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6.png"/><Relationship Id="rId4" Type="http://schemas.openxmlformats.org/officeDocument/2006/relationships/image" Target="../media/image10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5" Type="http://schemas.openxmlformats.org/officeDocument/2006/relationships/image" Target="../media/image6.png"/><Relationship Id="rId4" Type="http://schemas.openxmlformats.org/officeDocument/2006/relationships/image" Target="../media/image26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5" Type="http://schemas.openxmlformats.org/officeDocument/2006/relationships/image" Target="../media/image6.png"/><Relationship Id="rId4" Type="http://schemas.openxmlformats.org/officeDocument/2006/relationships/image" Target="../media/image27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5" Type="http://schemas.openxmlformats.org/officeDocument/2006/relationships/image" Target="../media/image6.png"/><Relationship Id="rId4" Type="http://schemas.openxmlformats.org/officeDocument/2006/relationships/image" Target="../media/image28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5" Type="http://schemas.openxmlformats.org/officeDocument/2006/relationships/image" Target="../media/image13.png"/><Relationship Id="rId4" Type="http://schemas.openxmlformats.org/officeDocument/2006/relationships/image" Target="../media/image29.sv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Relationship Id="rId4" Type="http://schemas.openxmlformats.org/officeDocument/2006/relationships/image" Target="../media/image30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Relationship Id="rId4" Type="http://schemas.openxmlformats.org/officeDocument/2006/relationships/image" Target="../media/image26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8.xml"/><Relationship Id="rId4" Type="http://schemas.openxmlformats.org/officeDocument/2006/relationships/image" Target="../media/image31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Relationship Id="rId4" Type="http://schemas.openxmlformats.org/officeDocument/2006/relationships/image" Target="../media/image32.svg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8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9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0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5.svg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8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9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0.xml"/><Relationship Id="rId4" Type="http://schemas.openxmlformats.org/officeDocument/2006/relationships/image" Target="../media/image26.svg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3.xml"/><Relationship Id="rId4" Type="http://schemas.openxmlformats.org/officeDocument/2006/relationships/image" Target="../media/image3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4.xml"/><Relationship Id="rId6" Type="http://schemas.openxmlformats.org/officeDocument/2006/relationships/image" Target="../media/image6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26.sv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5.xml"/><Relationship Id="rId6" Type="http://schemas.openxmlformats.org/officeDocument/2006/relationships/image" Target="../media/image6.png"/><Relationship Id="rId5" Type="http://schemas.openxmlformats.org/officeDocument/2006/relationships/image" Target="../media/image33.svg"/><Relationship Id="rId4" Type="http://schemas.openxmlformats.org/officeDocument/2006/relationships/image" Target="../media/image20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6.xml"/><Relationship Id="rId6" Type="http://schemas.openxmlformats.org/officeDocument/2006/relationships/image" Target="../media/image6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34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5.sv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7.xml"/><Relationship Id="rId6" Type="http://schemas.openxmlformats.org/officeDocument/2006/relationships/image" Target="../media/image6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35.sv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9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emf"/><Relationship Id="rId3" Type="http://schemas.openxmlformats.org/officeDocument/2006/relationships/tags" Target="../tags/tag112.xml"/><Relationship Id="rId7" Type="http://schemas.openxmlformats.org/officeDocument/2006/relationships/oleObject" Target="../embeddings/oleObject4.bin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14.xml"/><Relationship Id="rId4" Type="http://schemas.openxmlformats.org/officeDocument/2006/relationships/tags" Target="../tags/tag113.xml"/><Relationship Id="rId9" Type="http://schemas.openxmlformats.org/officeDocument/2006/relationships/image" Target="../media/image6.png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5" Type="http://schemas.openxmlformats.org/officeDocument/2006/relationships/tags" Target="../tags/tag119.xml"/><Relationship Id="rId10" Type="http://schemas.openxmlformats.org/officeDocument/2006/relationships/image" Target="../media/image36.emf"/><Relationship Id="rId4" Type="http://schemas.openxmlformats.org/officeDocument/2006/relationships/tags" Target="../tags/tag118.xml"/><Relationship Id="rId9" Type="http://schemas.openxmlformats.org/officeDocument/2006/relationships/oleObject" Target="../embeddings/oleObject5.bin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2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5" Type="http://schemas.openxmlformats.org/officeDocument/2006/relationships/tags" Target="../tags/tag126.xml"/><Relationship Id="rId4" Type="http://schemas.openxmlformats.org/officeDocument/2006/relationships/tags" Target="../tags/tag125.xml"/><Relationship Id="rId9" Type="http://schemas.openxmlformats.org/officeDocument/2006/relationships/image" Target="../media/image37.emf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13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Relationship Id="rId9" Type="http://schemas.openxmlformats.org/officeDocument/2006/relationships/image" Target="../media/image37.emf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36.xml"/><Relationship Id="rId7" Type="http://schemas.openxmlformats.org/officeDocument/2006/relationships/image" Target="../media/image37.emf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3.xml"/><Relationship Id="rId10" Type="http://schemas.openxmlformats.org/officeDocument/2006/relationships/image" Target="../media/image2.png"/><Relationship Id="rId4" Type="http://schemas.openxmlformats.org/officeDocument/2006/relationships/tags" Target="../tags/tag137.xml"/><Relationship Id="rId9" Type="http://schemas.openxmlformats.org/officeDocument/2006/relationships/image" Target="../media/image31.svg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tags" Target="../tags/tag143.xml"/><Relationship Id="rId5" Type="http://schemas.openxmlformats.org/officeDocument/2006/relationships/tags" Target="../tags/tag142.xml"/><Relationship Id="rId10" Type="http://schemas.openxmlformats.org/officeDocument/2006/relationships/image" Target="../media/image37.emf"/><Relationship Id="rId4" Type="http://schemas.openxmlformats.org/officeDocument/2006/relationships/tags" Target="../tags/tag141.xml"/><Relationship Id="rId9" Type="http://schemas.openxmlformats.org/officeDocument/2006/relationships/oleObject" Target="../embeddings/oleObject9.bin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tags" Target="../tags/tag152.xml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12" Type="http://schemas.openxmlformats.org/officeDocument/2006/relationships/image" Target="../media/image2.pn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11" Type="http://schemas.openxmlformats.org/officeDocument/2006/relationships/image" Target="../media/image36.emf"/><Relationship Id="rId5" Type="http://schemas.openxmlformats.org/officeDocument/2006/relationships/tags" Target="../tags/tag149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148.xml"/><Relationship Id="rId9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7.svg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12" Type="http://schemas.openxmlformats.org/officeDocument/2006/relationships/image" Target="../media/image2.png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tags" Target="../tags/tag158.xml"/><Relationship Id="rId11" Type="http://schemas.openxmlformats.org/officeDocument/2006/relationships/image" Target="../media/image36.emf"/><Relationship Id="rId5" Type="http://schemas.openxmlformats.org/officeDocument/2006/relationships/tags" Target="../tags/tag157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156.xml"/><Relationship Id="rId9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tags" Target="../tags/tag168.xml"/><Relationship Id="rId3" Type="http://schemas.openxmlformats.org/officeDocument/2006/relationships/tags" Target="../tags/tag163.xml"/><Relationship Id="rId7" Type="http://schemas.openxmlformats.org/officeDocument/2006/relationships/tags" Target="../tags/tag167.xml"/><Relationship Id="rId12" Type="http://schemas.openxmlformats.org/officeDocument/2006/relationships/image" Target="../media/image2.png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11" Type="http://schemas.openxmlformats.org/officeDocument/2006/relationships/image" Target="../media/image36.emf"/><Relationship Id="rId5" Type="http://schemas.openxmlformats.org/officeDocument/2006/relationships/tags" Target="../tags/tag165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64.xml"/><Relationship Id="rId9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3" Type="http://schemas.openxmlformats.org/officeDocument/2006/relationships/tags" Target="../tags/tag171.xml"/><Relationship Id="rId7" Type="http://schemas.openxmlformats.org/officeDocument/2006/relationships/tags" Target="../tags/tag175.xml"/><Relationship Id="rId12" Type="http://schemas.openxmlformats.org/officeDocument/2006/relationships/image" Target="../media/image2.png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11" Type="http://schemas.openxmlformats.org/officeDocument/2006/relationships/image" Target="../media/image38.emf"/><Relationship Id="rId5" Type="http://schemas.openxmlformats.org/officeDocument/2006/relationships/tags" Target="../tags/tag173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172.xml"/><Relationship Id="rId9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12" Type="http://schemas.openxmlformats.org/officeDocument/2006/relationships/image" Target="../media/image2.png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tags" Target="../tags/tag182.xml"/><Relationship Id="rId11" Type="http://schemas.openxmlformats.org/officeDocument/2006/relationships/image" Target="../media/image36.emf"/><Relationship Id="rId5" Type="http://schemas.openxmlformats.org/officeDocument/2006/relationships/tags" Target="../tags/tag181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80.xml"/><Relationship Id="rId9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8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5" Type="http://schemas.openxmlformats.org/officeDocument/2006/relationships/tags" Target="../tags/tag189.xml"/><Relationship Id="rId10" Type="http://schemas.openxmlformats.org/officeDocument/2006/relationships/image" Target="../media/image2.png"/><Relationship Id="rId4" Type="http://schemas.openxmlformats.org/officeDocument/2006/relationships/tags" Target="../tags/tag188.xml"/><Relationship Id="rId9" Type="http://schemas.openxmlformats.org/officeDocument/2006/relationships/image" Target="../media/image37.emf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93.xml"/><Relationship Id="rId7" Type="http://schemas.openxmlformats.org/officeDocument/2006/relationships/image" Target="../media/image37.emf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94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theglobalfund.org/" TargetMode="External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6.svg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image" Target="../media/image4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7.bin"/><Relationship Id="rId9" Type="http://schemas.openxmlformats.org/officeDocument/2006/relationships/image" Target="../media/image6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6.svg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16184FD-CBC9-4FF3-9E0A-C45F563991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087962978" name="image" descr="{&quot;templafy&quot;:{&quot;id&quot;:&quot;e858da4f-aeff-4351-a888-4b335f815c8b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575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2544" userDrawn="1">
          <p15:clr>
            <a:srgbClr val="FF96FF"/>
          </p15:clr>
        </p15:guide>
        <p15:guide id="7" pos="2680" userDrawn="1">
          <p15:clr>
            <a:srgbClr val="FF96FF"/>
          </p15:clr>
        </p15:guide>
        <p15:guide id="8" pos="4999" userDrawn="1">
          <p15:clr>
            <a:srgbClr val="FF96FF"/>
          </p15:clr>
        </p15:guide>
        <p15:guide id="9" pos="5135" userDrawn="1">
          <p15:clr>
            <a:srgbClr val="FF96FF"/>
          </p15:clr>
        </p15:guide>
        <p15:guide id="10" pos="7453" userDrawn="1">
          <p15:clr>
            <a:srgbClr val="FF96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E69EA47E-6C41-451E-8DD8-8768C8368E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816D06E-260D-4306-8191-C5566E1881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426C92-CA81-4B45-B228-1C41F86F27C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3691388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5919FEF-E4FE-46B9-870E-59E4FE9C06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5919FEF-E4FE-46B9-870E-59E4FE9C06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vert="horz" anchor="ctr" anchorCtr="0">
            <a:noAutofit/>
          </a:bodyPr>
          <a:lstStyle>
            <a:lvl1pPr algn="l" rtl="0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16184FD-CBC9-4FF3-9E0A-C45F563991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 rtl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910133317" name="image" descr="{&quot;templafy&quot;:{&quot;id&quot;:&quot;9cfd9b76-dd04-4a6a-8924-08a02373e5a2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416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4" y="1947863"/>
            <a:ext cx="5626100" cy="4002087"/>
          </a:xfrm>
        </p:spPr>
        <p:txBody>
          <a:bodyPr numCol="1"/>
          <a:lstStyle>
            <a:lvl1pPr marL="447675" indent="-447675">
              <a:buFont typeface="+mj-lt"/>
              <a:buAutoNum type="arabicPeriod"/>
              <a:defRPr/>
            </a:lvl1pPr>
            <a:lvl2pPr marL="447675" indent="0">
              <a:buFont typeface="Arial" panose="020B0604020202020204" pitchFamily="34" charset="0"/>
              <a:buNone/>
              <a:defRPr/>
            </a:lvl2pPr>
            <a:lvl3pPr marL="447675" indent="0">
              <a:buFont typeface="Arial" panose="020B0604020202020204" pitchFamily="34" charset="0"/>
              <a:buNone/>
              <a:defRPr sz="2000"/>
            </a:lvl3pPr>
            <a:lvl4pPr marL="447675" indent="0">
              <a:buFont typeface="Arial" panose="020B0604020202020204" pitchFamily="34" charset="0"/>
              <a:buNone/>
              <a:defRPr sz="2000"/>
            </a:lvl4pPr>
            <a:lvl5pPr marL="447675" indent="0">
              <a:buFont typeface="Arial" panose="020B0604020202020204" pitchFamily="34" charset="0"/>
              <a:buNone/>
              <a:defRPr sz="2000"/>
            </a:lvl5pPr>
          </a:lstStyle>
          <a:p>
            <a:pPr lvl="0"/>
            <a:r>
              <a:rPr lang="en-US"/>
              <a:t>Add section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agenda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1285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3771" userDrawn="1">
          <p15:clr>
            <a:srgbClr val="FF96FF"/>
          </p15:clr>
        </p15:guide>
        <p15:guide id="7" pos="3908" userDrawn="1">
          <p15:clr>
            <a:srgbClr val="FF96FF"/>
          </p15:clr>
        </p15:guide>
        <p15:guide id="8" pos="7453" userDrawn="1">
          <p15:clr>
            <a:srgbClr val="FF96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11471275" cy="4002087"/>
          </a:xfrm>
        </p:spPr>
        <p:txBody>
          <a:bodyPr numCol="2"/>
          <a:lstStyle>
            <a:lvl1pPr marL="447675" indent="-447675">
              <a:buFont typeface="+mj-lt"/>
              <a:buAutoNum type="arabicPeriod"/>
              <a:defRPr/>
            </a:lvl1pPr>
            <a:lvl2pPr marL="447675" indent="0">
              <a:buFont typeface="Arial" panose="020B0604020202020204" pitchFamily="34" charset="0"/>
              <a:buNone/>
              <a:defRPr/>
            </a:lvl2pPr>
            <a:lvl3pPr marL="447675" indent="0">
              <a:buFont typeface="Arial" panose="020B0604020202020204" pitchFamily="34" charset="0"/>
              <a:buNone/>
              <a:defRPr sz="2000"/>
            </a:lvl3pPr>
            <a:lvl4pPr marL="447675" indent="0">
              <a:buFont typeface="Arial" panose="020B0604020202020204" pitchFamily="34" charset="0"/>
              <a:buNone/>
              <a:defRPr sz="2000"/>
            </a:lvl4pPr>
            <a:lvl5pPr marL="447675" indent="0">
              <a:buFont typeface="Arial" panose="020B0604020202020204" pitchFamily="34" charset="0"/>
              <a:buNone/>
              <a:defRPr sz="2000"/>
            </a:lvl5pPr>
          </a:lstStyle>
          <a:p>
            <a:pPr lvl="0"/>
            <a:r>
              <a:rPr lang="en-US"/>
              <a:t>Add section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agenda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92039B-F1A2-4FDE-A65A-56F1642D689D}"/>
              </a:ext>
            </a:extLst>
          </p:cNvPr>
          <p:cNvCxnSpPr>
            <a:cxnSpLocks/>
          </p:cNvCxnSpPr>
          <p:nvPr userDrawn="1"/>
        </p:nvCxnSpPr>
        <p:spPr>
          <a:xfrm>
            <a:off x="6203950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2943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3771" userDrawn="1">
          <p15:clr>
            <a:srgbClr val="FF96FF"/>
          </p15:clr>
        </p15:guide>
        <p15:guide id="7" pos="3908" userDrawn="1">
          <p15:clr>
            <a:srgbClr val="FF96FF"/>
          </p15:clr>
        </p15:guide>
        <p15:guide id="8" pos="7453" userDrawn="1">
          <p15:clr>
            <a:srgbClr val="FF96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11471275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F7789E-3BDD-456A-8B4E-D05A3BEA3719}"/>
              </a:ext>
            </a:extLst>
          </p:cNvPr>
          <p:cNvCxnSpPr/>
          <p:nvPr userDrawn="1"/>
        </p:nvCxnSpPr>
        <p:spPr>
          <a:xfrm>
            <a:off x="358775" y="1798911"/>
            <a:ext cx="1147286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6744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3771" userDrawn="1">
          <p15:clr>
            <a:srgbClr val="FF96FF"/>
          </p15:clr>
        </p15:guide>
        <p15:guide id="7" pos="3908" userDrawn="1">
          <p15:clr>
            <a:srgbClr val="FF96FF"/>
          </p15:clr>
        </p15:guide>
        <p15:guide id="8" pos="7453" userDrawn="1">
          <p15:clr>
            <a:srgbClr val="FF96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0072E2-535B-45DE-A724-F7BE6D7347E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03639" y="1947863"/>
            <a:ext cx="5627999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5627999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1512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3771" userDrawn="1">
          <p15:clr>
            <a:srgbClr val="FF96FF"/>
          </p15:clr>
        </p15:guide>
        <p15:guide id="7" pos="3908" userDrawn="1">
          <p15:clr>
            <a:srgbClr val="FF96FF"/>
          </p15:clr>
        </p15:guide>
        <p15:guide id="8" pos="7453" userDrawn="1">
          <p15:clr>
            <a:srgbClr val="FF96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1/3 -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9639" y="1947325"/>
            <a:ext cx="3678237" cy="401056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34EDB7-6D95-41C7-98E2-50E9A314BEC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254500" y="1947324"/>
            <a:ext cx="7575999" cy="401056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DE99CC-1193-4724-B97A-63B084C7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2800772-5DC2-4428-A9AB-6886540164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03F7134-E454-4438-88AC-D186E1F59979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4A72D3E-ED9E-487D-8E75-BDE8764D0F2A}"/>
              </a:ext>
            </a:extLst>
          </p:cNvPr>
          <p:cNvCxnSpPr>
            <a:cxnSpLocks/>
          </p:cNvCxnSpPr>
          <p:nvPr userDrawn="1"/>
        </p:nvCxnSpPr>
        <p:spPr>
          <a:xfrm>
            <a:off x="4254500" y="1798911"/>
            <a:ext cx="75790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9773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2544" userDrawn="1">
          <p15:clr>
            <a:srgbClr val="FF96FF"/>
          </p15:clr>
        </p15:guide>
        <p15:guide id="7" pos="2680" userDrawn="1">
          <p15:clr>
            <a:srgbClr val="FF96FF"/>
          </p15:clr>
        </p15:guide>
        <p15:guide id="8" pos="4999" userDrawn="1">
          <p15:clr>
            <a:srgbClr val="FF96FF"/>
          </p15:clr>
        </p15:guide>
        <p15:guide id="9" pos="5135" userDrawn="1">
          <p15:clr>
            <a:srgbClr val="FF96FF"/>
          </p15:clr>
        </p15:guide>
        <p15:guide id="10" pos="7453" userDrawn="1">
          <p15:clr>
            <a:srgbClr val="FF96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D415900-5670-4A00-8CEC-6DFA5D5748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725" y="694690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308136-A193-42AF-B4F8-0FE8DD01F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EE95C7-8261-4980-A6A7-1FCF4A6DE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CA73A4EF-33F6-433B-9F35-5BB6B3C7B2A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C0CB55A-7479-40ED-89A1-53B04326727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1990725"/>
            <a:ext cx="5626100" cy="17795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1FBE7EB6-23B8-4042-9882-DF407708EA5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001" y="4179088"/>
            <a:ext cx="5626100" cy="1779588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DD28430F-2DC6-4B69-BDBC-F973117F63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4001" y="1992089"/>
            <a:ext cx="5626100" cy="1779588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32B5A710-CB0F-4BC5-8082-1CBE8A24808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4001" y="4179088"/>
            <a:ext cx="5626100" cy="1779588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80A491E-47F6-45BF-A924-5EA71B7C7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A5F7C43A-4B76-400E-95CB-C88610641FD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A7C6F75-47E5-4F2E-92C5-475D6C76AD3D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FE475C4-5A0E-470E-B51E-CEBEB03A703D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CAC31F0-1F31-4AFD-8F00-38DDCF90A1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3994424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E9297BE-4964-47FC-AF8B-898DB2EE6301}"/>
              </a:ext>
            </a:extLst>
          </p:cNvPr>
          <p:cNvCxnSpPr>
            <a:cxnSpLocks/>
          </p:cNvCxnSpPr>
          <p:nvPr userDrawn="1"/>
        </p:nvCxnSpPr>
        <p:spPr>
          <a:xfrm>
            <a:off x="6203950" y="3994424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1322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2375" userDrawn="1">
          <p15:clr>
            <a:srgbClr val="FF96FF"/>
          </p15:clr>
        </p15:guide>
        <p15:guide id="5" orient="horz" pos="2511" userDrawn="1">
          <p15:clr>
            <a:srgbClr val="FF96FF"/>
          </p15:clr>
        </p15:guide>
        <p15:guide id="6" orient="horz" pos="3753" userDrawn="1">
          <p15:clr>
            <a:srgbClr val="FF96FF"/>
          </p15:clr>
        </p15:guide>
        <p15:guide id="7" pos="226" userDrawn="1">
          <p15:clr>
            <a:srgbClr val="FF96FF"/>
          </p15:clr>
        </p15:guide>
        <p15:guide id="8" pos="3771" userDrawn="1">
          <p15:clr>
            <a:srgbClr val="FF96FF"/>
          </p15:clr>
        </p15:guide>
        <p15:guide id="9" pos="3908" userDrawn="1">
          <p15:clr>
            <a:srgbClr val="FF96FF"/>
          </p15:clr>
        </p15:guide>
        <p15:guide id="10" pos="7453" userDrawn="1">
          <p15:clr>
            <a:srgbClr val="FF96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269875"/>
            <a:ext cx="8549050" cy="5688125"/>
          </a:xfrm>
        </p:spPr>
        <p:txBody>
          <a:bodyPr/>
          <a:lstStyle>
            <a:lvl1pPr marL="0" indent="0">
              <a:buNone/>
              <a:defRPr sz="3200"/>
            </a:lvl1pPr>
            <a:lvl2pPr marL="0" indent="0">
              <a:buNone/>
              <a:defRPr sz="3200"/>
            </a:lvl2pPr>
            <a:lvl3pPr marL="0" indent="0">
              <a:buNone/>
              <a:defRPr sz="2400"/>
            </a:lvl3pPr>
            <a:lvl4pPr marL="0" indent="0">
              <a:buNone/>
              <a:defRPr sz="2400"/>
            </a:lvl4pPr>
            <a:lvl5pPr marL="0" indent="0">
              <a:buNone/>
              <a:defRPr sz="2400"/>
            </a:lvl5pPr>
          </a:lstStyle>
          <a:p>
            <a:pPr lvl="0"/>
            <a:r>
              <a:rPr lang="en-US"/>
              <a:t>Add statem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893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1931" userDrawn="1">
          <p15:clr>
            <a:srgbClr val="FF96FF"/>
          </p15:clr>
        </p15:guide>
        <p15:guide id="7" pos="2067" userDrawn="1">
          <p15:clr>
            <a:srgbClr val="FF96FF"/>
          </p15:clr>
        </p15:guide>
        <p15:guide id="8" pos="3771" userDrawn="1">
          <p15:clr>
            <a:srgbClr val="FF96FF"/>
          </p15:clr>
        </p15:guide>
        <p15:guide id="9" pos="3908" userDrawn="1">
          <p15:clr>
            <a:srgbClr val="FF96FF"/>
          </p15:clr>
        </p15:guide>
        <p15:guide id="10" pos="5612" userDrawn="1">
          <p15:clr>
            <a:srgbClr val="FF96FF"/>
          </p15:clr>
        </p15:guide>
        <p15:guide id="11" pos="5748" userDrawn="1">
          <p15:clr>
            <a:srgbClr val="FF96FF"/>
          </p15:clr>
        </p15:guide>
        <p15:guide id="12" pos="7453" userDrawn="1">
          <p15:clr>
            <a:srgbClr val="FF96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11471275" cy="4002087"/>
          </a:xfrm>
        </p:spPr>
        <p:txBody>
          <a:bodyPr/>
          <a:lstStyle>
            <a:lvl1pPr marL="447675" indent="-447675">
              <a:buFont typeface="+mj-lt"/>
              <a:buAutoNum type="arabicPeriod"/>
              <a:defRPr/>
            </a:lvl1pPr>
            <a:lvl2pPr marL="447675" indent="0">
              <a:buFont typeface="Arial" panose="020B0604020202020204" pitchFamily="34" charset="0"/>
              <a:buNone/>
              <a:defRPr/>
            </a:lvl2pPr>
            <a:lvl3pPr marL="447675" indent="0">
              <a:buFont typeface="Arial" panose="020B0604020202020204" pitchFamily="34" charset="0"/>
              <a:buNone/>
              <a:defRPr sz="2000"/>
            </a:lvl3pPr>
            <a:lvl4pPr marL="447675" indent="0">
              <a:buFont typeface="Arial" panose="020B0604020202020204" pitchFamily="34" charset="0"/>
              <a:buNone/>
              <a:defRPr sz="2000"/>
            </a:lvl4pPr>
            <a:lvl5pPr marL="447675" indent="0">
              <a:buFont typeface="Arial" panose="020B0604020202020204" pitchFamily="34" charset="0"/>
              <a:buNone/>
              <a:defRPr sz="2000"/>
            </a:lvl5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92039B-F1A2-4FDE-A65A-56F1642D689D}"/>
              </a:ext>
            </a:extLst>
          </p:cNvPr>
          <p:cNvCxnSpPr>
            <a:cxnSpLocks/>
          </p:cNvCxnSpPr>
          <p:nvPr userDrawn="1"/>
        </p:nvCxnSpPr>
        <p:spPr>
          <a:xfrm>
            <a:off x="6203950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0131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3771" userDrawn="1">
          <p15:clr>
            <a:srgbClr val="FF96FF"/>
          </p15:clr>
        </p15:guide>
        <p15:guide id="7" pos="3908" userDrawn="1">
          <p15:clr>
            <a:srgbClr val="FF96FF"/>
          </p15:clr>
        </p15:guide>
        <p15:guide id="8" pos="7453" userDrawn="1">
          <p15:clr>
            <a:srgbClr val="FF96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9639" y="3463301"/>
            <a:ext cx="3678237" cy="1438209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CADCDFA-40D3-4FE8-8482-2352DB54BCE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60363" y="1817888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7BFC6C2-0944-41C4-A1F8-DBF51C90720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253776" y="3463301"/>
            <a:ext cx="3678237" cy="144574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980C40B3-D75F-4C27-8F65-9B5C0A68B32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54500" y="1817888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362638D-6D6F-4355-AD1C-5B82AC48292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47189" y="3463301"/>
            <a:ext cx="3678237" cy="14657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EB21BCFD-8E2F-4F1B-86E7-41F1317ED1E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47913" y="1817888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74B85C6-BEF9-4ADA-A489-A0B4FF5689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0001" y="5080500"/>
            <a:ext cx="3678237" cy="877888"/>
          </a:xfrm>
        </p:spPr>
        <p:txBody>
          <a:bodyPr/>
          <a:lstStyle>
            <a:lvl1pPr marL="0" indent="0">
              <a:buNone/>
              <a:defRPr sz="7200"/>
            </a:lvl1pPr>
            <a:lvl2pPr marL="0" indent="0">
              <a:buNone/>
              <a:defRPr sz="7200"/>
            </a:lvl2pPr>
            <a:lvl3pPr marL="0" indent="0">
              <a:buNone/>
              <a:defRPr sz="7200"/>
            </a:lvl3pPr>
            <a:lvl4pPr marL="0" indent="0">
              <a:buNone/>
              <a:defRPr sz="7200"/>
            </a:lvl4pPr>
            <a:lvl5pPr marL="0" indent="0">
              <a:buNone/>
              <a:defRPr sz="7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018407E5-6E6D-4F09-B91C-72513303E8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56000" y="5080500"/>
            <a:ext cx="3678237" cy="877888"/>
          </a:xfrm>
        </p:spPr>
        <p:txBody>
          <a:bodyPr/>
          <a:lstStyle>
            <a:lvl1pPr marL="0" indent="0">
              <a:buNone/>
              <a:defRPr sz="7200"/>
            </a:lvl1pPr>
            <a:lvl2pPr marL="0" indent="0">
              <a:buNone/>
              <a:defRPr sz="7200"/>
            </a:lvl2pPr>
            <a:lvl3pPr marL="0" indent="0">
              <a:buNone/>
              <a:defRPr sz="7200"/>
            </a:lvl3pPr>
            <a:lvl4pPr marL="0" indent="0">
              <a:buNone/>
              <a:defRPr sz="7200"/>
            </a:lvl4pPr>
            <a:lvl5pPr marL="0" indent="0">
              <a:buNone/>
              <a:defRPr sz="7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2BCB50A8-00F6-4AE3-8876-B966A2F7B5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52000" y="5080500"/>
            <a:ext cx="3678237" cy="877888"/>
          </a:xfrm>
        </p:spPr>
        <p:txBody>
          <a:bodyPr/>
          <a:lstStyle>
            <a:lvl1pPr marL="0" indent="0">
              <a:buNone/>
              <a:defRPr sz="7200"/>
            </a:lvl1pPr>
            <a:lvl2pPr marL="0" indent="0">
              <a:buNone/>
              <a:defRPr sz="7200"/>
            </a:lvl2pPr>
            <a:lvl3pPr marL="0" indent="0">
              <a:buNone/>
              <a:defRPr sz="7200"/>
            </a:lvl3pPr>
            <a:lvl4pPr marL="0" indent="0">
              <a:buNone/>
              <a:defRPr sz="7200"/>
            </a:lvl4pPr>
            <a:lvl5pPr marL="0" indent="0">
              <a:buNone/>
              <a:defRPr sz="7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AE9A54B-53A1-4875-849F-D52831CDD1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1627A9DD-9A45-4FE5-86D5-7683C39397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D6C75EF-3540-433C-8334-6F285BDB9FE7}"/>
              </a:ext>
            </a:extLst>
          </p:cNvPr>
          <p:cNvCxnSpPr>
            <a:cxnSpLocks/>
          </p:cNvCxnSpPr>
          <p:nvPr userDrawn="1"/>
        </p:nvCxnSpPr>
        <p:spPr>
          <a:xfrm>
            <a:off x="358775" y="3256236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79CD8C9-909F-491D-9740-1993F522A2AE}"/>
              </a:ext>
            </a:extLst>
          </p:cNvPr>
          <p:cNvCxnSpPr>
            <a:cxnSpLocks/>
          </p:cNvCxnSpPr>
          <p:nvPr userDrawn="1"/>
        </p:nvCxnSpPr>
        <p:spPr>
          <a:xfrm>
            <a:off x="8147189" y="3256236"/>
            <a:ext cx="368634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F514217-1803-4DAB-AA3A-C7CEC59F6FB2}"/>
              </a:ext>
            </a:extLst>
          </p:cNvPr>
          <p:cNvCxnSpPr>
            <a:cxnSpLocks/>
          </p:cNvCxnSpPr>
          <p:nvPr userDrawn="1"/>
        </p:nvCxnSpPr>
        <p:spPr>
          <a:xfrm>
            <a:off x="4256088" y="3256236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2648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2544" userDrawn="1">
          <p15:clr>
            <a:srgbClr val="FF96FF"/>
          </p15:clr>
        </p15:guide>
        <p15:guide id="7" pos="2680" userDrawn="1">
          <p15:clr>
            <a:srgbClr val="FF96FF"/>
          </p15:clr>
        </p15:guide>
        <p15:guide id="8" pos="4999" userDrawn="1">
          <p15:clr>
            <a:srgbClr val="FF96FF"/>
          </p15:clr>
        </p15:guide>
        <p15:guide id="9" pos="5135" userDrawn="1">
          <p15:clr>
            <a:srgbClr val="FF96FF"/>
          </p15:clr>
        </p15:guide>
        <p15:guide id="10" pos="7453" userDrawn="1">
          <p15:clr>
            <a:srgbClr val="FF96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541351A2-CEC3-4AEC-8236-A5FB8016D6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71DB77D-2F07-40F6-BC00-A91E707946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819740346" name="image" descr="{&quot;templafy&quot;:{&quot;id&quot;:&quot;68428251-c7c0-4d31-9e14-d98c662cd6b3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70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2544" userDrawn="1">
          <p15:clr>
            <a:srgbClr val="FF96FF"/>
          </p15:clr>
        </p15:guide>
        <p15:guide id="7" pos="2680" userDrawn="1">
          <p15:clr>
            <a:srgbClr val="FF96FF"/>
          </p15:clr>
        </p15:guide>
        <p15:guide id="8" pos="4999" userDrawn="1">
          <p15:clr>
            <a:srgbClr val="FF96FF"/>
          </p15:clr>
        </p15:guide>
        <p15:guide id="9" pos="5135" userDrawn="1">
          <p15:clr>
            <a:srgbClr val="FF96FF"/>
          </p15:clr>
        </p15:guide>
        <p15:guide id="10" pos="7453" userDrawn="1">
          <p15:clr>
            <a:srgbClr val="FF96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F37376-B2FD-48AB-B025-33847E15C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7FE9DC-36B2-4EF6-81B3-FF56730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43519EE6-2DD5-48FE-8028-EC40E46E618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B0AE5F-0AD7-45BF-A186-F70AD8B574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798638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0522132-8E3B-49B8-A485-CEE1F2CAFD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81363" y="1798638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FD453A3-DDDB-4208-BE70-083FE24E99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03951" y="1798638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BB11E91-3DE4-48AE-B64C-741B09D47C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26539" y="1797051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id="{50962EFB-4349-46BD-8CA6-22D2BD2A65A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5" y="3027363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32">
            <a:extLst>
              <a:ext uri="{FF2B5EF4-FFF2-40B4-BE49-F238E27FC236}">
                <a16:creationId xmlns:a16="http://schemas.microsoft.com/office/drawing/2014/main" id="{62D66E2E-2FE0-4D07-8B76-1EE08A9199A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281363" y="3027362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32">
            <a:extLst>
              <a:ext uri="{FF2B5EF4-FFF2-40B4-BE49-F238E27FC236}">
                <a16:creationId xmlns:a16="http://schemas.microsoft.com/office/drawing/2014/main" id="{47115789-4D0A-4CCE-8671-6273B0381B0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03950" y="3027363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2">
            <a:extLst>
              <a:ext uri="{FF2B5EF4-FFF2-40B4-BE49-F238E27FC236}">
                <a16:creationId xmlns:a16="http://schemas.microsoft.com/office/drawing/2014/main" id="{79F26C1F-5758-4A52-A55F-85316A7B4CD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124950" y="3027361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04D6D7E-5B6A-4D30-807B-84F2D80F2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825E8E79-5239-4CEE-ADD6-D4B6F35018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29706EB-0973-44F7-B89F-839FA7D5AD2A}"/>
              </a:ext>
            </a:extLst>
          </p:cNvPr>
          <p:cNvCxnSpPr/>
          <p:nvPr userDrawn="1"/>
        </p:nvCxnSpPr>
        <p:spPr>
          <a:xfrm>
            <a:off x="3176269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DCC7303-2429-4E29-8CDE-1D1807376E92}"/>
              </a:ext>
            </a:extLst>
          </p:cNvPr>
          <p:cNvCxnSpPr/>
          <p:nvPr userDrawn="1"/>
        </p:nvCxnSpPr>
        <p:spPr>
          <a:xfrm>
            <a:off x="6090557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D030F71-7192-4E9A-B664-DDFE7CBE7BA3}"/>
              </a:ext>
            </a:extLst>
          </p:cNvPr>
          <p:cNvCxnSpPr/>
          <p:nvPr userDrawn="1"/>
        </p:nvCxnSpPr>
        <p:spPr>
          <a:xfrm>
            <a:off x="9024257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3989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1931" userDrawn="1">
          <p15:clr>
            <a:srgbClr val="FF96FF"/>
          </p15:clr>
        </p15:guide>
        <p15:guide id="7" pos="2067" userDrawn="1">
          <p15:clr>
            <a:srgbClr val="FF96FF"/>
          </p15:clr>
        </p15:guide>
        <p15:guide id="8" pos="3771" userDrawn="1">
          <p15:clr>
            <a:srgbClr val="FF96FF"/>
          </p15:clr>
        </p15:guide>
        <p15:guide id="9" pos="3908" userDrawn="1">
          <p15:clr>
            <a:srgbClr val="FF96FF"/>
          </p15:clr>
        </p15:guide>
        <p15:guide id="10" pos="5612" userDrawn="1">
          <p15:clr>
            <a:srgbClr val="FF96FF"/>
          </p15:clr>
        </p15:guide>
        <p15:guide id="11" pos="5748" userDrawn="1">
          <p15:clr>
            <a:srgbClr val="FF96FF"/>
          </p15:clr>
        </p15:guide>
        <p15:guide id="12" pos="7453" userDrawn="1">
          <p15:clr>
            <a:srgbClr val="FF96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1A47700-3237-48CD-894B-F3605A03528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03950" y="0"/>
            <a:ext cx="5988050" cy="6858000"/>
          </a:xfrm>
        </p:spPr>
        <p:txBody>
          <a:bodyPr tIns="144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28B228-E5B9-4DB5-A4AC-57DC32B1D1A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58464" y="1947863"/>
            <a:ext cx="5627999" cy="401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6AFC1A-7411-46B5-810D-D905542FAEA1}"/>
              </a:ext>
            </a:extLst>
          </p:cNvPr>
          <p:cNvCxnSpPr>
            <a:cxnSpLocks/>
          </p:cNvCxnSpPr>
          <p:nvPr userDrawn="1"/>
        </p:nvCxnSpPr>
        <p:spPr>
          <a:xfrm>
            <a:off x="358464" y="1798638"/>
            <a:ext cx="5627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5996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3771" userDrawn="1">
          <p15:clr>
            <a:srgbClr val="FF96FF"/>
          </p15:clr>
        </p15:guide>
        <p15:guide id="7" pos="3908" userDrawn="1">
          <p15:clr>
            <a:srgbClr val="FF96FF"/>
          </p15:clr>
        </p15:guide>
        <p15:guide id="8" pos="7453" userDrawn="1">
          <p15:clr>
            <a:srgbClr val="FF96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Caption and 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1933575"/>
            <a:ext cx="3636000" cy="40171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49B141A-9BA5-4A19-A0FC-DA5123F1D46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03949" y="0"/>
            <a:ext cx="5988051" cy="5116513"/>
          </a:xfrm>
        </p:spPr>
        <p:txBody>
          <a:bodyPr tIns="108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014382-B193-4639-B430-DDBDD3C02A7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D65E8-94C5-4A7B-9132-01DCD114871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6C4400-E6ED-4D35-8BA3-E01FDEC0B4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03950" y="5276850"/>
            <a:ext cx="5627688" cy="681038"/>
          </a:xfr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2pPr>
            <a:lvl3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3pPr>
            <a:lvl4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4pPr>
            <a:lvl5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Add notes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5833C665-39F1-4A75-BF27-CE9EADE6B4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11948" y="1933574"/>
            <a:ext cx="1774515" cy="40171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51FC172-A618-4D33-986D-4DB159A40683}"/>
              </a:ext>
            </a:extLst>
          </p:cNvPr>
          <p:cNvCxnSpPr>
            <a:cxnSpLocks/>
          </p:cNvCxnSpPr>
          <p:nvPr userDrawn="1"/>
        </p:nvCxnSpPr>
        <p:spPr>
          <a:xfrm>
            <a:off x="358464" y="1798638"/>
            <a:ext cx="36375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422B339-6A22-4BE5-A2CA-235B2C90E22F}"/>
              </a:ext>
            </a:extLst>
          </p:cNvPr>
          <p:cNvCxnSpPr>
            <a:cxnSpLocks/>
          </p:cNvCxnSpPr>
          <p:nvPr userDrawn="1"/>
        </p:nvCxnSpPr>
        <p:spPr>
          <a:xfrm>
            <a:off x="4211948" y="1798638"/>
            <a:ext cx="17745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87718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3771" userDrawn="1">
          <p15:clr>
            <a:srgbClr val="FF96FF"/>
          </p15:clr>
        </p15:guide>
        <p15:guide id="7" pos="3908" userDrawn="1">
          <p15:clr>
            <a:srgbClr val="FF96FF"/>
          </p15:clr>
        </p15:guide>
        <p15:guide id="8" pos="7453" userDrawn="1">
          <p15:clr>
            <a:srgbClr val="FF96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Ca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1933575"/>
            <a:ext cx="3636000" cy="40243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49B141A-9BA5-4A19-A0FC-DA5123F1D46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03949" y="0"/>
            <a:ext cx="5988051" cy="6858000"/>
          </a:xfrm>
        </p:spPr>
        <p:txBody>
          <a:bodyPr tIns="108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AA74B35-B540-4B3C-9D8F-817164847D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11948" y="1933574"/>
            <a:ext cx="1774515" cy="40243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C64633-7D3D-4F87-8DBB-3884A55B8BA3}"/>
              </a:ext>
            </a:extLst>
          </p:cNvPr>
          <p:cNvCxnSpPr>
            <a:cxnSpLocks/>
          </p:cNvCxnSpPr>
          <p:nvPr userDrawn="1"/>
        </p:nvCxnSpPr>
        <p:spPr>
          <a:xfrm>
            <a:off x="358464" y="1798638"/>
            <a:ext cx="36375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566F7B9-AC7A-43B8-8EA2-35264308E6E0}"/>
              </a:ext>
            </a:extLst>
          </p:cNvPr>
          <p:cNvCxnSpPr>
            <a:cxnSpLocks/>
          </p:cNvCxnSpPr>
          <p:nvPr userDrawn="1"/>
        </p:nvCxnSpPr>
        <p:spPr>
          <a:xfrm>
            <a:off x="4211948" y="1798638"/>
            <a:ext cx="17745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24826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3771" userDrawn="1">
          <p15:clr>
            <a:srgbClr val="FF96FF"/>
          </p15:clr>
        </p15:guide>
        <p15:guide id="7" pos="3908" userDrawn="1">
          <p15:clr>
            <a:srgbClr val="FF96FF"/>
          </p15:clr>
        </p15:guide>
        <p15:guide id="8" pos="7453" userDrawn="1">
          <p15:clr>
            <a:srgbClr val="FF96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7C579B-417E-4225-9C3E-B7DC3D5AF0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Guides" hidden="1">
            <a:extLst>
              <a:ext uri="{FF2B5EF4-FFF2-40B4-BE49-F238E27FC236}">
                <a16:creationId xmlns:a16="http://schemas.microsoft.com/office/drawing/2014/main" id="{AE293D12-3575-4044-B77C-740363754EDD}"/>
              </a:ext>
            </a:extLst>
          </p:cNvPr>
          <p:cNvSpPr/>
          <p:nvPr userDrawn="1"/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0665364-8FDD-4EEB-8935-38E9CC0C0A0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</p:spTree>
    <p:extLst>
      <p:ext uri="{BB962C8B-B14F-4D97-AF65-F5344CB8AC3E}">
        <p14:creationId xmlns:p14="http://schemas.microsoft.com/office/powerpoint/2010/main" val="22622292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306638" y="0"/>
            <a:ext cx="9885362" cy="68580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35711"/>
            <a:ext cx="1732000" cy="40815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972A1B9-9317-49E0-94A8-DED1FC1E693B}"/>
              </a:ext>
            </a:extLst>
          </p:cNvPr>
          <p:cNvCxnSpPr>
            <a:cxnSpLocks/>
          </p:cNvCxnSpPr>
          <p:nvPr userDrawn="1"/>
        </p:nvCxnSpPr>
        <p:spPr>
          <a:xfrm>
            <a:off x="358775" y="2698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793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1317" userDrawn="1">
          <p15:clr>
            <a:srgbClr val="FF96FF"/>
          </p15:clr>
        </p15:guide>
        <p15:guide id="7" pos="1453" userDrawn="1">
          <p15:clr>
            <a:srgbClr val="FF96FF"/>
          </p15:clr>
        </p15:guide>
        <p15:guide id="8" pos="2544" userDrawn="1">
          <p15:clr>
            <a:srgbClr val="FF96FF"/>
          </p15:clr>
        </p15:guide>
        <p15:guide id="9" pos="2680" userDrawn="1">
          <p15:clr>
            <a:srgbClr val="FF96FF"/>
          </p15:clr>
        </p15:guide>
        <p15:guide id="10" pos="3771" userDrawn="1">
          <p15:clr>
            <a:srgbClr val="FF96FF"/>
          </p15:clr>
        </p15:guide>
        <p15:guide id="11" pos="3908" userDrawn="1">
          <p15:clr>
            <a:srgbClr val="FF96FF"/>
          </p15:clr>
        </p15:guide>
        <p15:guide id="12" pos="4999" userDrawn="1">
          <p15:clr>
            <a:srgbClr val="FF96FF"/>
          </p15:clr>
        </p15:guide>
        <p15:guide id="13" pos="5135" userDrawn="1">
          <p15:clr>
            <a:srgbClr val="FF96FF"/>
          </p15:clr>
        </p15:guide>
        <p15:guide id="14" pos="6226" userDrawn="1">
          <p15:clr>
            <a:srgbClr val="FF96FF"/>
          </p15:clr>
        </p15:guide>
        <p15:guide id="15" pos="6362" userDrawn="1">
          <p15:clr>
            <a:srgbClr val="FF96FF"/>
          </p15:clr>
        </p15:guide>
        <p15:guide id="16" pos="7453" userDrawn="1">
          <p15:clr>
            <a:srgbClr val="FF96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4491775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99276" y="4890575"/>
            <a:ext cx="1732000" cy="10673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▲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12F1A23-2FB0-4130-A2FF-259BFB6E4D44}"/>
              </a:ext>
            </a:extLst>
          </p:cNvPr>
          <p:cNvCxnSpPr>
            <a:cxnSpLocks/>
          </p:cNvCxnSpPr>
          <p:nvPr userDrawn="1"/>
        </p:nvCxnSpPr>
        <p:spPr>
          <a:xfrm>
            <a:off x="10099276" y="47127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2940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t Screen Picture and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35711"/>
            <a:ext cx="1732000" cy="40815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sp>
        <p:nvSpPr>
          <p:cNvPr id="296" name="Picture Placeholder 295">
            <a:extLst>
              <a:ext uri="{FF2B5EF4-FFF2-40B4-BE49-F238E27FC236}">
                <a16:creationId xmlns:a16="http://schemas.microsoft.com/office/drawing/2014/main" id="{41AB6888-D532-42E9-A06A-F92BB89855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580845" y="352425"/>
            <a:ext cx="9611155" cy="6505574"/>
          </a:xfrm>
          <a:custGeom>
            <a:avLst/>
            <a:gdLst>
              <a:gd name="connsiteX0" fmla="*/ 1169593 w 9907829"/>
              <a:gd name="connsiteY0" fmla="*/ 6629618 h 6706386"/>
              <a:gd name="connsiteX1" fmla="*/ 1309450 w 9907829"/>
              <a:gd name="connsiteY1" fmla="*/ 6687585 h 6706386"/>
              <a:gd name="connsiteX2" fmla="*/ 1322130 w 9907829"/>
              <a:gd name="connsiteY2" fmla="*/ 6706386 h 6706386"/>
              <a:gd name="connsiteX3" fmla="*/ 1017056 w 9907829"/>
              <a:gd name="connsiteY3" fmla="*/ 6706386 h 6706386"/>
              <a:gd name="connsiteX4" fmla="*/ 1029737 w 9907829"/>
              <a:gd name="connsiteY4" fmla="*/ 6687585 h 6706386"/>
              <a:gd name="connsiteX5" fmla="*/ 1169593 w 9907829"/>
              <a:gd name="connsiteY5" fmla="*/ 6629618 h 6706386"/>
              <a:gd name="connsiteX6" fmla="*/ 55237 w 9907829"/>
              <a:gd name="connsiteY6" fmla="*/ 6215347 h 6706386"/>
              <a:gd name="connsiteX7" fmla="*/ 55307 w 9907829"/>
              <a:gd name="connsiteY7" fmla="*/ 6215361 h 6706386"/>
              <a:gd name="connsiteX8" fmla="*/ 76965 w 9907829"/>
              <a:gd name="connsiteY8" fmla="*/ 6219732 h 6706386"/>
              <a:gd name="connsiteX9" fmla="*/ 110472 w 9907829"/>
              <a:gd name="connsiteY9" fmla="*/ 6270583 h 6706386"/>
              <a:gd name="connsiteX10" fmla="*/ 55237 w 9907829"/>
              <a:gd name="connsiteY10" fmla="*/ 6325821 h 6706386"/>
              <a:gd name="connsiteX11" fmla="*/ 33871 w 9907829"/>
              <a:gd name="connsiteY11" fmla="*/ 6321525 h 6706386"/>
              <a:gd name="connsiteX12" fmla="*/ 33795 w 9907829"/>
              <a:gd name="connsiteY12" fmla="*/ 6321474 h 6706386"/>
              <a:gd name="connsiteX13" fmla="*/ 33600 w 9907829"/>
              <a:gd name="connsiteY13" fmla="*/ 6321435 h 6706386"/>
              <a:gd name="connsiteX14" fmla="*/ 24284 w 9907829"/>
              <a:gd name="connsiteY14" fmla="*/ 6315109 h 6706386"/>
              <a:gd name="connsiteX15" fmla="*/ 16299 w 9907829"/>
              <a:gd name="connsiteY15" fmla="*/ 6309763 h 6706386"/>
              <a:gd name="connsiteX16" fmla="*/ 16253 w 9907829"/>
              <a:gd name="connsiteY16" fmla="*/ 6309654 h 6706386"/>
              <a:gd name="connsiteX17" fmla="*/ 16058 w 9907829"/>
              <a:gd name="connsiteY17" fmla="*/ 6309523 h 6706386"/>
              <a:gd name="connsiteX18" fmla="*/ 0 w 9907829"/>
              <a:gd name="connsiteY18" fmla="*/ 6270583 h 6706386"/>
              <a:gd name="connsiteX19" fmla="*/ 16058 w 9907829"/>
              <a:gd name="connsiteY19" fmla="*/ 6231646 h 6706386"/>
              <a:gd name="connsiteX20" fmla="*/ 16253 w 9907829"/>
              <a:gd name="connsiteY20" fmla="*/ 6231513 h 6706386"/>
              <a:gd name="connsiteX21" fmla="*/ 16299 w 9907829"/>
              <a:gd name="connsiteY21" fmla="*/ 6231404 h 6706386"/>
              <a:gd name="connsiteX22" fmla="*/ 24276 w 9907829"/>
              <a:gd name="connsiteY22" fmla="*/ 6226065 h 6706386"/>
              <a:gd name="connsiteX23" fmla="*/ 33600 w 9907829"/>
              <a:gd name="connsiteY23" fmla="*/ 6219732 h 6706386"/>
              <a:gd name="connsiteX24" fmla="*/ 33795 w 9907829"/>
              <a:gd name="connsiteY24" fmla="*/ 6219693 h 6706386"/>
              <a:gd name="connsiteX25" fmla="*/ 33871 w 9907829"/>
              <a:gd name="connsiteY25" fmla="*/ 6219642 h 6706386"/>
              <a:gd name="connsiteX26" fmla="*/ 55202 w 9907829"/>
              <a:gd name="connsiteY26" fmla="*/ 6215355 h 6706386"/>
              <a:gd name="connsiteX27" fmla="*/ 612736 w 9907829"/>
              <a:gd name="connsiteY27" fmla="*/ 6148550 h 6706386"/>
              <a:gd name="connsiteX28" fmla="*/ 734770 w 9907829"/>
              <a:gd name="connsiteY28" fmla="*/ 6270583 h 6706386"/>
              <a:gd name="connsiteX29" fmla="*/ 612736 w 9907829"/>
              <a:gd name="connsiteY29" fmla="*/ 6392617 h 6706386"/>
              <a:gd name="connsiteX30" fmla="*/ 490703 w 9907829"/>
              <a:gd name="connsiteY30" fmla="*/ 6270583 h 6706386"/>
              <a:gd name="connsiteX31" fmla="*/ 612736 w 9907829"/>
              <a:gd name="connsiteY31" fmla="*/ 6148550 h 6706386"/>
              <a:gd name="connsiteX32" fmla="*/ 1169594 w 9907829"/>
              <a:gd name="connsiteY32" fmla="*/ 6059273 h 6706386"/>
              <a:gd name="connsiteX33" fmla="*/ 1380904 w 9907829"/>
              <a:gd name="connsiteY33" fmla="*/ 6270583 h 6706386"/>
              <a:gd name="connsiteX34" fmla="*/ 1380838 w 9907829"/>
              <a:gd name="connsiteY34" fmla="*/ 6270905 h 6706386"/>
              <a:gd name="connsiteX35" fmla="*/ 1380904 w 9907829"/>
              <a:gd name="connsiteY35" fmla="*/ 6271227 h 6706386"/>
              <a:gd name="connsiteX36" fmla="*/ 1169594 w 9907829"/>
              <a:gd name="connsiteY36" fmla="*/ 6482537 h 6706386"/>
              <a:gd name="connsiteX37" fmla="*/ 958283 w 9907829"/>
              <a:gd name="connsiteY37" fmla="*/ 6271227 h 6706386"/>
              <a:gd name="connsiteX38" fmla="*/ 958349 w 9907829"/>
              <a:gd name="connsiteY38" fmla="*/ 6270905 h 6706386"/>
              <a:gd name="connsiteX39" fmla="*/ 958283 w 9907829"/>
              <a:gd name="connsiteY39" fmla="*/ 6270583 h 6706386"/>
              <a:gd name="connsiteX40" fmla="*/ 1169594 w 9907829"/>
              <a:gd name="connsiteY40" fmla="*/ 6059273 h 6706386"/>
              <a:gd name="connsiteX41" fmla="*/ 55237 w 9907829"/>
              <a:gd name="connsiteY41" fmla="*/ 5658490 h 6706386"/>
              <a:gd name="connsiteX42" fmla="*/ 55274 w 9907829"/>
              <a:gd name="connsiteY42" fmla="*/ 5658497 h 6706386"/>
              <a:gd name="connsiteX43" fmla="*/ 76604 w 9907829"/>
              <a:gd name="connsiteY43" fmla="*/ 5662785 h 6706386"/>
              <a:gd name="connsiteX44" fmla="*/ 76679 w 9907829"/>
              <a:gd name="connsiteY44" fmla="*/ 5662836 h 6706386"/>
              <a:gd name="connsiteX45" fmla="*/ 76875 w 9907829"/>
              <a:gd name="connsiteY45" fmla="*/ 5662875 h 6706386"/>
              <a:gd name="connsiteX46" fmla="*/ 86311 w 9907829"/>
              <a:gd name="connsiteY46" fmla="*/ 5669282 h 6706386"/>
              <a:gd name="connsiteX47" fmla="*/ 94175 w 9907829"/>
              <a:gd name="connsiteY47" fmla="*/ 5674547 h 6706386"/>
              <a:gd name="connsiteX48" fmla="*/ 94219 w 9907829"/>
              <a:gd name="connsiteY48" fmla="*/ 5674653 h 6706386"/>
              <a:gd name="connsiteX49" fmla="*/ 94417 w 9907829"/>
              <a:gd name="connsiteY49" fmla="*/ 5674787 h 6706386"/>
              <a:gd name="connsiteX50" fmla="*/ 110472 w 9907829"/>
              <a:gd name="connsiteY50" fmla="*/ 5713725 h 6706386"/>
              <a:gd name="connsiteX51" fmla="*/ 94417 w 9907829"/>
              <a:gd name="connsiteY51" fmla="*/ 5752664 h 6706386"/>
              <a:gd name="connsiteX52" fmla="*/ 94219 w 9907829"/>
              <a:gd name="connsiteY52" fmla="*/ 5752798 h 6706386"/>
              <a:gd name="connsiteX53" fmla="*/ 94175 w 9907829"/>
              <a:gd name="connsiteY53" fmla="*/ 5752904 h 6706386"/>
              <a:gd name="connsiteX54" fmla="*/ 86269 w 9907829"/>
              <a:gd name="connsiteY54" fmla="*/ 5758197 h 6706386"/>
              <a:gd name="connsiteX55" fmla="*/ 76874 w 9907829"/>
              <a:gd name="connsiteY55" fmla="*/ 5764576 h 6706386"/>
              <a:gd name="connsiteX56" fmla="*/ 76679 w 9907829"/>
              <a:gd name="connsiteY56" fmla="*/ 5764616 h 6706386"/>
              <a:gd name="connsiteX57" fmla="*/ 76604 w 9907829"/>
              <a:gd name="connsiteY57" fmla="*/ 5764666 h 6706386"/>
              <a:gd name="connsiteX58" fmla="*/ 55237 w 9907829"/>
              <a:gd name="connsiteY58" fmla="*/ 5768962 h 6706386"/>
              <a:gd name="connsiteX59" fmla="*/ 33871 w 9907829"/>
              <a:gd name="connsiteY59" fmla="*/ 5764666 h 6706386"/>
              <a:gd name="connsiteX60" fmla="*/ 33795 w 9907829"/>
              <a:gd name="connsiteY60" fmla="*/ 5764616 h 6706386"/>
              <a:gd name="connsiteX61" fmla="*/ 33600 w 9907829"/>
              <a:gd name="connsiteY61" fmla="*/ 5764576 h 6706386"/>
              <a:gd name="connsiteX62" fmla="*/ 24251 w 9907829"/>
              <a:gd name="connsiteY62" fmla="*/ 5758228 h 6706386"/>
              <a:gd name="connsiteX63" fmla="*/ 16299 w 9907829"/>
              <a:gd name="connsiteY63" fmla="*/ 5752904 h 6706386"/>
              <a:gd name="connsiteX64" fmla="*/ 16255 w 9907829"/>
              <a:gd name="connsiteY64" fmla="*/ 5752797 h 6706386"/>
              <a:gd name="connsiteX65" fmla="*/ 16058 w 9907829"/>
              <a:gd name="connsiteY65" fmla="*/ 5752664 h 6706386"/>
              <a:gd name="connsiteX66" fmla="*/ 0 w 9907829"/>
              <a:gd name="connsiteY66" fmla="*/ 5713725 h 6706386"/>
              <a:gd name="connsiteX67" fmla="*/ 16058 w 9907829"/>
              <a:gd name="connsiteY67" fmla="*/ 5674787 h 6706386"/>
              <a:gd name="connsiteX68" fmla="*/ 16255 w 9907829"/>
              <a:gd name="connsiteY68" fmla="*/ 5674654 h 6706386"/>
              <a:gd name="connsiteX69" fmla="*/ 16299 w 9907829"/>
              <a:gd name="connsiteY69" fmla="*/ 5674547 h 6706386"/>
              <a:gd name="connsiteX70" fmla="*/ 24238 w 9907829"/>
              <a:gd name="connsiteY70" fmla="*/ 5669234 h 6706386"/>
              <a:gd name="connsiteX71" fmla="*/ 33600 w 9907829"/>
              <a:gd name="connsiteY71" fmla="*/ 5662875 h 6706386"/>
              <a:gd name="connsiteX72" fmla="*/ 33795 w 9907829"/>
              <a:gd name="connsiteY72" fmla="*/ 5662836 h 6706386"/>
              <a:gd name="connsiteX73" fmla="*/ 33871 w 9907829"/>
              <a:gd name="connsiteY73" fmla="*/ 5662785 h 6706386"/>
              <a:gd name="connsiteX74" fmla="*/ 55202 w 9907829"/>
              <a:gd name="connsiteY74" fmla="*/ 5658497 h 6706386"/>
              <a:gd name="connsiteX75" fmla="*/ 612736 w 9907829"/>
              <a:gd name="connsiteY75" fmla="*/ 5590407 h 6706386"/>
              <a:gd name="connsiteX76" fmla="*/ 736054 w 9907829"/>
              <a:gd name="connsiteY76" fmla="*/ 5713725 h 6706386"/>
              <a:gd name="connsiteX77" fmla="*/ 612736 w 9907829"/>
              <a:gd name="connsiteY77" fmla="*/ 5837044 h 6706386"/>
              <a:gd name="connsiteX78" fmla="*/ 489419 w 9907829"/>
              <a:gd name="connsiteY78" fmla="*/ 5713725 h 6706386"/>
              <a:gd name="connsiteX79" fmla="*/ 612736 w 9907829"/>
              <a:gd name="connsiteY79" fmla="*/ 5590407 h 6706386"/>
              <a:gd name="connsiteX80" fmla="*/ 1163664 w 9907829"/>
              <a:gd name="connsiteY80" fmla="*/ 5500788 h 6706386"/>
              <a:gd name="connsiteX81" fmla="*/ 1168703 w 9907829"/>
              <a:gd name="connsiteY81" fmla="*/ 5501137 h 6706386"/>
              <a:gd name="connsiteX82" fmla="*/ 1169494 w 9907829"/>
              <a:gd name="connsiteY82" fmla="*/ 5500982 h 6706386"/>
              <a:gd name="connsiteX83" fmla="*/ 1171160 w 9907829"/>
              <a:gd name="connsiteY83" fmla="*/ 5501306 h 6706386"/>
              <a:gd name="connsiteX84" fmla="*/ 1205348 w 9907829"/>
              <a:gd name="connsiteY84" fmla="*/ 5503673 h 6706386"/>
              <a:gd name="connsiteX85" fmla="*/ 1228727 w 9907829"/>
              <a:gd name="connsiteY85" fmla="*/ 5512507 h 6706386"/>
              <a:gd name="connsiteX86" fmla="*/ 1249493 w 9907829"/>
              <a:gd name="connsiteY86" fmla="*/ 5516548 h 6706386"/>
              <a:gd name="connsiteX87" fmla="*/ 1262800 w 9907829"/>
              <a:gd name="connsiteY87" fmla="*/ 5525385 h 6706386"/>
              <a:gd name="connsiteX88" fmla="*/ 1281583 w 9907829"/>
              <a:gd name="connsiteY88" fmla="*/ 5532483 h 6706386"/>
              <a:gd name="connsiteX89" fmla="*/ 1302288 w 9907829"/>
              <a:gd name="connsiteY89" fmla="*/ 5551608 h 6706386"/>
              <a:gd name="connsiteX90" fmla="*/ 1319819 w 9907829"/>
              <a:gd name="connsiteY90" fmla="*/ 5563249 h 6706386"/>
              <a:gd name="connsiteX91" fmla="*/ 1327634 w 9907829"/>
              <a:gd name="connsiteY91" fmla="*/ 5575016 h 6706386"/>
              <a:gd name="connsiteX92" fmla="*/ 1341451 w 9907829"/>
              <a:gd name="connsiteY92" fmla="*/ 5587778 h 6706386"/>
              <a:gd name="connsiteX93" fmla="*/ 1353491 w 9907829"/>
              <a:gd name="connsiteY93" fmla="*/ 5613955 h 6706386"/>
              <a:gd name="connsiteX94" fmla="*/ 1366520 w 9907829"/>
              <a:gd name="connsiteY94" fmla="*/ 5633576 h 6706386"/>
              <a:gd name="connsiteX95" fmla="*/ 1369458 w 9907829"/>
              <a:gd name="connsiteY95" fmla="*/ 5648668 h 6706386"/>
              <a:gd name="connsiteX96" fmla="*/ 1376727 w 9907829"/>
              <a:gd name="connsiteY96" fmla="*/ 5664474 h 6706386"/>
              <a:gd name="connsiteX97" fmla="*/ 1377574 w 9907829"/>
              <a:gd name="connsiteY97" fmla="*/ 5690377 h 6706386"/>
              <a:gd name="connsiteX98" fmla="*/ 1382088 w 9907829"/>
              <a:gd name="connsiteY98" fmla="*/ 5713576 h 6706386"/>
              <a:gd name="connsiteX99" fmla="*/ 1378872 w 9907829"/>
              <a:gd name="connsiteY99" fmla="*/ 5730102 h 6706386"/>
              <a:gd name="connsiteX100" fmla="*/ 1379484 w 9907829"/>
              <a:gd name="connsiteY100" fmla="*/ 5748846 h 6706386"/>
              <a:gd name="connsiteX101" fmla="*/ 1370703 w 9907829"/>
              <a:gd name="connsiteY101" fmla="*/ 5772081 h 6706386"/>
              <a:gd name="connsiteX102" fmla="*/ 1366520 w 9907829"/>
              <a:gd name="connsiteY102" fmla="*/ 5793574 h 6706386"/>
              <a:gd name="connsiteX103" fmla="*/ 1357375 w 9907829"/>
              <a:gd name="connsiteY103" fmla="*/ 5807346 h 6706386"/>
              <a:gd name="connsiteX104" fmla="*/ 1350673 w 9907829"/>
              <a:gd name="connsiteY104" fmla="*/ 5825080 h 6706386"/>
              <a:gd name="connsiteX105" fmla="*/ 1332617 w 9907829"/>
              <a:gd name="connsiteY105" fmla="*/ 5844631 h 6706386"/>
              <a:gd name="connsiteX106" fmla="*/ 1319819 w 9907829"/>
              <a:gd name="connsiteY106" fmla="*/ 5863902 h 6706386"/>
              <a:gd name="connsiteX107" fmla="*/ 1306885 w 9907829"/>
              <a:gd name="connsiteY107" fmla="*/ 5872491 h 6706386"/>
              <a:gd name="connsiteX108" fmla="*/ 1295378 w 9907829"/>
              <a:gd name="connsiteY108" fmla="*/ 5884949 h 6706386"/>
              <a:gd name="connsiteX109" fmla="*/ 1271775 w 9907829"/>
              <a:gd name="connsiteY109" fmla="*/ 5895806 h 6706386"/>
              <a:gd name="connsiteX110" fmla="*/ 1249493 w 9907829"/>
              <a:gd name="connsiteY110" fmla="*/ 5910602 h 6706386"/>
              <a:gd name="connsiteX111" fmla="*/ 1232357 w 9907829"/>
              <a:gd name="connsiteY111" fmla="*/ 5913937 h 6706386"/>
              <a:gd name="connsiteX112" fmla="*/ 1218684 w 9907829"/>
              <a:gd name="connsiteY112" fmla="*/ 5920225 h 6706386"/>
              <a:gd name="connsiteX113" fmla="*/ 1175995 w 9907829"/>
              <a:gd name="connsiteY113" fmla="*/ 5925867 h 6706386"/>
              <a:gd name="connsiteX114" fmla="*/ 1172342 w 9907829"/>
              <a:gd name="connsiteY114" fmla="*/ 5925615 h 6706386"/>
              <a:gd name="connsiteX115" fmla="*/ 1169494 w 9907829"/>
              <a:gd name="connsiteY115" fmla="*/ 5926168 h 6706386"/>
              <a:gd name="connsiteX116" fmla="*/ 1163502 w 9907829"/>
              <a:gd name="connsiteY116" fmla="*/ 5925002 h 6706386"/>
              <a:gd name="connsiteX117" fmla="*/ 1134312 w 9907829"/>
              <a:gd name="connsiteY117" fmla="*/ 5922982 h 6706386"/>
              <a:gd name="connsiteX118" fmla="*/ 1114348 w 9907829"/>
              <a:gd name="connsiteY118" fmla="*/ 5915438 h 6706386"/>
              <a:gd name="connsiteX119" fmla="*/ 1089495 w 9907829"/>
              <a:gd name="connsiteY119" fmla="*/ 5910602 h 6706386"/>
              <a:gd name="connsiteX120" fmla="*/ 1073571 w 9907829"/>
              <a:gd name="connsiteY120" fmla="*/ 5900026 h 6706386"/>
              <a:gd name="connsiteX121" fmla="*/ 1058076 w 9907829"/>
              <a:gd name="connsiteY121" fmla="*/ 5894170 h 6706386"/>
              <a:gd name="connsiteX122" fmla="*/ 1040996 w 9907829"/>
              <a:gd name="connsiteY122" fmla="*/ 5878397 h 6706386"/>
              <a:gd name="connsiteX123" fmla="*/ 1019168 w 9907829"/>
              <a:gd name="connsiteY123" fmla="*/ 5863901 h 6706386"/>
              <a:gd name="connsiteX124" fmla="*/ 1009439 w 9907829"/>
              <a:gd name="connsiteY124" fmla="*/ 5849250 h 6706386"/>
              <a:gd name="connsiteX125" fmla="*/ 998208 w 9907829"/>
              <a:gd name="connsiteY125" fmla="*/ 5838876 h 6706386"/>
              <a:gd name="connsiteX126" fmla="*/ 988420 w 9907829"/>
              <a:gd name="connsiteY126" fmla="*/ 5817597 h 6706386"/>
              <a:gd name="connsiteX127" fmla="*/ 972468 w 9907829"/>
              <a:gd name="connsiteY127" fmla="*/ 5793574 h 6706386"/>
              <a:gd name="connsiteX128" fmla="*/ 968872 w 9907829"/>
              <a:gd name="connsiteY128" fmla="*/ 5775098 h 6706386"/>
              <a:gd name="connsiteX129" fmla="*/ 962932 w 9907829"/>
              <a:gd name="connsiteY129" fmla="*/ 5762182 h 6706386"/>
              <a:gd name="connsiteX130" fmla="*/ 962240 w 9907829"/>
              <a:gd name="connsiteY130" fmla="*/ 5741014 h 6706386"/>
              <a:gd name="connsiteX131" fmla="*/ 956901 w 9907829"/>
              <a:gd name="connsiteY131" fmla="*/ 5713576 h 6706386"/>
              <a:gd name="connsiteX132" fmla="*/ 960705 w 9907829"/>
              <a:gd name="connsiteY132" fmla="*/ 5694026 h 6706386"/>
              <a:gd name="connsiteX133" fmla="*/ 960175 w 9907829"/>
              <a:gd name="connsiteY133" fmla="*/ 5677809 h 6706386"/>
              <a:gd name="connsiteX134" fmla="*/ 967773 w 9907829"/>
              <a:gd name="connsiteY134" fmla="*/ 5657705 h 6706386"/>
              <a:gd name="connsiteX135" fmla="*/ 972468 w 9907829"/>
              <a:gd name="connsiteY135" fmla="*/ 5633577 h 6706386"/>
              <a:gd name="connsiteX136" fmla="*/ 982734 w 9907829"/>
              <a:gd name="connsiteY136" fmla="*/ 5618115 h 6706386"/>
              <a:gd name="connsiteX137" fmla="*/ 988986 w 9907829"/>
              <a:gd name="connsiteY137" fmla="*/ 5601574 h 6706386"/>
              <a:gd name="connsiteX138" fmla="*/ 1005827 w 9907829"/>
              <a:gd name="connsiteY138" fmla="*/ 5583340 h 6706386"/>
              <a:gd name="connsiteX139" fmla="*/ 1019168 w 9907829"/>
              <a:gd name="connsiteY139" fmla="*/ 5563249 h 6706386"/>
              <a:gd name="connsiteX140" fmla="*/ 1032653 w 9907829"/>
              <a:gd name="connsiteY140" fmla="*/ 5554295 h 6706386"/>
              <a:gd name="connsiteX141" fmla="*/ 1044281 w 9907829"/>
              <a:gd name="connsiteY141" fmla="*/ 5541705 h 6706386"/>
              <a:gd name="connsiteX142" fmla="*/ 1068135 w 9907829"/>
              <a:gd name="connsiteY142" fmla="*/ 5530733 h 6706386"/>
              <a:gd name="connsiteX143" fmla="*/ 1089496 w 9907829"/>
              <a:gd name="connsiteY143" fmla="*/ 5516549 h 6706386"/>
              <a:gd name="connsiteX144" fmla="*/ 1105926 w 9907829"/>
              <a:gd name="connsiteY144" fmla="*/ 5513352 h 6706386"/>
              <a:gd name="connsiteX145" fmla="*/ 1120975 w 9907829"/>
              <a:gd name="connsiteY145" fmla="*/ 5506430 h 6706386"/>
              <a:gd name="connsiteX146" fmla="*/ 1163664 w 9907829"/>
              <a:gd name="connsiteY146" fmla="*/ 5500788 h 6706386"/>
              <a:gd name="connsiteX147" fmla="*/ 55236 w 9907829"/>
              <a:gd name="connsiteY147" fmla="*/ 5103558 h 6706386"/>
              <a:gd name="connsiteX148" fmla="*/ 108546 w 9907829"/>
              <a:gd name="connsiteY148" fmla="*/ 5156867 h 6706386"/>
              <a:gd name="connsiteX149" fmla="*/ 55236 w 9907829"/>
              <a:gd name="connsiteY149" fmla="*/ 5210177 h 6706386"/>
              <a:gd name="connsiteX150" fmla="*/ 1928 w 9907829"/>
              <a:gd name="connsiteY150" fmla="*/ 5156867 h 6706386"/>
              <a:gd name="connsiteX151" fmla="*/ 55236 w 9907829"/>
              <a:gd name="connsiteY151" fmla="*/ 5103558 h 6706386"/>
              <a:gd name="connsiteX152" fmla="*/ 612737 w 9907829"/>
              <a:gd name="connsiteY152" fmla="*/ 5039330 h 6706386"/>
              <a:gd name="connsiteX153" fmla="*/ 729632 w 9907829"/>
              <a:gd name="connsiteY153" fmla="*/ 5156225 h 6706386"/>
              <a:gd name="connsiteX154" fmla="*/ 729567 w 9907829"/>
              <a:gd name="connsiteY154" fmla="*/ 5156546 h 6706386"/>
              <a:gd name="connsiteX155" fmla="*/ 729632 w 9907829"/>
              <a:gd name="connsiteY155" fmla="*/ 5156868 h 6706386"/>
              <a:gd name="connsiteX156" fmla="*/ 612737 w 9907829"/>
              <a:gd name="connsiteY156" fmla="*/ 5273763 h 6706386"/>
              <a:gd name="connsiteX157" fmla="*/ 495841 w 9907829"/>
              <a:gd name="connsiteY157" fmla="*/ 5156868 h 6706386"/>
              <a:gd name="connsiteX158" fmla="*/ 495906 w 9907829"/>
              <a:gd name="connsiteY158" fmla="*/ 5156546 h 6706386"/>
              <a:gd name="connsiteX159" fmla="*/ 495841 w 9907829"/>
              <a:gd name="connsiteY159" fmla="*/ 5156225 h 6706386"/>
              <a:gd name="connsiteX160" fmla="*/ 612737 w 9907829"/>
              <a:gd name="connsiteY160" fmla="*/ 5039330 h 6706386"/>
              <a:gd name="connsiteX161" fmla="*/ 1169613 w 9907829"/>
              <a:gd name="connsiteY161" fmla="*/ 4950499 h 6706386"/>
              <a:gd name="connsiteX162" fmla="*/ 1195685 w 9907829"/>
              <a:gd name="connsiteY162" fmla="*/ 4955573 h 6706386"/>
              <a:gd name="connsiteX163" fmla="*/ 1216778 w 9907829"/>
              <a:gd name="connsiteY163" fmla="*/ 4956262 h 6706386"/>
              <a:gd name="connsiteX164" fmla="*/ 1229649 w 9907829"/>
              <a:gd name="connsiteY164" fmla="*/ 4962181 h 6706386"/>
              <a:gd name="connsiteX165" fmla="*/ 1247196 w 9907829"/>
              <a:gd name="connsiteY165" fmla="*/ 4965595 h 6706386"/>
              <a:gd name="connsiteX166" fmla="*/ 1270009 w 9907829"/>
              <a:gd name="connsiteY166" fmla="*/ 4980745 h 6706386"/>
              <a:gd name="connsiteX167" fmla="*/ 1291155 w 9907829"/>
              <a:gd name="connsiteY167" fmla="*/ 4990472 h 6706386"/>
              <a:gd name="connsiteX168" fmla="*/ 1301465 w 9907829"/>
              <a:gd name="connsiteY168" fmla="*/ 5001633 h 6706386"/>
              <a:gd name="connsiteX169" fmla="*/ 1315397 w 9907829"/>
              <a:gd name="connsiteY169" fmla="*/ 5010885 h 6706386"/>
              <a:gd name="connsiteX170" fmla="*/ 1329181 w 9907829"/>
              <a:gd name="connsiteY170" fmla="*/ 5031642 h 6706386"/>
              <a:gd name="connsiteX171" fmla="*/ 1344780 w 9907829"/>
              <a:gd name="connsiteY171" fmla="*/ 5048532 h 6706386"/>
              <a:gd name="connsiteX172" fmla="*/ 1350571 w 9907829"/>
              <a:gd name="connsiteY172" fmla="*/ 5063854 h 6706386"/>
              <a:gd name="connsiteX173" fmla="*/ 1360687 w 9907829"/>
              <a:gd name="connsiteY173" fmla="*/ 5079086 h 6706386"/>
              <a:gd name="connsiteX174" fmla="*/ 1365312 w 9907829"/>
              <a:gd name="connsiteY174" fmla="*/ 5102861 h 6706386"/>
              <a:gd name="connsiteX175" fmla="*/ 1372721 w 9907829"/>
              <a:gd name="connsiteY175" fmla="*/ 5122463 h 6706386"/>
              <a:gd name="connsiteX176" fmla="*/ 1372204 w 9907829"/>
              <a:gd name="connsiteY176" fmla="*/ 5138277 h 6706386"/>
              <a:gd name="connsiteX177" fmla="*/ 1375783 w 9907829"/>
              <a:gd name="connsiteY177" fmla="*/ 5156669 h 6706386"/>
              <a:gd name="connsiteX178" fmla="*/ 1370760 w 9907829"/>
              <a:gd name="connsiteY178" fmla="*/ 5182484 h 6706386"/>
              <a:gd name="connsiteX179" fmla="*/ 1370047 w 9907829"/>
              <a:gd name="connsiteY179" fmla="*/ 5204287 h 6706386"/>
              <a:gd name="connsiteX180" fmla="*/ 1363928 w 9907829"/>
              <a:gd name="connsiteY180" fmla="*/ 5217591 h 6706386"/>
              <a:gd name="connsiteX181" fmla="*/ 1360687 w 9907829"/>
              <a:gd name="connsiteY181" fmla="*/ 5234251 h 6706386"/>
              <a:gd name="connsiteX182" fmla="*/ 1346303 w 9907829"/>
              <a:gd name="connsiteY182" fmla="*/ 5255911 h 6706386"/>
              <a:gd name="connsiteX183" fmla="*/ 1335838 w 9907829"/>
              <a:gd name="connsiteY183" fmla="*/ 5278665 h 6706386"/>
              <a:gd name="connsiteX184" fmla="*/ 1323828 w 9907829"/>
              <a:gd name="connsiteY184" fmla="*/ 5289757 h 6706386"/>
              <a:gd name="connsiteX185" fmla="*/ 1315397 w 9907829"/>
              <a:gd name="connsiteY185" fmla="*/ 5302453 h 6706386"/>
              <a:gd name="connsiteX186" fmla="*/ 1296482 w 9907829"/>
              <a:gd name="connsiteY186" fmla="*/ 5315014 h 6706386"/>
              <a:gd name="connsiteX187" fmla="*/ 1277778 w 9907829"/>
              <a:gd name="connsiteY187" fmla="*/ 5332289 h 6706386"/>
              <a:gd name="connsiteX188" fmla="*/ 1260811 w 9907829"/>
              <a:gd name="connsiteY188" fmla="*/ 5338701 h 6706386"/>
              <a:gd name="connsiteX189" fmla="*/ 1247196 w 9907829"/>
              <a:gd name="connsiteY189" fmla="*/ 5347742 h 6706386"/>
              <a:gd name="connsiteX190" fmla="*/ 1225945 w 9907829"/>
              <a:gd name="connsiteY190" fmla="*/ 5351877 h 6706386"/>
              <a:gd name="connsiteX191" fmla="*/ 1203846 w 9907829"/>
              <a:gd name="connsiteY191" fmla="*/ 5360229 h 6706386"/>
              <a:gd name="connsiteX192" fmla="*/ 1186017 w 9907829"/>
              <a:gd name="connsiteY192" fmla="*/ 5359647 h 6706386"/>
              <a:gd name="connsiteX193" fmla="*/ 1169613 w 9907829"/>
              <a:gd name="connsiteY193" fmla="*/ 5362838 h 6706386"/>
              <a:gd name="connsiteX194" fmla="*/ 1146587 w 9907829"/>
              <a:gd name="connsiteY194" fmla="*/ 5358358 h 6706386"/>
              <a:gd name="connsiteX195" fmla="*/ 1122022 w 9907829"/>
              <a:gd name="connsiteY195" fmla="*/ 5357556 h 6706386"/>
              <a:gd name="connsiteX196" fmla="*/ 1107032 w 9907829"/>
              <a:gd name="connsiteY196" fmla="*/ 5350662 h 6706386"/>
              <a:gd name="connsiteX197" fmla="*/ 1092031 w 9907829"/>
              <a:gd name="connsiteY197" fmla="*/ 5347742 h 6706386"/>
              <a:gd name="connsiteX198" fmla="*/ 1072527 w 9907829"/>
              <a:gd name="connsiteY198" fmla="*/ 5334791 h 6706386"/>
              <a:gd name="connsiteX199" fmla="*/ 1047644 w 9907829"/>
              <a:gd name="connsiteY199" fmla="*/ 5323346 h 6706386"/>
              <a:gd name="connsiteX200" fmla="*/ 1035514 w 9907829"/>
              <a:gd name="connsiteY200" fmla="*/ 5310212 h 6706386"/>
              <a:gd name="connsiteX201" fmla="*/ 1023829 w 9907829"/>
              <a:gd name="connsiteY201" fmla="*/ 5302453 h 6706386"/>
              <a:gd name="connsiteX202" fmla="*/ 1012269 w 9907829"/>
              <a:gd name="connsiteY202" fmla="*/ 5285044 h 6706386"/>
              <a:gd name="connsiteX203" fmla="*/ 994020 w 9907829"/>
              <a:gd name="connsiteY203" fmla="*/ 5265285 h 6706386"/>
              <a:gd name="connsiteX204" fmla="*/ 987246 w 9907829"/>
              <a:gd name="connsiteY204" fmla="*/ 5247363 h 6706386"/>
              <a:gd name="connsiteX205" fmla="*/ 978540 w 9907829"/>
              <a:gd name="connsiteY205" fmla="*/ 5234251 h 6706386"/>
              <a:gd name="connsiteX206" fmla="*/ 974558 w 9907829"/>
              <a:gd name="connsiteY206" fmla="*/ 5213789 h 6706386"/>
              <a:gd name="connsiteX207" fmla="*/ 966080 w 9907829"/>
              <a:gd name="connsiteY207" fmla="*/ 5191355 h 6706386"/>
              <a:gd name="connsiteX208" fmla="*/ 966671 w 9907829"/>
              <a:gd name="connsiteY208" fmla="*/ 5173257 h 6706386"/>
              <a:gd name="connsiteX209" fmla="*/ 963444 w 9907829"/>
              <a:gd name="connsiteY209" fmla="*/ 5156669 h 6706386"/>
              <a:gd name="connsiteX210" fmla="*/ 967974 w 9907829"/>
              <a:gd name="connsiteY210" fmla="*/ 5133385 h 6706386"/>
              <a:gd name="connsiteX211" fmla="*/ 968753 w 9907829"/>
              <a:gd name="connsiteY211" fmla="*/ 5109531 h 6706386"/>
              <a:gd name="connsiteX212" fmla="*/ 976245 w 9907829"/>
              <a:gd name="connsiteY212" fmla="*/ 5090879 h 6706386"/>
              <a:gd name="connsiteX213" fmla="*/ 978540 w 9907829"/>
              <a:gd name="connsiteY213" fmla="*/ 5079086 h 6706386"/>
              <a:gd name="connsiteX214" fmla="*/ 984720 w 9907829"/>
              <a:gd name="connsiteY214" fmla="*/ 5069781 h 6706386"/>
              <a:gd name="connsiteX215" fmla="*/ 991864 w 9907829"/>
              <a:gd name="connsiteY215" fmla="*/ 5051994 h 6706386"/>
              <a:gd name="connsiteX216" fmla="*/ 1017963 w 9907829"/>
              <a:gd name="connsiteY216" fmla="*/ 5019720 h 6706386"/>
              <a:gd name="connsiteX217" fmla="*/ 1023829 w 9907829"/>
              <a:gd name="connsiteY217" fmla="*/ 5010885 h 6706386"/>
              <a:gd name="connsiteX218" fmla="*/ 1026588 w 9907829"/>
              <a:gd name="connsiteY218" fmla="*/ 5009053 h 6706386"/>
              <a:gd name="connsiteX219" fmla="*/ 1029511 w 9907829"/>
              <a:gd name="connsiteY219" fmla="*/ 5005438 h 6706386"/>
              <a:gd name="connsiteX220" fmla="*/ 1078330 w 9907829"/>
              <a:gd name="connsiteY220" fmla="*/ 4971943 h 6706386"/>
              <a:gd name="connsiteX221" fmla="*/ 1086423 w 9907829"/>
              <a:gd name="connsiteY221" fmla="*/ 4969319 h 6706386"/>
              <a:gd name="connsiteX222" fmla="*/ 1092031 w 9907829"/>
              <a:gd name="connsiteY222" fmla="*/ 4965595 h 6706386"/>
              <a:gd name="connsiteX223" fmla="*/ 1106743 w 9907829"/>
              <a:gd name="connsiteY223" fmla="*/ 4962733 h 6706386"/>
              <a:gd name="connsiteX224" fmla="*/ 1134954 w 9907829"/>
              <a:gd name="connsiteY224" fmla="*/ 4953588 h 6706386"/>
              <a:gd name="connsiteX225" fmla="*/ 1151038 w 9907829"/>
              <a:gd name="connsiteY225" fmla="*/ 4954113 h 6706386"/>
              <a:gd name="connsiteX226" fmla="*/ 55236 w 9907829"/>
              <a:gd name="connsiteY226" fmla="*/ 4551839 h 6706386"/>
              <a:gd name="connsiteX227" fmla="*/ 102766 w 9907829"/>
              <a:gd name="connsiteY227" fmla="*/ 4599368 h 6706386"/>
              <a:gd name="connsiteX228" fmla="*/ 102633 w 9907829"/>
              <a:gd name="connsiteY228" fmla="*/ 4599689 h 6706386"/>
              <a:gd name="connsiteX229" fmla="*/ 102766 w 9907829"/>
              <a:gd name="connsiteY229" fmla="*/ 4600011 h 6706386"/>
              <a:gd name="connsiteX230" fmla="*/ 55236 w 9907829"/>
              <a:gd name="connsiteY230" fmla="*/ 4647540 h 6706386"/>
              <a:gd name="connsiteX231" fmla="*/ 7709 w 9907829"/>
              <a:gd name="connsiteY231" fmla="*/ 4600011 h 6706386"/>
              <a:gd name="connsiteX232" fmla="*/ 7841 w 9907829"/>
              <a:gd name="connsiteY232" fmla="*/ 4599690 h 6706386"/>
              <a:gd name="connsiteX233" fmla="*/ 7709 w 9907829"/>
              <a:gd name="connsiteY233" fmla="*/ 4599368 h 6706386"/>
              <a:gd name="connsiteX234" fmla="*/ 55236 w 9907829"/>
              <a:gd name="connsiteY234" fmla="*/ 4551839 h 6706386"/>
              <a:gd name="connsiteX235" fmla="*/ 612736 w 9907829"/>
              <a:gd name="connsiteY235" fmla="*/ 4495318 h 6706386"/>
              <a:gd name="connsiteX236" fmla="*/ 716785 w 9907829"/>
              <a:gd name="connsiteY236" fmla="*/ 4599368 h 6706386"/>
              <a:gd name="connsiteX237" fmla="*/ 716721 w 9907829"/>
              <a:gd name="connsiteY237" fmla="*/ 4599689 h 6706386"/>
              <a:gd name="connsiteX238" fmla="*/ 716785 w 9907829"/>
              <a:gd name="connsiteY238" fmla="*/ 4600011 h 6706386"/>
              <a:gd name="connsiteX239" fmla="*/ 612736 w 9907829"/>
              <a:gd name="connsiteY239" fmla="*/ 4704060 h 6706386"/>
              <a:gd name="connsiteX240" fmla="*/ 508686 w 9907829"/>
              <a:gd name="connsiteY240" fmla="*/ 4600011 h 6706386"/>
              <a:gd name="connsiteX241" fmla="*/ 508751 w 9907829"/>
              <a:gd name="connsiteY241" fmla="*/ 4599689 h 6706386"/>
              <a:gd name="connsiteX242" fmla="*/ 508686 w 9907829"/>
              <a:gd name="connsiteY242" fmla="*/ 4599368 h 6706386"/>
              <a:gd name="connsiteX243" fmla="*/ 612736 w 9907829"/>
              <a:gd name="connsiteY243" fmla="*/ 4495318 h 6706386"/>
              <a:gd name="connsiteX244" fmla="*/ 1169593 w 9907829"/>
              <a:gd name="connsiteY244" fmla="*/ 4413107 h 6706386"/>
              <a:gd name="connsiteX245" fmla="*/ 1355855 w 9907829"/>
              <a:gd name="connsiteY245" fmla="*/ 4599368 h 6706386"/>
              <a:gd name="connsiteX246" fmla="*/ 1355790 w 9907829"/>
              <a:gd name="connsiteY246" fmla="*/ 4599689 h 6706386"/>
              <a:gd name="connsiteX247" fmla="*/ 1355855 w 9907829"/>
              <a:gd name="connsiteY247" fmla="*/ 4600009 h 6706386"/>
              <a:gd name="connsiteX248" fmla="*/ 1169593 w 9907829"/>
              <a:gd name="connsiteY248" fmla="*/ 4786271 h 6706386"/>
              <a:gd name="connsiteX249" fmla="*/ 983332 w 9907829"/>
              <a:gd name="connsiteY249" fmla="*/ 4600009 h 6706386"/>
              <a:gd name="connsiteX250" fmla="*/ 983398 w 9907829"/>
              <a:gd name="connsiteY250" fmla="*/ 4599689 h 6706386"/>
              <a:gd name="connsiteX251" fmla="*/ 983332 w 9907829"/>
              <a:gd name="connsiteY251" fmla="*/ 4599368 h 6706386"/>
              <a:gd name="connsiteX252" fmla="*/ 1169593 w 9907829"/>
              <a:gd name="connsiteY252" fmla="*/ 4413107 h 6706386"/>
              <a:gd name="connsiteX253" fmla="*/ 55236 w 9907829"/>
              <a:gd name="connsiteY253" fmla="*/ 4004616 h 6706386"/>
              <a:gd name="connsiteX254" fmla="*/ 93132 w 9907829"/>
              <a:gd name="connsiteY254" fmla="*/ 4042511 h 6706386"/>
              <a:gd name="connsiteX255" fmla="*/ 92996 w 9907829"/>
              <a:gd name="connsiteY255" fmla="*/ 4042831 h 6706386"/>
              <a:gd name="connsiteX256" fmla="*/ 93132 w 9907829"/>
              <a:gd name="connsiteY256" fmla="*/ 4043152 h 6706386"/>
              <a:gd name="connsiteX257" fmla="*/ 55236 w 9907829"/>
              <a:gd name="connsiteY257" fmla="*/ 4081047 h 6706386"/>
              <a:gd name="connsiteX258" fmla="*/ 17342 w 9907829"/>
              <a:gd name="connsiteY258" fmla="*/ 4043152 h 6706386"/>
              <a:gd name="connsiteX259" fmla="*/ 17479 w 9907829"/>
              <a:gd name="connsiteY259" fmla="*/ 4042833 h 6706386"/>
              <a:gd name="connsiteX260" fmla="*/ 17342 w 9907829"/>
              <a:gd name="connsiteY260" fmla="*/ 4042511 h 6706386"/>
              <a:gd name="connsiteX261" fmla="*/ 55236 w 9907829"/>
              <a:gd name="connsiteY261" fmla="*/ 4004616 h 6706386"/>
              <a:gd name="connsiteX262" fmla="*/ 612736 w 9907829"/>
              <a:gd name="connsiteY262" fmla="*/ 3957728 h 6706386"/>
              <a:gd name="connsiteX263" fmla="*/ 697517 w 9907829"/>
              <a:gd name="connsiteY263" fmla="*/ 4042509 h 6706386"/>
              <a:gd name="connsiteX264" fmla="*/ 697452 w 9907829"/>
              <a:gd name="connsiteY264" fmla="*/ 4042830 h 6706386"/>
              <a:gd name="connsiteX265" fmla="*/ 697517 w 9907829"/>
              <a:gd name="connsiteY265" fmla="*/ 4043152 h 6706386"/>
              <a:gd name="connsiteX266" fmla="*/ 612736 w 9907829"/>
              <a:gd name="connsiteY266" fmla="*/ 4127933 h 6706386"/>
              <a:gd name="connsiteX267" fmla="*/ 527955 w 9907829"/>
              <a:gd name="connsiteY267" fmla="*/ 4043152 h 6706386"/>
              <a:gd name="connsiteX268" fmla="*/ 528019 w 9907829"/>
              <a:gd name="connsiteY268" fmla="*/ 4042830 h 6706386"/>
              <a:gd name="connsiteX269" fmla="*/ 527955 w 9907829"/>
              <a:gd name="connsiteY269" fmla="*/ 4042509 h 6706386"/>
              <a:gd name="connsiteX270" fmla="*/ 612736 w 9907829"/>
              <a:gd name="connsiteY270" fmla="*/ 3957728 h 6706386"/>
              <a:gd name="connsiteX271" fmla="*/ 1169594 w 9907829"/>
              <a:gd name="connsiteY271" fmla="*/ 3880655 h 6706386"/>
              <a:gd name="connsiteX272" fmla="*/ 1331449 w 9907829"/>
              <a:gd name="connsiteY272" fmla="*/ 4042511 h 6706386"/>
              <a:gd name="connsiteX273" fmla="*/ 1331384 w 9907829"/>
              <a:gd name="connsiteY273" fmla="*/ 4042831 h 6706386"/>
              <a:gd name="connsiteX274" fmla="*/ 1331449 w 9907829"/>
              <a:gd name="connsiteY274" fmla="*/ 4043153 h 6706386"/>
              <a:gd name="connsiteX275" fmla="*/ 1169594 w 9907829"/>
              <a:gd name="connsiteY275" fmla="*/ 4205007 h 6706386"/>
              <a:gd name="connsiteX276" fmla="*/ 1007739 w 9907829"/>
              <a:gd name="connsiteY276" fmla="*/ 4043153 h 6706386"/>
              <a:gd name="connsiteX277" fmla="*/ 1007805 w 9907829"/>
              <a:gd name="connsiteY277" fmla="*/ 4042831 h 6706386"/>
              <a:gd name="connsiteX278" fmla="*/ 1007739 w 9907829"/>
              <a:gd name="connsiteY278" fmla="*/ 4042511 h 6706386"/>
              <a:gd name="connsiteX279" fmla="*/ 1169594 w 9907829"/>
              <a:gd name="connsiteY279" fmla="*/ 3880655 h 6706386"/>
              <a:gd name="connsiteX280" fmla="*/ 612736 w 9907829"/>
              <a:gd name="connsiteY280" fmla="*/ 3420142 h 6706386"/>
              <a:gd name="connsiteX281" fmla="*/ 678891 w 9907829"/>
              <a:gd name="connsiteY281" fmla="*/ 3486296 h 6706386"/>
              <a:gd name="connsiteX282" fmla="*/ 678891 w 9907829"/>
              <a:gd name="connsiteY282" fmla="*/ 3486300 h 6706386"/>
              <a:gd name="connsiteX283" fmla="*/ 678891 w 9907829"/>
              <a:gd name="connsiteY283" fmla="*/ 3486302 h 6706386"/>
              <a:gd name="connsiteX284" fmla="*/ 612736 w 9907829"/>
              <a:gd name="connsiteY284" fmla="*/ 3551814 h 6706386"/>
              <a:gd name="connsiteX285" fmla="*/ 546581 w 9907829"/>
              <a:gd name="connsiteY285" fmla="*/ 3486302 h 6706386"/>
              <a:gd name="connsiteX286" fmla="*/ 546582 w 9907829"/>
              <a:gd name="connsiteY286" fmla="*/ 3486300 h 6706386"/>
              <a:gd name="connsiteX287" fmla="*/ 546581 w 9907829"/>
              <a:gd name="connsiteY287" fmla="*/ 3486296 h 6706386"/>
              <a:gd name="connsiteX288" fmla="*/ 546680 w 9907829"/>
              <a:gd name="connsiteY288" fmla="*/ 3485811 h 6706386"/>
              <a:gd name="connsiteX289" fmla="*/ 551769 w 9907829"/>
              <a:gd name="connsiteY289" fmla="*/ 3460250 h 6706386"/>
              <a:gd name="connsiteX290" fmla="*/ 586954 w 9907829"/>
              <a:gd name="connsiteY290" fmla="*/ 3425244 h 6706386"/>
              <a:gd name="connsiteX291" fmla="*/ 611347 w 9907829"/>
              <a:gd name="connsiteY291" fmla="*/ 3420421 h 6706386"/>
              <a:gd name="connsiteX292" fmla="*/ 1169593 w 9907829"/>
              <a:gd name="connsiteY292" fmla="*/ 3357198 h 6706386"/>
              <a:gd name="connsiteX293" fmla="*/ 1219471 w 9907829"/>
              <a:gd name="connsiteY293" fmla="*/ 3367244 h 6706386"/>
              <a:gd name="connsiteX294" fmla="*/ 1219560 w 9907829"/>
              <a:gd name="connsiteY294" fmla="*/ 3367304 h 6706386"/>
              <a:gd name="connsiteX295" fmla="*/ 1219741 w 9907829"/>
              <a:gd name="connsiteY295" fmla="*/ 3367341 h 6706386"/>
              <a:gd name="connsiteX296" fmla="*/ 1240198 w 9907829"/>
              <a:gd name="connsiteY296" fmla="*/ 3381172 h 6706386"/>
              <a:gd name="connsiteX297" fmla="*/ 1260316 w 9907829"/>
              <a:gd name="connsiteY297" fmla="*/ 3394691 h 6706386"/>
              <a:gd name="connsiteX298" fmla="*/ 1260421 w 9907829"/>
              <a:gd name="connsiteY298" fmla="*/ 3394846 h 6706386"/>
              <a:gd name="connsiteX299" fmla="*/ 1260556 w 9907829"/>
              <a:gd name="connsiteY299" fmla="*/ 3394939 h 6706386"/>
              <a:gd name="connsiteX300" fmla="*/ 1272451 w 9907829"/>
              <a:gd name="connsiteY300" fmla="*/ 3412638 h 6706386"/>
              <a:gd name="connsiteX301" fmla="*/ 1287914 w 9907829"/>
              <a:gd name="connsiteY301" fmla="*/ 3435505 h 6706386"/>
              <a:gd name="connsiteX302" fmla="*/ 1287956 w 9907829"/>
              <a:gd name="connsiteY302" fmla="*/ 3435710 h 6706386"/>
              <a:gd name="connsiteX303" fmla="*/ 1288005 w 9907829"/>
              <a:gd name="connsiteY303" fmla="*/ 3435783 h 6706386"/>
              <a:gd name="connsiteX304" fmla="*/ 1297800 w 9907829"/>
              <a:gd name="connsiteY304" fmla="*/ 3484414 h 6706386"/>
              <a:gd name="connsiteX305" fmla="*/ 1298050 w 9907829"/>
              <a:gd name="connsiteY305" fmla="*/ 3485654 h 6706386"/>
              <a:gd name="connsiteX306" fmla="*/ 1298050 w 9907829"/>
              <a:gd name="connsiteY306" fmla="*/ 3485657 h 6706386"/>
              <a:gd name="connsiteX307" fmla="*/ 1298050 w 9907829"/>
              <a:gd name="connsiteY307" fmla="*/ 3485659 h 6706386"/>
              <a:gd name="connsiteX308" fmla="*/ 1297801 w 9907829"/>
              <a:gd name="connsiteY308" fmla="*/ 3486892 h 6706386"/>
              <a:gd name="connsiteX309" fmla="*/ 1288005 w 9907829"/>
              <a:gd name="connsiteY309" fmla="*/ 3535531 h 6706386"/>
              <a:gd name="connsiteX310" fmla="*/ 1287955 w 9907829"/>
              <a:gd name="connsiteY310" fmla="*/ 3535604 h 6706386"/>
              <a:gd name="connsiteX311" fmla="*/ 1287914 w 9907829"/>
              <a:gd name="connsiteY311" fmla="*/ 3535806 h 6706386"/>
              <a:gd name="connsiteX312" fmla="*/ 1272620 w 9907829"/>
              <a:gd name="connsiteY312" fmla="*/ 3558425 h 6706386"/>
              <a:gd name="connsiteX313" fmla="*/ 1260556 w 9907829"/>
              <a:gd name="connsiteY313" fmla="*/ 3576375 h 6706386"/>
              <a:gd name="connsiteX314" fmla="*/ 1260419 w 9907829"/>
              <a:gd name="connsiteY314" fmla="*/ 3576469 h 6706386"/>
              <a:gd name="connsiteX315" fmla="*/ 1260316 w 9907829"/>
              <a:gd name="connsiteY315" fmla="*/ 3576620 h 6706386"/>
              <a:gd name="connsiteX316" fmla="*/ 1240760 w 9907829"/>
              <a:gd name="connsiteY316" fmla="*/ 3589763 h 6706386"/>
              <a:gd name="connsiteX317" fmla="*/ 1219741 w 9907829"/>
              <a:gd name="connsiteY317" fmla="*/ 3603973 h 6706386"/>
              <a:gd name="connsiteX318" fmla="*/ 1219554 w 9907829"/>
              <a:gd name="connsiteY318" fmla="*/ 3604012 h 6706386"/>
              <a:gd name="connsiteX319" fmla="*/ 1219471 w 9907829"/>
              <a:gd name="connsiteY319" fmla="*/ 3604067 h 6706386"/>
              <a:gd name="connsiteX320" fmla="*/ 1169593 w 9907829"/>
              <a:gd name="connsiteY320" fmla="*/ 3614112 h 6706386"/>
              <a:gd name="connsiteX321" fmla="*/ 1168035 w 9907829"/>
              <a:gd name="connsiteY321" fmla="*/ 3613798 h 6706386"/>
              <a:gd name="connsiteX322" fmla="*/ 1119355 w 9907829"/>
              <a:gd name="connsiteY322" fmla="*/ 3604063 h 6706386"/>
              <a:gd name="connsiteX323" fmla="*/ 1050912 w 9907829"/>
              <a:gd name="connsiteY323" fmla="*/ 3535803 h 6706386"/>
              <a:gd name="connsiteX324" fmla="*/ 1041163 w 9907829"/>
              <a:gd name="connsiteY324" fmla="*/ 3485790 h 6706386"/>
              <a:gd name="connsiteX325" fmla="*/ 1041137 w 9907829"/>
              <a:gd name="connsiteY325" fmla="*/ 3485659 h 6706386"/>
              <a:gd name="connsiteX326" fmla="*/ 1041138 w 9907829"/>
              <a:gd name="connsiteY326" fmla="*/ 3485657 h 6706386"/>
              <a:gd name="connsiteX327" fmla="*/ 1041137 w 9907829"/>
              <a:gd name="connsiteY327" fmla="*/ 3485654 h 6706386"/>
              <a:gd name="connsiteX328" fmla="*/ 1041163 w 9907829"/>
              <a:gd name="connsiteY328" fmla="*/ 3485523 h 6706386"/>
              <a:gd name="connsiteX329" fmla="*/ 1050912 w 9907829"/>
              <a:gd name="connsiteY329" fmla="*/ 3435511 h 6706386"/>
              <a:gd name="connsiteX330" fmla="*/ 1119355 w 9907829"/>
              <a:gd name="connsiteY330" fmla="*/ 3367250 h 6706386"/>
              <a:gd name="connsiteX331" fmla="*/ 1166602 w 9907829"/>
              <a:gd name="connsiteY331" fmla="*/ 3357803 h 6706386"/>
              <a:gd name="connsiteX332" fmla="*/ 1726451 w 9907829"/>
              <a:gd name="connsiteY332" fmla="*/ 3271775 h 6706386"/>
              <a:gd name="connsiteX333" fmla="*/ 1940331 w 9907829"/>
              <a:gd name="connsiteY333" fmla="*/ 3485654 h 6706386"/>
              <a:gd name="connsiteX334" fmla="*/ 1940331 w 9907829"/>
              <a:gd name="connsiteY334" fmla="*/ 3485657 h 6706386"/>
              <a:gd name="connsiteX335" fmla="*/ 1940331 w 9907829"/>
              <a:gd name="connsiteY335" fmla="*/ 3485659 h 6706386"/>
              <a:gd name="connsiteX336" fmla="*/ 1726451 w 9907829"/>
              <a:gd name="connsiteY336" fmla="*/ 3699535 h 6706386"/>
              <a:gd name="connsiteX337" fmla="*/ 1512572 w 9907829"/>
              <a:gd name="connsiteY337" fmla="*/ 3485659 h 6706386"/>
              <a:gd name="connsiteX338" fmla="*/ 1512573 w 9907829"/>
              <a:gd name="connsiteY338" fmla="*/ 3485657 h 6706386"/>
              <a:gd name="connsiteX339" fmla="*/ 1512572 w 9907829"/>
              <a:gd name="connsiteY339" fmla="*/ 3485654 h 6706386"/>
              <a:gd name="connsiteX340" fmla="*/ 1726451 w 9907829"/>
              <a:gd name="connsiteY340" fmla="*/ 3271775 h 6706386"/>
              <a:gd name="connsiteX341" fmla="*/ 612736 w 9907829"/>
              <a:gd name="connsiteY341" fmla="*/ 2881269 h 6706386"/>
              <a:gd name="connsiteX342" fmla="*/ 659622 w 9907829"/>
              <a:gd name="connsiteY342" fmla="*/ 2928156 h 6706386"/>
              <a:gd name="connsiteX343" fmla="*/ 659487 w 9907829"/>
              <a:gd name="connsiteY343" fmla="*/ 2928480 h 6706386"/>
              <a:gd name="connsiteX344" fmla="*/ 659622 w 9907829"/>
              <a:gd name="connsiteY344" fmla="*/ 2928804 h 6706386"/>
              <a:gd name="connsiteX345" fmla="*/ 612736 w 9907829"/>
              <a:gd name="connsiteY345" fmla="*/ 2975691 h 6706386"/>
              <a:gd name="connsiteX346" fmla="*/ 579659 w 9907829"/>
              <a:gd name="connsiteY346" fmla="*/ 2961882 h 6706386"/>
              <a:gd name="connsiteX347" fmla="*/ 579503 w 9907829"/>
              <a:gd name="connsiteY347" fmla="*/ 2961508 h 6706386"/>
              <a:gd name="connsiteX348" fmla="*/ 579417 w 9907829"/>
              <a:gd name="connsiteY348" fmla="*/ 2961474 h 6706386"/>
              <a:gd name="connsiteX349" fmla="*/ 576618 w 9907829"/>
              <a:gd name="connsiteY349" fmla="*/ 2954598 h 6706386"/>
              <a:gd name="connsiteX350" fmla="*/ 565849 w 9907829"/>
              <a:gd name="connsiteY350" fmla="*/ 2928804 h 6706386"/>
              <a:gd name="connsiteX351" fmla="*/ 565982 w 9907829"/>
              <a:gd name="connsiteY351" fmla="*/ 2928480 h 6706386"/>
              <a:gd name="connsiteX352" fmla="*/ 565849 w 9907829"/>
              <a:gd name="connsiteY352" fmla="*/ 2928156 h 6706386"/>
              <a:gd name="connsiteX353" fmla="*/ 612736 w 9907829"/>
              <a:gd name="connsiteY353" fmla="*/ 2881269 h 6706386"/>
              <a:gd name="connsiteX354" fmla="*/ 1169593 w 9907829"/>
              <a:gd name="connsiteY354" fmla="*/ 2834388 h 6706386"/>
              <a:gd name="connsiteX355" fmla="*/ 1263367 w 9907829"/>
              <a:gd name="connsiteY355" fmla="*/ 2928162 h 6706386"/>
              <a:gd name="connsiteX356" fmla="*/ 1263302 w 9907829"/>
              <a:gd name="connsiteY356" fmla="*/ 2928480 h 6706386"/>
              <a:gd name="connsiteX357" fmla="*/ 1263367 w 9907829"/>
              <a:gd name="connsiteY357" fmla="*/ 2928800 h 6706386"/>
              <a:gd name="connsiteX358" fmla="*/ 1169593 w 9907829"/>
              <a:gd name="connsiteY358" fmla="*/ 3022571 h 6706386"/>
              <a:gd name="connsiteX359" fmla="*/ 1075821 w 9907829"/>
              <a:gd name="connsiteY359" fmla="*/ 2928800 h 6706386"/>
              <a:gd name="connsiteX360" fmla="*/ 1075886 w 9907829"/>
              <a:gd name="connsiteY360" fmla="*/ 2928480 h 6706386"/>
              <a:gd name="connsiteX361" fmla="*/ 1075821 w 9907829"/>
              <a:gd name="connsiteY361" fmla="*/ 2928162 h 6706386"/>
              <a:gd name="connsiteX362" fmla="*/ 1169593 w 9907829"/>
              <a:gd name="connsiteY362" fmla="*/ 2834388 h 6706386"/>
              <a:gd name="connsiteX363" fmla="*/ 1726451 w 9907829"/>
              <a:gd name="connsiteY363" fmla="*/ 2766301 h 6706386"/>
              <a:gd name="connsiteX364" fmla="*/ 1888947 w 9907829"/>
              <a:gd name="connsiteY364" fmla="*/ 2928798 h 6706386"/>
              <a:gd name="connsiteX365" fmla="*/ 1888947 w 9907829"/>
              <a:gd name="connsiteY365" fmla="*/ 2928802 h 6706386"/>
              <a:gd name="connsiteX366" fmla="*/ 1888947 w 9907829"/>
              <a:gd name="connsiteY366" fmla="*/ 2928807 h 6706386"/>
              <a:gd name="connsiteX367" fmla="*/ 1726451 w 9907829"/>
              <a:gd name="connsiteY367" fmla="*/ 3091304 h 6706386"/>
              <a:gd name="connsiteX368" fmla="*/ 1563954 w 9907829"/>
              <a:gd name="connsiteY368" fmla="*/ 2928807 h 6706386"/>
              <a:gd name="connsiteX369" fmla="*/ 1563955 w 9907829"/>
              <a:gd name="connsiteY369" fmla="*/ 2928802 h 6706386"/>
              <a:gd name="connsiteX370" fmla="*/ 1563954 w 9907829"/>
              <a:gd name="connsiteY370" fmla="*/ 2928798 h 6706386"/>
              <a:gd name="connsiteX371" fmla="*/ 1726451 w 9907829"/>
              <a:gd name="connsiteY371" fmla="*/ 2766301 h 6706386"/>
              <a:gd name="connsiteX372" fmla="*/ 1169593 w 9907829"/>
              <a:gd name="connsiteY372" fmla="*/ 2310279 h 6706386"/>
              <a:gd name="connsiteX373" fmla="*/ 1230610 w 9907829"/>
              <a:gd name="connsiteY373" fmla="*/ 2371297 h 6706386"/>
              <a:gd name="connsiteX374" fmla="*/ 1230476 w 9907829"/>
              <a:gd name="connsiteY374" fmla="*/ 2371620 h 6706386"/>
              <a:gd name="connsiteX375" fmla="*/ 1230610 w 9907829"/>
              <a:gd name="connsiteY375" fmla="*/ 2371944 h 6706386"/>
              <a:gd name="connsiteX376" fmla="*/ 1169593 w 9907829"/>
              <a:gd name="connsiteY376" fmla="*/ 2432962 h 6706386"/>
              <a:gd name="connsiteX377" fmla="*/ 1108577 w 9907829"/>
              <a:gd name="connsiteY377" fmla="*/ 2371944 h 6706386"/>
              <a:gd name="connsiteX378" fmla="*/ 1108712 w 9907829"/>
              <a:gd name="connsiteY378" fmla="*/ 2371620 h 6706386"/>
              <a:gd name="connsiteX379" fmla="*/ 1108577 w 9907829"/>
              <a:gd name="connsiteY379" fmla="*/ 2371297 h 6706386"/>
              <a:gd name="connsiteX380" fmla="*/ 1169593 w 9907829"/>
              <a:gd name="connsiteY380" fmla="*/ 2310279 h 6706386"/>
              <a:gd name="connsiteX381" fmla="*/ 1726451 w 9907829"/>
              <a:gd name="connsiteY381" fmla="*/ 2253761 h 6706386"/>
              <a:gd name="connsiteX382" fmla="*/ 1843989 w 9907829"/>
              <a:gd name="connsiteY382" fmla="*/ 2371298 h 6706386"/>
              <a:gd name="connsiteX383" fmla="*/ 1843924 w 9907829"/>
              <a:gd name="connsiteY383" fmla="*/ 2371620 h 6706386"/>
              <a:gd name="connsiteX384" fmla="*/ 1843989 w 9907829"/>
              <a:gd name="connsiteY384" fmla="*/ 2371944 h 6706386"/>
              <a:gd name="connsiteX385" fmla="*/ 1726451 w 9907829"/>
              <a:gd name="connsiteY385" fmla="*/ 2489484 h 6706386"/>
              <a:gd name="connsiteX386" fmla="*/ 1608913 w 9907829"/>
              <a:gd name="connsiteY386" fmla="*/ 2371944 h 6706386"/>
              <a:gd name="connsiteX387" fmla="*/ 1608979 w 9907829"/>
              <a:gd name="connsiteY387" fmla="*/ 2371620 h 6706386"/>
              <a:gd name="connsiteX388" fmla="*/ 1608913 w 9907829"/>
              <a:gd name="connsiteY388" fmla="*/ 2371298 h 6706386"/>
              <a:gd name="connsiteX389" fmla="*/ 1726451 w 9907829"/>
              <a:gd name="connsiteY389" fmla="*/ 2253761 h 6706386"/>
              <a:gd name="connsiteX390" fmla="*/ 2283309 w 9907829"/>
              <a:gd name="connsiteY390" fmla="*/ 2185682 h 6706386"/>
              <a:gd name="connsiteX391" fmla="*/ 2468929 w 9907829"/>
              <a:gd name="connsiteY391" fmla="*/ 2371298 h 6706386"/>
              <a:gd name="connsiteX392" fmla="*/ 2468866 w 9907829"/>
              <a:gd name="connsiteY392" fmla="*/ 2371620 h 6706386"/>
              <a:gd name="connsiteX393" fmla="*/ 2468929 w 9907829"/>
              <a:gd name="connsiteY393" fmla="*/ 2371946 h 6706386"/>
              <a:gd name="connsiteX394" fmla="*/ 2283309 w 9907829"/>
              <a:gd name="connsiteY394" fmla="*/ 2557571 h 6706386"/>
              <a:gd name="connsiteX395" fmla="*/ 2097690 w 9907829"/>
              <a:gd name="connsiteY395" fmla="*/ 2371946 h 6706386"/>
              <a:gd name="connsiteX396" fmla="*/ 2097756 w 9907829"/>
              <a:gd name="connsiteY396" fmla="*/ 2371620 h 6706386"/>
              <a:gd name="connsiteX397" fmla="*/ 2097690 w 9907829"/>
              <a:gd name="connsiteY397" fmla="*/ 2371298 h 6706386"/>
              <a:gd name="connsiteX398" fmla="*/ 2283309 w 9907829"/>
              <a:gd name="connsiteY398" fmla="*/ 2185682 h 6706386"/>
              <a:gd name="connsiteX399" fmla="*/ 1169594 w 9907829"/>
              <a:gd name="connsiteY399" fmla="*/ 1778474 h 6706386"/>
              <a:gd name="connsiteX400" fmla="*/ 1205562 w 9907829"/>
              <a:gd name="connsiteY400" fmla="*/ 1814442 h 6706386"/>
              <a:gd name="connsiteX401" fmla="*/ 1205428 w 9907829"/>
              <a:gd name="connsiteY401" fmla="*/ 1814767 h 6706386"/>
              <a:gd name="connsiteX402" fmla="*/ 1205562 w 9907829"/>
              <a:gd name="connsiteY402" fmla="*/ 1815092 h 6706386"/>
              <a:gd name="connsiteX403" fmla="*/ 1169594 w 9907829"/>
              <a:gd name="connsiteY403" fmla="*/ 1851060 h 6706386"/>
              <a:gd name="connsiteX404" fmla="*/ 1133626 w 9907829"/>
              <a:gd name="connsiteY404" fmla="*/ 1815092 h 6706386"/>
              <a:gd name="connsiteX405" fmla="*/ 1133762 w 9907829"/>
              <a:gd name="connsiteY405" fmla="*/ 1814767 h 6706386"/>
              <a:gd name="connsiteX406" fmla="*/ 1133626 w 9907829"/>
              <a:gd name="connsiteY406" fmla="*/ 1814442 h 6706386"/>
              <a:gd name="connsiteX407" fmla="*/ 1169594 w 9907829"/>
              <a:gd name="connsiteY407" fmla="*/ 1778474 h 6706386"/>
              <a:gd name="connsiteX408" fmla="*/ 1726452 w 9907829"/>
              <a:gd name="connsiteY408" fmla="*/ 1741232 h 6706386"/>
              <a:gd name="connsiteX409" fmla="*/ 1799672 w 9907829"/>
              <a:gd name="connsiteY409" fmla="*/ 1814452 h 6706386"/>
              <a:gd name="connsiteX410" fmla="*/ 1799608 w 9907829"/>
              <a:gd name="connsiteY410" fmla="*/ 1814767 h 6706386"/>
              <a:gd name="connsiteX411" fmla="*/ 1799672 w 9907829"/>
              <a:gd name="connsiteY411" fmla="*/ 1815083 h 6706386"/>
              <a:gd name="connsiteX412" fmla="*/ 1726452 w 9907829"/>
              <a:gd name="connsiteY412" fmla="*/ 1888303 h 6706386"/>
              <a:gd name="connsiteX413" fmla="*/ 1653232 w 9907829"/>
              <a:gd name="connsiteY413" fmla="*/ 1815083 h 6706386"/>
              <a:gd name="connsiteX414" fmla="*/ 1653296 w 9907829"/>
              <a:gd name="connsiteY414" fmla="*/ 1814767 h 6706386"/>
              <a:gd name="connsiteX415" fmla="*/ 1653232 w 9907829"/>
              <a:gd name="connsiteY415" fmla="*/ 1814452 h 6706386"/>
              <a:gd name="connsiteX416" fmla="*/ 1726452 w 9907829"/>
              <a:gd name="connsiteY416" fmla="*/ 1741232 h 6706386"/>
              <a:gd name="connsiteX417" fmla="*/ 9907829 w 9907829"/>
              <a:gd name="connsiteY417" fmla="*/ 1731583 h 6706386"/>
              <a:gd name="connsiteX418" fmla="*/ 9907829 w 9907829"/>
              <a:gd name="connsiteY418" fmla="*/ 1898575 h 6706386"/>
              <a:gd name="connsiteX419" fmla="*/ 9888560 w 9907829"/>
              <a:gd name="connsiteY419" fmla="*/ 1815080 h 6706386"/>
              <a:gd name="connsiteX420" fmla="*/ 9907829 w 9907829"/>
              <a:gd name="connsiteY420" fmla="*/ 1731583 h 6706386"/>
              <a:gd name="connsiteX421" fmla="*/ 2283183 w 9907829"/>
              <a:gd name="connsiteY421" fmla="*/ 1688074 h 6706386"/>
              <a:gd name="connsiteX422" fmla="*/ 2372650 w 9907829"/>
              <a:gd name="connsiteY422" fmla="*/ 1725132 h 6706386"/>
              <a:gd name="connsiteX423" fmla="*/ 2409711 w 9907829"/>
              <a:gd name="connsiteY423" fmla="*/ 1814602 h 6706386"/>
              <a:gd name="connsiteX424" fmla="*/ 2409710 w 9907829"/>
              <a:gd name="connsiteY424" fmla="*/ 1814607 h 6706386"/>
              <a:gd name="connsiteX425" fmla="*/ 2409711 w 9907829"/>
              <a:gd name="connsiteY425" fmla="*/ 1814611 h 6706386"/>
              <a:gd name="connsiteX426" fmla="*/ 2372650 w 9907829"/>
              <a:gd name="connsiteY426" fmla="*/ 1904081 h 6706386"/>
              <a:gd name="connsiteX427" fmla="*/ 2193714 w 9907829"/>
              <a:gd name="connsiteY427" fmla="*/ 1904081 h 6706386"/>
              <a:gd name="connsiteX428" fmla="*/ 2156655 w 9907829"/>
              <a:gd name="connsiteY428" fmla="*/ 1814611 h 6706386"/>
              <a:gd name="connsiteX429" fmla="*/ 2156655 w 9907829"/>
              <a:gd name="connsiteY429" fmla="*/ 1814607 h 6706386"/>
              <a:gd name="connsiteX430" fmla="*/ 2156655 w 9907829"/>
              <a:gd name="connsiteY430" fmla="*/ 1814602 h 6706386"/>
              <a:gd name="connsiteX431" fmla="*/ 2193714 w 9907829"/>
              <a:gd name="connsiteY431" fmla="*/ 1725133 h 6706386"/>
              <a:gd name="connsiteX432" fmla="*/ 2283183 w 9907829"/>
              <a:gd name="connsiteY432" fmla="*/ 1688074 h 6706386"/>
              <a:gd name="connsiteX433" fmla="*/ 2840168 w 9907829"/>
              <a:gd name="connsiteY433" fmla="*/ 1624326 h 6706386"/>
              <a:gd name="connsiteX434" fmla="*/ 2859379 w 9907829"/>
              <a:gd name="connsiteY434" fmla="*/ 1628209 h 6706386"/>
              <a:gd name="connsiteX435" fmla="*/ 2914040 w 9907829"/>
              <a:gd name="connsiteY435" fmla="*/ 1639228 h 6706386"/>
              <a:gd name="connsiteX436" fmla="*/ 2914096 w 9907829"/>
              <a:gd name="connsiteY436" fmla="*/ 1639266 h 6706386"/>
              <a:gd name="connsiteX437" fmla="*/ 2914312 w 9907829"/>
              <a:gd name="connsiteY437" fmla="*/ 1639310 h 6706386"/>
              <a:gd name="connsiteX438" fmla="*/ 2950154 w 9907829"/>
              <a:gd name="connsiteY438" fmla="*/ 1663524 h 6706386"/>
              <a:gd name="connsiteX439" fmla="*/ 2974485 w 9907829"/>
              <a:gd name="connsiteY439" fmla="*/ 1679893 h 6706386"/>
              <a:gd name="connsiteX440" fmla="*/ 2974572 w 9907829"/>
              <a:gd name="connsiteY440" fmla="*/ 1680020 h 6706386"/>
              <a:gd name="connsiteX441" fmla="*/ 2974726 w 9907829"/>
              <a:gd name="connsiteY441" fmla="*/ 1680125 h 6706386"/>
              <a:gd name="connsiteX442" fmla="*/ 2994843 w 9907829"/>
              <a:gd name="connsiteY442" fmla="*/ 1710029 h 6706386"/>
              <a:gd name="connsiteX443" fmla="*/ 3015300 w 9907829"/>
              <a:gd name="connsiteY443" fmla="*/ 1740308 h 6706386"/>
              <a:gd name="connsiteX444" fmla="*/ 3015336 w 9907829"/>
              <a:gd name="connsiteY444" fmla="*/ 1740490 h 6706386"/>
              <a:gd name="connsiteX445" fmla="*/ 3015391 w 9907829"/>
              <a:gd name="connsiteY445" fmla="*/ 1740569 h 6706386"/>
              <a:gd name="connsiteX446" fmla="*/ 3030282 w 9907829"/>
              <a:gd name="connsiteY446" fmla="*/ 1814442 h 6706386"/>
              <a:gd name="connsiteX447" fmla="*/ 3030281 w 9907829"/>
              <a:gd name="connsiteY447" fmla="*/ 1814448 h 6706386"/>
              <a:gd name="connsiteX448" fmla="*/ 3030282 w 9907829"/>
              <a:gd name="connsiteY448" fmla="*/ 1814453 h 6706386"/>
              <a:gd name="connsiteX449" fmla="*/ 3015391 w 9907829"/>
              <a:gd name="connsiteY449" fmla="*/ 1888324 h 6706386"/>
              <a:gd name="connsiteX450" fmla="*/ 3015336 w 9907829"/>
              <a:gd name="connsiteY450" fmla="*/ 1888403 h 6706386"/>
              <a:gd name="connsiteX451" fmla="*/ 3015300 w 9907829"/>
              <a:gd name="connsiteY451" fmla="*/ 1888585 h 6706386"/>
              <a:gd name="connsiteX452" fmla="*/ 2994895 w 9907829"/>
              <a:gd name="connsiteY452" fmla="*/ 1918790 h 6706386"/>
              <a:gd name="connsiteX453" fmla="*/ 2974726 w 9907829"/>
              <a:gd name="connsiteY453" fmla="*/ 1948769 h 6706386"/>
              <a:gd name="connsiteX454" fmla="*/ 2974572 w 9907829"/>
              <a:gd name="connsiteY454" fmla="*/ 1948874 h 6706386"/>
              <a:gd name="connsiteX455" fmla="*/ 2974485 w 9907829"/>
              <a:gd name="connsiteY455" fmla="*/ 1948999 h 6706386"/>
              <a:gd name="connsiteX456" fmla="*/ 2950250 w 9907829"/>
              <a:gd name="connsiteY456" fmla="*/ 1965305 h 6706386"/>
              <a:gd name="connsiteX457" fmla="*/ 2914312 w 9907829"/>
              <a:gd name="connsiteY457" fmla="*/ 1989583 h 6706386"/>
              <a:gd name="connsiteX458" fmla="*/ 2914096 w 9907829"/>
              <a:gd name="connsiteY458" fmla="*/ 1989627 h 6706386"/>
              <a:gd name="connsiteX459" fmla="*/ 2914040 w 9907829"/>
              <a:gd name="connsiteY459" fmla="*/ 1989664 h 6706386"/>
              <a:gd name="connsiteX460" fmla="*/ 2859639 w 9907829"/>
              <a:gd name="connsiteY460" fmla="*/ 2000631 h 6706386"/>
              <a:gd name="connsiteX461" fmla="*/ 2840168 w 9907829"/>
              <a:gd name="connsiteY461" fmla="*/ 2004566 h 6706386"/>
              <a:gd name="connsiteX462" fmla="*/ 2650053 w 9907829"/>
              <a:gd name="connsiteY462" fmla="*/ 1814453 h 6706386"/>
              <a:gd name="connsiteX463" fmla="*/ 2650055 w 9907829"/>
              <a:gd name="connsiteY463" fmla="*/ 1814448 h 6706386"/>
              <a:gd name="connsiteX464" fmla="*/ 2650053 w 9907829"/>
              <a:gd name="connsiteY464" fmla="*/ 1814442 h 6706386"/>
              <a:gd name="connsiteX465" fmla="*/ 2840168 w 9907829"/>
              <a:gd name="connsiteY465" fmla="*/ 1624326 h 6706386"/>
              <a:gd name="connsiteX466" fmla="*/ 1726452 w 9907829"/>
              <a:gd name="connsiteY466" fmla="*/ 1217762 h 6706386"/>
              <a:gd name="connsiteX467" fmla="*/ 1766273 w 9907829"/>
              <a:gd name="connsiteY467" fmla="*/ 1257583 h 6706386"/>
              <a:gd name="connsiteX468" fmla="*/ 1766272 w 9907829"/>
              <a:gd name="connsiteY468" fmla="*/ 1257587 h 6706386"/>
              <a:gd name="connsiteX469" fmla="*/ 1766273 w 9907829"/>
              <a:gd name="connsiteY469" fmla="*/ 1257592 h 6706386"/>
              <a:gd name="connsiteX470" fmla="*/ 1726452 w 9907829"/>
              <a:gd name="connsiteY470" fmla="*/ 1297412 h 6706386"/>
              <a:gd name="connsiteX471" fmla="*/ 1686631 w 9907829"/>
              <a:gd name="connsiteY471" fmla="*/ 1257592 h 6706386"/>
              <a:gd name="connsiteX472" fmla="*/ 1686633 w 9907829"/>
              <a:gd name="connsiteY472" fmla="*/ 1257587 h 6706386"/>
              <a:gd name="connsiteX473" fmla="*/ 1686631 w 9907829"/>
              <a:gd name="connsiteY473" fmla="*/ 1257583 h 6706386"/>
              <a:gd name="connsiteX474" fmla="*/ 1726452 w 9907829"/>
              <a:gd name="connsiteY474" fmla="*/ 1217762 h 6706386"/>
              <a:gd name="connsiteX475" fmla="*/ 2283309 w 9907829"/>
              <a:gd name="connsiteY475" fmla="*/ 1183722 h 6706386"/>
              <a:gd name="connsiteX476" fmla="*/ 2289931 w 9907829"/>
              <a:gd name="connsiteY476" fmla="*/ 1185063 h 6706386"/>
              <a:gd name="connsiteX477" fmla="*/ 2311921 w 9907829"/>
              <a:gd name="connsiteY477" fmla="*/ 1189491 h 6706386"/>
              <a:gd name="connsiteX478" fmla="*/ 2311979 w 9907829"/>
              <a:gd name="connsiteY478" fmla="*/ 1189530 h 6706386"/>
              <a:gd name="connsiteX479" fmla="*/ 2312191 w 9907829"/>
              <a:gd name="connsiteY479" fmla="*/ 1189572 h 6706386"/>
              <a:gd name="connsiteX480" fmla="*/ 2325865 w 9907829"/>
              <a:gd name="connsiteY480" fmla="*/ 1198842 h 6706386"/>
              <a:gd name="connsiteX481" fmla="*/ 2335415 w 9907829"/>
              <a:gd name="connsiteY481" fmla="*/ 1205247 h 6706386"/>
              <a:gd name="connsiteX482" fmla="*/ 2335503 w 9907829"/>
              <a:gd name="connsiteY482" fmla="*/ 1205376 h 6706386"/>
              <a:gd name="connsiteX483" fmla="*/ 2335655 w 9907829"/>
              <a:gd name="connsiteY483" fmla="*/ 1205479 h 6706386"/>
              <a:gd name="connsiteX484" fmla="*/ 2343315 w 9907829"/>
              <a:gd name="connsiteY484" fmla="*/ 1216902 h 6706386"/>
              <a:gd name="connsiteX485" fmla="*/ 2351320 w 9907829"/>
              <a:gd name="connsiteY485" fmla="*/ 1228711 h 6706386"/>
              <a:gd name="connsiteX486" fmla="*/ 2351358 w 9907829"/>
              <a:gd name="connsiteY486" fmla="*/ 1228894 h 6706386"/>
              <a:gd name="connsiteX487" fmla="*/ 2351411 w 9907829"/>
              <a:gd name="connsiteY487" fmla="*/ 1228973 h 6706386"/>
              <a:gd name="connsiteX488" fmla="*/ 2357170 w 9907829"/>
              <a:gd name="connsiteY488" fmla="*/ 1257585 h 6706386"/>
              <a:gd name="connsiteX489" fmla="*/ 2357170 w 9907829"/>
              <a:gd name="connsiteY489" fmla="*/ 1257589 h 6706386"/>
              <a:gd name="connsiteX490" fmla="*/ 2357170 w 9907829"/>
              <a:gd name="connsiteY490" fmla="*/ 1257593 h 6706386"/>
              <a:gd name="connsiteX491" fmla="*/ 2351411 w 9907829"/>
              <a:gd name="connsiteY491" fmla="*/ 1286203 h 6706386"/>
              <a:gd name="connsiteX492" fmla="*/ 2351358 w 9907829"/>
              <a:gd name="connsiteY492" fmla="*/ 1286284 h 6706386"/>
              <a:gd name="connsiteX493" fmla="*/ 2351320 w 9907829"/>
              <a:gd name="connsiteY493" fmla="*/ 1286467 h 6706386"/>
              <a:gd name="connsiteX494" fmla="*/ 2343311 w 9907829"/>
              <a:gd name="connsiteY494" fmla="*/ 1298281 h 6706386"/>
              <a:gd name="connsiteX495" fmla="*/ 2335655 w 9907829"/>
              <a:gd name="connsiteY495" fmla="*/ 1309697 h 6706386"/>
              <a:gd name="connsiteX496" fmla="*/ 2335503 w 9907829"/>
              <a:gd name="connsiteY496" fmla="*/ 1309802 h 6706386"/>
              <a:gd name="connsiteX497" fmla="*/ 2335415 w 9907829"/>
              <a:gd name="connsiteY497" fmla="*/ 1309930 h 6706386"/>
              <a:gd name="connsiteX498" fmla="*/ 2325840 w 9907829"/>
              <a:gd name="connsiteY498" fmla="*/ 1316351 h 6706386"/>
              <a:gd name="connsiteX499" fmla="*/ 2312191 w 9907829"/>
              <a:gd name="connsiteY499" fmla="*/ 1325604 h 6706386"/>
              <a:gd name="connsiteX500" fmla="*/ 2311981 w 9907829"/>
              <a:gd name="connsiteY500" fmla="*/ 1325647 h 6706386"/>
              <a:gd name="connsiteX501" fmla="*/ 2311921 w 9907829"/>
              <a:gd name="connsiteY501" fmla="*/ 1325687 h 6706386"/>
              <a:gd name="connsiteX502" fmla="*/ 2289573 w 9907829"/>
              <a:gd name="connsiteY502" fmla="*/ 1330186 h 6706386"/>
              <a:gd name="connsiteX503" fmla="*/ 2283309 w 9907829"/>
              <a:gd name="connsiteY503" fmla="*/ 1331454 h 6706386"/>
              <a:gd name="connsiteX504" fmla="*/ 2209446 w 9907829"/>
              <a:gd name="connsiteY504" fmla="*/ 1257593 h 6706386"/>
              <a:gd name="connsiteX505" fmla="*/ 2209449 w 9907829"/>
              <a:gd name="connsiteY505" fmla="*/ 1257589 h 6706386"/>
              <a:gd name="connsiteX506" fmla="*/ 2209446 w 9907829"/>
              <a:gd name="connsiteY506" fmla="*/ 1257585 h 6706386"/>
              <a:gd name="connsiteX507" fmla="*/ 2283309 w 9907829"/>
              <a:gd name="connsiteY507" fmla="*/ 1183722 h 6706386"/>
              <a:gd name="connsiteX508" fmla="*/ 2840166 w 9907829"/>
              <a:gd name="connsiteY508" fmla="*/ 1135550 h 6706386"/>
              <a:gd name="connsiteX509" fmla="*/ 2962201 w 9907829"/>
              <a:gd name="connsiteY509" fmla="*/ 1257583 h 6706386"/>
              <a:gd name="connsiteX510" fmla="*/ 2962201 w 9907829"/>
              <a:gd name="connsiteY510" fmla="*/ 1257588 h 6706386"/>
              <a:gd name="connsiteX511" fmla="*/ 2962201 w 9907829"/>
              <a:gd name="connsiteY511" fmla="*/ 1257592 h 6706386"/>
              <a:gd name="connsiteX512" fmla="*/ 2840166 w 9907829"/>
              <a:gd name="connsiteY512" fmla="*/ 1379625 h 6706386"/>
              <a:gd name="connsiteX513" fmla="*/ 2718134 w 9907829"/>
              <a:gd name="connsiteY513" fmla="*/ 1257592 h 6706386"/>
              <a:gd name="connsiteX514" fmla="*/ 2718135 w 9907829"/>
              <a:gd name="connsiteY514" fmla="*/ 1257588 h 6706386"/>
              <a:gd name="connsiteX515" fmla="*/ 2718134 w 9907829"/>
              <a:gd name="connsiteY515" fmla="*/ 1257583 h 6706386"/>
              <a:gd name="connsiteX516" fmla="*/ 2840166 w 9907829"/>
              <a:gd name="connsiteY516" fmla="*/ 1135550 h 6706386"/>
              <a:gd name="connsiteX517" fmla="*/ 9524387 w 9907829"/>
              <a:gd name="connsiteY517" fmla="*/ 1083526 h 6706386"/>
              <a:gd name="connsiteX518" fmla="*/ 9698445 w 9907829"/>
              <a:gd name="connsiteY518" fmla="*/ 1257586 h 6706386"/>
              <a:gd name="connsiteX519" fmla="*/ 9698379 w 9907829"/>
              <a:gd name="connsiteY519" fmla="*/ 1257912 h 6706386"/>
              <a:gd name="connsiteX520" fmla="*/ 9698445 w 9907829"/>
              <a:gd name="connsiteY520" fmla="*/ 1258239 h 6706386"/>
              <a:gd name="connsiteX521" fmla="*/ 9524387 w 9907829"/>
              <a:gd name="connsiteY521" fmla="*/ 1432296 h 6706386"/>
              <a:gd name="connsiteX522" fmla="*/ 9350329 w 9907829"/>
              <a:gd name="connsiteY522" fmla="*/ 1258239 h 6706386"/>
              <a:gd name="connsiteX523" fmla="*/ 9350396 w 9907829"/>
              <a:gd name="connsiteY523" fmla="*/ 1257911 h 6706386"/>
              <a:gd name="connsiteX524" fmla="*/ 9350329 w 9907829"/>
              <a:gd name="connsiteY524" fmla="*/ 1257586 h 6706386"/>
              <a:gd name="connsiteX525" fmla="*/ 9524387 w 9907829"/>
              <a:gd name="connsiteY525" fmla="*/ 1083526 h 6706386"/>
              <a:gd name="connsiteX526" fmla="*/ 3397667 w 9907829"/>
              <a:gd name="connsiteY526" fmla="*/ 1083526 h 6706386"/>
              <a:gd name="connsiteX527" fmla="*/ 3571726 w 9907829"/>
              <a:gd name="connsiteY527" fmla="*/ 1257583 h 6706386"/>
              <a:gd name="connsiteX528" fmla="*/ 3571660 w 9907829"/>
              <a:gd name="connsiteY528" fmla="*/ 1257910 h 6706386"/>
              <a:gd name="connsiteX529" fmla="*/ 3571726 w 9907829"/>
              <a:gd name="connsiteY529" fmla="*/ 1258237 h 6706386"/>
              <a:gd name="connsiteX530" fmla="*/ 3397667 w 9907829"/>
              <a:gd name="connsiteY530" fmla="*/ 1432293 h 6706386"/>
              <a:gd name="connsiteX531" fmla="*/ 3223609 w 9907829"/>
              <a:gd name="connsiteY531" fmla="*/ 1258237 h 6706386"/>
              <a:gd name="connsiteX532" fmla="*/ 3223676 w 9907829"/>
              <a:gd name="connsiteY532" fmla="*/ 1257910 h 6706386"/>
              <a:gd name="connsiteX533" fmla="*/ 3223609 w 9907829"/>
              <a:gd name="connsiteY533" fmla="*/ 1257583 h 6706386"/>
              <a:gd name="connsiteX534" fmla="*/ 3397667 w 9907829"/>
              <a:gd name="connsiteY534" fmla="*/ 1083526 h 6706386"/>
              <a:gd name="connsiteX535" fmla="*/ 3985091 w 9907829"/>
              <a:gd name="connsiteY535" fmla="*/ 1035050 h 6706386"/>
              <a:gd name="connsiteX536" fmla="*/ 3999885 w 9907829"/>
              <a:gd name="connsiteY536" fmla="*/ 1038730 h 6706386"/>
              <a:gd name="connsiteX537" fmla="*/ 4006300 w 9907829"/>
              <a:gd name="connsiteY537" fmla="*/ 1038985 h 6706386"/>
              <a:gd name="connsiteX538" fmla="*/ 4012914 w 9907829"/>
              <a:gd name="connsiteY538" fmla="*/ 1041971 h 6706386"/>
              <a:gd name="connsiteX539" fmla="*/ 4032126 w 9907829"/>
              <a:gd name="connsiteY539" fmla="*/ 1046750 h 6706386"/>
              <a:gd name="connsiteX540" fmla="*/ 4075781 w 9907829"/>
              <a:gd name="connsiteY540" fmla="*/ 1068355 h 6706386"/>
              <a:gd name="connsiteX541" fmla="*/ 4081393 w 9907829"/>
              <a:gd name="connsiteY541" fmla="*/ 1072885 h 6706386"/>
              <a:gd name="connsiteX542" fmla="*/ 4084846 w 9907829"/>
              <a:gd name="connsiteY542" fmla="*/ 1074445 h 6706386"/>
              <a:gd name="connsiteX543" fmla="*/ 4089571 w 9907829"/>
              <a:gd name="connsiteY543" fmla="*/ 1079489 h 6706386"/>
              <a:gd name="connsiteX544" fmla="*/ 4114288 w 9907829"/>
              <a:gd name="connsiteY544" fmla="*/ 1099448 h 6706386"/>
              <a:gd name="connsiteX545" fmla="*/ 4145805 w 9907829"/>
              <a:gd name="connsiteY545" fmla="*/ 1139522 h 6706386"/>
              <a:gd name="connsiteX546" fmla="*/ 4145875 w 9907829"/>
              <a:gd name="connsiteY546" fmla="*/ 1139595 h 6706386"/>
              <a:gd name="connsiteX547" fmla="*/ 4176845 w 9907829"/>
              <a:gd name="connsiteY547" fmla="*/ 1223321 h 6706386"/>
              <a:gd name="connsiteX548" fmla="*/ 4176845 w 9907829"/>
              <a:gd name="connsiteY548" fmla="*/ 1223333 h 6706386"/>
              <a:gd name="connsiteX549" fmla="*/ 4176845 w 9907829"/>
              <a:gd name="connsiteY549" fmla="*/ 1223336 h 6706386"/>
              <a:gd name="connsiteX550" fmla="*/ 4072815 w 9907829"/>
              <a:gd name="connsiteY550" fmla="*/ 1449022 h 6706386"/>
              <a:gd name="connsiteX551" fmla="*/ 3763402 w 9907829"/>
              <a:gd name="connsiteY551" fmla="*/ 1375963 h 6706386"/>
              <a:gd name="connsiteX552" fmla="*/ 3732430 w 9907829"/>
              <a:gd name="connsiteY552" fmla="*/ 1292239 h 6706386"/>
              <a:gd name="connsiteX553" fmla="*/ 3732432 w 9907829"/>
              <a:gd name="connsiteY553" fmla="*/ 1292226 h 6706386"/>
              <a:gd name="connsiteX554" fmla="*/ 3732430 w 9907829"/>
              <a:gd name="connsiteY554" fmla="*/ 1292225 h 6706386"/>
              <a:gd name="connsiteX555" fmla="*/ 3836462 w 9907829"/>
              <a:gd name="connsiteY555" fmla="*/ 1066536 h 6706386"/>
              <a:gd name="connsiteX556" fmla="*/ 3920187 w 9907829"/>
              <a:gd name="connsiteY556" fmla="*/ 1035565 h 6706386"/>
              <a:gd name="connsiteX557" fmla="*/ 3920506 w 9907829"/>
              <a:gd name="connsiteY557" fmla="*/ 1035578 h 6706386"/>
              <a:gd name="connsiteX558" fmla="*/ 8967529 w 9907829"/>
              <a:gd name="connsiteY558" fmla="*/ 1032788 h 6706386"/>
              <a:gd name="connsiteX559" fmla="*/ 9192327 w 9907829"/>
              <a:gd name="connsiteY559" fmla="*/ 1257587 h 6706386"/>
              <a:gd name="connsiteX560" fmla="*/ 9192326 w 9907829"/>
              <a:gd name="connsiteY560" fmla="*/ 1257592 h 6706386"/>
              <a:gd name="connsiteX561" fmla="*/ 9192327 w 9907829"/>
              <a:gd name="connsiteY561" fmla="*/ 1257597 h 6706386"/>
              <a:gd name="connsiteX562" fmla="*/ 8967529 w 9907829"/>
              <a:gd name="connsiteY562" fmla="*/ 1482394 h 6706386"/>
              <a:gd name="connsiteX563" fmla="*/ 8742731 w 9907829"/>
              <a:gd name="connsiteY563" fmla="*/ 1257597 h 6706386"/>
              <a:gd name="connsiteX564" fmla="*/ 8742732 w 9907829"/>
              <a:gd name="connsiteY564" fmla="*/ 1257592 h 6706386"/>
              <a:gd name="connsiteX565" fmla="*/ 8742731 w 9907829"/>
              <a:gd name="connsiteY565" fmla="*/ 1257587 h 6706386"/>
              <a:gd name="connsiteX566" fmla="*/ 8967529 w 9907829"/>
              <a:gd name="connsiteY566" fmla="*/ 1032788 h 6706386"/>
              <a:gd name="connsiteX567" fmla="*/ 2283309 w 9907829"/>
              <a:gd name="connsiteY567" fmla="*/ 662831 h 6706386"/>
              <a:gd name="connsiteX568" fmla="*/ 2309964 w 9907829"/>
              <a:gd name="connsiteY568" fmla="*/ 673830 h 6706386"/>
              <a:gd name="connsiteX569" fmla="*/ 2310039 w 9907829"/>
              <a:gd name="connsiteY569" fmla="*/ 674008 h 6706386"/>
              <a:gd name="connsiteX570" fmla="*/ 2310206 w 9907829"/>
              <a:gd name="connsiteY570" fmla="*/ 674077 h 6706386"/>
              <a:gd name="connsiteX571" fmla="*/ 2320996 w 9907829"/>
              <a:gd name="connsiteY571" fmla="*/ 700227 h 6706386"/>
              <a:gd name="connsiteX572" fmla="*/ 2321205 w 9907829"/>
              <a:gd name="connsiteY572" fmla="*/ 700726 h 6706386"/>
              <a:gd name="connsiteX573" fmla="*/ 2321202 w 9907829"/>
              <a:gd name="connsiteY573" fmla="*/ 700728 h 6706386"/>
              <a:gd name="connsiteX574" fmla="*/ 2321205 w 9907829"/>
              <a:gd name="connsiteY574" fmla="*/ 700732 h 6706386"/>
              <a:gd name="connsiteX575" fmla="*/ 2320996 w 9907829"/>
              <a:gd name="connsiteY575" fmla="*/ 701231 h 6706386"/>
              <a:gd name="connsiteX576" fmla="*/ 2310206 w 9907829"/>
              <a:gd name="connsiteY576" fmla="*/ 727380 h 6706386"/>
              <a:gd name="connsiteX577" fmla="*/ 2310039 w 9907829"/>
              <a:gd name="connsiteY577" fmla="*/ 727450 h 6706386"/>
              <a:gd name="connsiteX578" fmla="*/ 2309964 w 9907829"/>
              <a:gd name="connsiteY578" fmla="*/ 727628 h 6706386"/>
              <a:gd name="connsiteX579" fmla="*/ 2283309 w 9907829"/>
              <a:gd name="connsiteY579" fmla="*/ 738627 h 6706386"/>
              <a:gd name="connsiteX580" fmla="*/ 2282587 w 9907829"/>
              <a:gd name="connsiteY580" fmla="*/ 738324 h 6706386"/>
              <a:gd name="connsiteX581" fmla="*/ 2256415 w 9907829"/>
              <a:gd name="connsiteY581" fmla="*/ 727622 h 6706386"/>
              <a:gd name="connsiteX582" fmla="*/ 2245705 w 9907829"/>
              <a:gd name="connsiteY582" fmla="*/ 701435 h 6706386"/>
              <a:gd name="connsiteX583" fmla="*/ 2245414 w 9907829"/>
              <a:gd name="connsiteY583" fmla="*/ 700732 h 6706386"/>
              <a:gd name="connsiteX584" fmla="*/ 2245417 w 9907829"/>
              <a:gd name="connsiteY584" fmla="*/ 700728 h 6706386"/>
              <a:gd name="connsiteX585" fmla="*/ 2245414 w 9907829"/>
              <a:gd name="connsiteY585" fmla="*/ 700726 h 6706386"/>
              <a:gd name="connsiteX586" fmla="*/ 2245705 w 9907829"/>
              <a:gd name="connsiteY586" fmla="*/ 700022 h 6706386"/>
              <a:gd name="connsiteX587" fmla="*/ 2256415 w 9907829"/>
              <a:gd name="connsiteY587" fmla="*/ 673836 h 6706386"/>
              <a:gd name="connsiteX588" fmla="*/ 2282587 w 9907829"/>
              <a:gd name="connsiteY588" fmla="*/ 663133 h 6706386"/>
              <a:gd name="connsiteX589" fmla="*/ 2840166 w 9907829"/>
              <a:gd name="connsiteY589" fmla="*/ 635213 h 6706386"/>
              <a:gd name="connsiteX590" fmla="*/ 2905681 w 9907829"/>
              <a:gd name="connsiteY590" fmla="*/ 700726 h 6706386"/>
              <a:gd name="connsiteX591" fmla="*/ 2905681 w 9907829"/>
              <a:gd name="connsiteY591" fmla="*/ 700729 h 6706386"/>
              <a:gd name="connsiteX592" fmla="*/ 2905681 w 9907829"/>
              <a:gd name="connsiteY592" fmla="*/ 700732 h 6706386"/>
              <a:gd name="connsiteX593" fmla="*/ 2840166 w 9907829"/>
              <a:gd name="connsiteY593" fmla="*/ 766245 h 6706386"/>
              <a:gd name="connsiteX594" fmla="*/ 2774655 w 9907829"/>
              <a:gd name="connsiteY594" fmla="*/ 700732 h 6706386"/>
              <a:gd name="connsiteX595" fmla="*/ 2774657 w 9907829"/>
              <a:gd name="connsiteY595" fmla="*/ 700729 h 6706386"/>
              <a:gd name="connsiteX596" fmla="*/ 2774655 w 9907829"/>
              <a:gd name="connsiteY596" fmla="*/ 700726 h 6706386"/>
              <a:gd name="connsiteX597" fmla="*/ 2840166 w 9907829"/>
              <a:gd name="connsiteY597" fmla="*/ 635213 h 6706386"/>
              <a:gd name="connsiteX598" fmla="*/ 9524387 w 9907829"/>
              <a:gd name="connsiteY598" fmla="*/ 601816 h 6706386"/>
              <a:gd name="connsiteX599" fmla="*/ 9623299 w 9907829"/>
              <a:gd name="connsiteY599" fmla="*/ 700727 h 6706386"/>
              <a:gd name="connsiteX600" fmla="*/ 9623298 w 9907829"/>
              <a:gd name="connsiteY600" fmla="*/ 700731 h 6706386"/>
              <a:gd name="connsiteX601" fmla="*/ 9623299 w 9907829"/>
              <a:gd name="connsiteY601" fmla="*/ 700734 h 6706386"/>
              <a:gd name="connsiteX602" fmla="*/ 9524387 w 9907829"/>
              <a:gd name="connsiteY602" fmla="*/ 799647 h 6706386"/>
              <a:gd name="connsiteX603" fmla="*/ 9425476 w 9907829"/>
              <a:gd name="connsiteY603" fmla="*/ 700734 h 6706386"/>
              <a:gd name="connsiteX604" fmla="*/ 9425477 w 9907829"/>
              <a:gd name="connsiteY604" fmla="*/ 700731 h 6706386"/>
              <a:gd name="connsiteX605" fmla="*/ 9425476 w 9907829"/>
              <a:gd name="connsiteY605" fmla="*/ 700727 h 6706386"/>
              <a:gd name="connsiteX606" fmla="*/ 9524387 w 9907829"/>
              <a:gd name="connsiteY606" fmla="*/ 601816 h 6706386"/>
              <a:gd name="connsiteX607" fmla="*/ 3397667 w 9907829"/>
              <a:gd name="connsiteY607" fmla="*/ 601815 h 6706386"/>
              <a:gd name="connsiteX608" fmla="*/ 3496579 w 9907829"/>
              <a:gd name="connsiteY608" fmla="*/ 700726 h 6706386"/>
              <a:gd name="connsiteX609" fmla="*/ 3496579 w 9907829"/>
              <a:gd name="connsiteY609" fmla="*/ 700729 h 6706386"/>
              <a:gd name="connsiteX610" fmla="*/ 3496579 w 9907829"/>
              <a:gd name="connsiteY610" fmla="*/ 700733 h 6706386"/>
              <a:gd name="connsiteX611" fmla="*/ 3397667 w 9907829"/>
              <a:gd name="connsiteY611" fmla="*/ 799643 h 6706386"/>
              <a:gd name="connsiteX612" fmla="*/ 3383469 w 9907829"/>
              <a:gd name="connsiteY612" fmla="*/ 796774 h 6706386"/>
              <a:gd name="connsiteX613" fmla="*/ 3359090 w 9907829"/>
              <a:gd name="connsiteY613" fmla="*/ 791860 h 6706386"/>
              <a:gd name="connsiteX614" fmla="*/ 3306263 w 9907829"/>
              <a:gd name="connsiteY614" fmla="*/ 739212 h 6706386"/>
              <a:gd name="connsiteX615" fmla="*/ 3298794 w 9907829"/>
              <a:gd name="connsiteY615" fmla="*/ 700922 h 6706386"/>
              <a:gd name="connsiteX616" fmla="*/ 3298756 w 9907829"/>
              <a:gd name="connsiteY616" fmla="*/ 700733 h 6706386"/>
              <a:gd name="connsiteX617" fmla="*/ 3298757 w 9907829"/>
              <a:gd name="connsiteY617" fmla="*/ 700729 h 6706386"/>
              <a:gd name="connsiteX618" fmla="*/ 3298756 w 9907829"/>
              <a:gd name="connsiteY618" fmla="*/ 700726 h 6706386"/>
              <a:gd name="connsiteX619" fmla="*/ 3298794 w 9907829"/>
              <a:gd name="connsiteY619" fmla="*/ 700536 h 6706386"/>
              <a:gd name="connsiteX620" fmla="*/ 3306263 w 9907829"/>
              <a:gd name="connsiteY620" fmla="*/ 662246 h 6706386"/>
              <a:gd name="connsiteX621" fmla="*/ 3359090 w 9907829"/>
              <a:gd name="connsiteY621" fmla="*/ 609599 h 6706386"/>
              <a:gd name="connsiteX622" fmla="*/ 3382942 w 9907829"/>
              <a:gd name="connsiteY622" fmla="*/ 604790 h 6706386"/>
              <a:gd name="connsiteX623" fmla="*/ 8967528 w 9907829"/>
              <a:gd name="connsiteY623" fmla="*/ 560709 h 6706386"/>
              <a:gd name="connsiteX624" fmla="*/ 9107546 w 9907829"/>
              <a:gd name="connsiteY624" fmla="*/ 700727 h 6706386"/>
              <a:gd name="connsiteX625" fmla="*/ 9107545 w 9907829"/>
              <a:gd name="connsiteY625" fmla="*/ 700731 h 6706386"/>
              <a:gd name="connsiteX626" fmla="*/ 9107546 w 9907829"/>
              <a:gd name="connsiteY626" fmla="*/ 700734 h 6706386"/>
              <a:gd name="connsiteX627" fmla="*/ 8967528 w 9907829"/>
              <a:gd name="connsiteY627" fmla="*/ 840753 h 6706386"/>
              <a:gd name="connsiteX628" fmla="*/ 8827512 w 9907829"/>
              <a:gd name="connsiteY628" fmla="*/ 700734 h 6706386"/>
              <a:gd name="connsiteX629" fmla="*/ 8827513 w 9907829"/>
              <a:gd name="connsiteY629" fmla="*/ 700731 h 6706386"/>
              <a:gd name="connsiteX630" fmla="*/ 8827512 w 9907829"/>
              <a:gd name="connsiteY630" fmla="*/ 700727 h 6706386"/>
              <a:gd name="connsiteX631" fmla="*/ 8827837 w 9907829"/>
              <a:gd name="connsiteY631" fmla="*/ 699122 h 6706386"/>
              <a:gd name="connsiteX632" fmla="*/ 8838551 w 9907829"/>
              <a:gd name="connsiteY632" fmla="*/ 646071 h 6706386"/>
              <a:gd name="connsiteX633" fmla="*/ 8913135 w 9907829"/>
              <a:gd name="connsiteY633" fmla="*/ 571667 h 6706386"/>
              <a:gd name="connsiteX634" fmla="*/ 8962419 w 9907829"/>
              <a:gd name="connsiteY634" fmla="*/ 561746 h 6706386"/>
              <a:gd name="connsiteX635" fmla="*/ 3954526 w 9907829"/>
              <a:gd name="connsiteY635" fmla="*/ 560708 h 6706386"/>
              <a:gd name="connsiteX636" fmla="*/ 4094542 w 9907829"/>
              <a:gd name="connsiteY636" fmla="*/ 700726 h 6706386"/>
              <a:gd name="connsiteX637" fmla="*/ 4094542 w 9907829"/>
              <a:gd name="connsiteY637" fmla="*/ 700729 h 6706386"/>
              <a:gd name="connsiteX638" fmla="*/ 4094542 w 9907829"/>
              <a:gd name="connsiteY638" fmla="*/ 700733 h 6706386"/>
              <a:gd name="connsiteX639" fmla="*/ 3954526 w 9907829"/>
              <a:gd name="connsiteY639" fmla="*/ 840752 h 6706386"/>
              <a:gd name="connsiteX640" fmla="*/ 3814508 w 9907829"/>
              <a:gd name="connsiteY640" fmla="*/ 700733 h 6706386"/>
              <a:gd name="connsiteX641" fmla="*/ 3814509 w 9907829"/>
              <a:gd name="connsiteY641" fmla="*/ 700729 h 6706386"/>
              <a:gd name="connsiteX642" fmla="*/ 3814508 w 9907829"/>
              <a:gd name="connsiteY642" fmla="*/ 700726 h 6706386"/>
              <a:gd name="connsiteX643" fmla="*/ 3814798 w 9907829"/>
              <a:gd name="connsiteY643" fmla="*/ 699297 h 6706386"/>
              <a:gd name="connsiteX644" fmla="*/ 3825547 w 9907829"/>
              <a:gd name="connsiteY644" fmla="*/ 646068 h 6706386"/>
              <a:gd name="connsiteX645" fmla="*/ 3900132 w 9907829"/>
              <a:gd name="connsiteY645" fmla="*/ 571664 h 6706386"/>
              <a:gd name="connsiteX646" fmla="*/ 3950168 w 9907829"/>
              <a:gd name="connsiteY646" fmla="*/ 561592 h 6706386"/>
              <a:gd name="connsiteX647" fmla="*/ 8410672 w 9907829"/>
              <a:gd name="connsiteY647" fmla="*/ 526027 h 6706386"/>
              <a:gd name="connsiteX648" fmla="*/ 8585372 w 9907829"/>
              <a:gd name="connsiteY648" fmla="*/ 700727 h 6706386"/>
              <a:gd name="connsiteX649" fmla="*/ 8585371 w 9907829"/>
              <a:gd name="connsiteY649" fmla="*/ 700731 h 6706386"/>
              <a:gd name="connsiteX650" fmla="*/ 8585372 w 9907829"/>
              <a:gd name="connsiteY650" fmla="*/ 700734 h 6706386"/>
              <a:gd name="connsiteX651" fmla="*/ 8410672 w 9907829"/>
              <a:gd name="connsiteY651" fmla="*/ 875437 h 6706386"/>
              <a:gd name="connsiteX652" fmla="*/ 8235971 w 9907829"/>
              <a:gd name="connsiteY652" fmla="*/ 700734 h 6706386"/>
              <a:gd name="connsiteX653" fmla="*/ 8235973 w 9907829"/>
              <a:gd name="connsiteY653" fmla="*/ 700731 h 6706386"/>
              <a:gd name="connsiteX654" fmla="*/ 8235971 w 9907829"/>
              <a:gd name="connsiteY654" fmla="*/ 700727 h 6706386"/>
              <a:gd name="connsiteX655" fmla="*/ 8410672 w 9907829"/>
              <a:gd name="connsiteY655" fmla="*/ 526027 h 6706386"/>
              <a:gd name="connsiteX656" fmla="*/ 4511383 w 9907829"/>
              <a:gd name="connsiteY656" fmla="*/ 523456 h 6706386"/>
              <a:gd name="connsiteX657" fmla="*/ 4525910 w 9907829"/>
              <a:gd name="connsiteY657" fmla="*/ 526391 h 6706386"/>
              <a:gd name="connsiteX658" fmla="*/ 4580269 w 9907829"/>
              <a:gd name="connsiteY658" fmla="*/ 537344 h 6706386"/>
              <a:gd name="connsiteX659" fmla="*/ 4580329 w 9907829"/>
              <a:gd name="connsiteY659" fmla="*/ 537384 h 6706386"/>
              <a:gd name="connsiteX660" fmla="*/ 4580539 w 9907829"/>
              <a:gd name="connsiteY660" fmla="*/ 537427 h 6706386"/>
              <a:gd name="connsiteX661" fmla="*/ 4613420 w 9907829"/>
              <a:gd name="connsiteY661" fmla="*/ 559640 h 6706386"/>
              <a:gd name="connsiteX662" fmla="*/ 4636628 w 9907829"/>
              <a:gd name="connsiteY662" fmla="*/ 575248 h 6706386"/>
              <a:gd name="connsiteX663" fmla="*/ 4636716 w 9907829"/>
              <a:gd name="connsiteY663" fmla="*/ 575377 h 6706386"/>
              <a:gd name="connsiteX664" fmla="*/ 4636869 w 9907829"/>
              <a:gd name="connsiteY664" fmla="*/ 575481 h 6706386"/>
              <a:gd name="connsiteX665" fmla="*/ 4655387 w 9907829"/>
              <a:gd name="connsiteY665" fmla="*/ 603014 h 6706386"/>
              <a:gd name="connsiteX666" fmla="*/ 4674683 w 9907829"/>
              <a:gd name="connsiteY666" fmla="*/ 631578 h 6706386"/>
              <a:gd name="connsiteX667" fmla="*/ 4674721 w 9907829"/>
              <a:gd name="connsiteY667" fmla="*/ 631762 h 6706386"/>
              <a:gd name="connsiteX668" fmla="*/ 4674773 w 9907829"/>
              <a:gd name="connsiteY668" fmla="*/ 631841 h 6706386"/>
              <a:gd name="connsiteX669" fmla="*/ 4688653 w 9907829"/>
              <a:gd name="connsiteY669" fmla="*/ 700726 h 6706386"/>
              <a:gd name="connsiteX670" fmla="*/ 4688653 w 9907829"/>
              <a:gd name="connsiteY670" fmla="*/ 700729 h 6706386"/>
              <a:gd name="connsiteX671" fmla="*/ 4688653 w 9907829"/>
              <a:gd name="connsiteY671" fmla="*/ 700733 h 6706386"/>
              <a:gd name="connsiteX672" fmla="*/ 4674773 w 9907829"/>
              <a:gd name="connsiteY672" fmla="*/ 769618 h 6706386"/>
              <a:gd name="connsiteX673" fmla="*/ 4674721 w 9907829"/>
              <a:gd name="connsiteY673" fmla="*/ 769698 h 6706386"/>
              <a:gd name="connsiteX674" fmla="*/ 4674683 w 9907829"/>
              <a:gd name="connsiteY674" fmla="*/ 769882 h 6706386"/>
              <a:gd name="connsiteX675" fmla="*/ 4655424 w 9907829"/>
              <a:gd name="connsiteY675" fmla="*/ 798388 h 6706386"/>
              <a:gd name="connsiteX676" fmla="*/ 4636869 w 9907829"/>
              <a:gd name="connsiteY676" fmla="*/ 825980 h 6706386"/>
              <a:gd name="connsiteX677" fmla="*/ 4636716 w 9907829"/>
              <a:gd name="connsiteY677" fmla="*/ 826084 h 6706386"/>
              <a:gd name="connsiteX678" fmla="*/ 4636628 w 9907829"/>
              <a:gd name="connsiteY678" fmla="*/ 826212 h 6706386"/>
              <a:gd name="connsiteX679" fmla="*/ 4613620 w 9907829"/>
              <a:gd name="connsiteY679" fmla="*/ 841687 h 6706386"/>
              <a:gd name="connsiteX680" fmla="*/ 4580539 w 9907829"/>
              <a:gd name="connsiteY680" fmla="*/ 864035 h 6706386"/>
              <a:gd name="connsiteX681" fmla="*/ 4580326 w 9907829"/>
              <a:gd name="connsiteY681" fmla="*/ 864079 h 6706386"/>
              <a:gd name="connsiteX682" fmla="*/ 4580269 w 9907829"/>
              <a:gd name="connsiteY682" fmla="*/ 864118 h 6706386"/>
              <a:gd name="connsiteX683" fmla="*/ 4527549 w 9907829"/>
              <a:gd name="connsiteY683" fmla="*/ 874740 h 6706386"/>
              <a:gd name="connsiteX684" fmla="*/ 4511383 w 9907829"/>
              <a:gd name="connsiteY684" fmla="*/ 878004 h 6706386"/>
              <a:gd name="connsiteX685" fmla="*/ 4334114 w 9907829"/>
              <a:gd name="connsiteY685" fmla="*/ 700733 h 6706386"/>
              <a:gd name="connsiteX686" fmla="*/ 4334115 w 9907829"/>
              <a:gd name="connsiteY686" fmla="*/ 700729 h 6706386"/>
              <a:gd name="connsiteX687" fmla="*/ 4334114 w 9907829"/>
              <a:gd name="connsiteY687" fmla="*/ 700726 h 6706386"/>
              <a:gd name="connsiteX688" fmla="*/ 4511383 w 9907829"/>
              <a:gd name="connsiteY688" fmla="*/ 523456 h 6706386"/>
              <a:gd name="connsiteX689" fmla="*/ 7853813 w 9907829"/>
              <a:gd name="connsiteY689" fmla="*/ 495840 h 6706386"/>
              <a:gd name="connsiteX690" fmla="*/ 8058701 w 9907829"/>
              <a:gd name="connsiteY690" fmla="*/ 700727 h 6706386"/>
              <a:gd name="connsiteX691" fmla="*/ 8058699 w 9907829"/>
              <a:gd name="connsiteY691" fmla="*/ 700731 h 6706386"/>
              <a:gd name="connsiteX692" fmla="*/ 8058701 w 9907829"/>
              <a:gd name="connsiteY692" fmla="*/ 700734 h 6706386"/>
              <a:gd name="connsiteX693" fmla="*/ 7853813 w 9907829"/>
              <a:gd name="connsiteY693" fmla="*/ 905624 h 6706386"/>
              <a:gd name="connsiteX694" fmla="*/ 7840604 w 9907829"/>
              <a:gd name="connsiteY694" fmla="*/ 902954 h 6706386"/>
              <a:gd name="connsiteX695" fmla="*/ 7773839 w 9907829"/>
              <a:gd name="connsiteY695" fmla="*/ 889499 h 6706386"/>
              <a:gd name="connsiteX696" fmla="*/ 7664953 w 9907829"/>
              <a:gd name="connsiteY696" fmla="*/ 780429 h 6706386"/>
              <a:gd name="connsiteX697" fmla="*/ 7649199 w 9907829"/>
              <a:gd name="connsiteY697" fmla="*/ 702084 h 6706386"/>
              <a:gd name="connsiteX698" fmla="*/ 7648926 w 9907829"/>
              <a:gd name="connsiteY698" fmla="*/ 700734 h 6706386"/>
              <a:gd name="connsiteX699" fmla="*/ 7648927 w 9907829"/>
              <a:gd name="connsiteY699" fmla="*/ 700731 h 6706386"/>
              <a:gd name="connsiteX700" fmla="*/ 7648926 w 9907829"/>
              <a:gd name="connsiteY700" fmla="*/ 700727 h 6706386"/>
              <a:gd name="connsiteX701" fmla="*/ 7649199 w 9907829"/>
              <a:gd name="connsiteY701" fmla="*/ 699377 h 6706386"/>
              <a:gd name="connsiteX702" fmla="*/ 7664953 w 9907829"/>
              <a:gd name="connsiteY702" fmla="*/ 621032 h 6706386"/>
              <a:gd name="connsiteX703" fmla="*/ 7773839 w 9907829"/>
              <a:gd name="connsiteY703" fmla="*/ 511965 h 6706386"/>
              <a:gd name="connsiteX704" fmla="*/ 7842361 w 9907829"/>
              <a:gd name="connsiteY704" fmla="*/ 498155 h 6706386"/>
              <a:gd name="connsiteX705" fmla="*/ 5068241 w 9907829"/>
              <a:gd name="connsiteY705" fmla="*/ 493269 h 6706386"/>
              <a:gd name="connsiteX706" fmla="*/ 5275698 w 9907829"/>
              <a:gd name="connsiteY706" fmla="*/ 700726 h 6706386"/>
              <a:gd name="connsiteX707" fmla="*/ 5275697 w 9907829"/>
              <a:gd name="connsiteY707" fmla="*/ 700729 h 6706386"/>
              <a:gd name="connsiteX708" fmla="*/ 5275698 w 9907829"/>
              <a:gd name="connsiteY708" fmla="*/ 700733 h 6706386"/>
              <a:gd name="connsiteX709" fmla="*/ 5068241 w 9907829"/>
              <a:gd name="connsiteY709" fmla="*/ 908192 h 6706386"/>
              <a:gd name="connsiteX710" fmla="*/ 4860783 w 9907829"/>
              <a:gd name="connsiteY710" fmla="*/ 700733 h 6706386"/>
              <a:gd name="connsiteX711" fmla="*/ 4860785 w 9907829"/>
              <a:gd name="connsiteY711" fmla="*/ 700729 h 6706386"/>
              <a:gd name="connsiteX712" fmla="*/ 4860783 w 9907829"/>
              <a:gd name="connsiteY712" fmla="*/ 700726 h 6706386"/>
              <a:gd name="connsiteX713" fmla="*/ 4861236 w 9907829"/>
              <a:gd name="connsiteY713" fmla="*/ 698502 h 6706386"/>
              <a:gd name="connsiteX714" fmla="*/ 4877122 w 9907829"/>
              <a:gd name="connsiteY714" fmla="*/ 619816 h 6706386"/>
              <a:gd name="connsiteX715" fmla="*/ 4987595 w 9907829"/>
              <a:gd name="connsiteY715" fmla="*/ 509525 h 6706386"/>
              <a:gd name="connsiteX716" fmla="*/ 5061344 w 9907829"/>
              <a:gd name="connsiteY716" fmla="*/ 494667 h 6706386"/>
              <a:gd name="connsiteX717" fmla="*/ 7296313 w 9907829"/>
              <a:gd name="connsiteY717" fmla="*/ 471433 h 6706386"/>
              <a:gd name="connsiteX718" fmla="*/ 7525607 w 9907829"/>
              <a:gd name="connsiteY718" fmla="*/ 700727 h 6706386"/>
              <a:gd name="connsiteX719" fmla="*/ 7525605 w 9907829"/>
              <a:gd name="connsiteY719" fmla="*/ 700731 h 6706386"/>
              <a:gd name="connsiteX720" fmla="*/ 7525607 w 9907829"/>
              <a:gd name="connsiteY720" fmla="*/ 700734 h 6706386"/>
              <a:gd name="connsiteX721" fmla="*/ 7296313 w 9907829"/>
              <a:gd name="connsiteY721" fmla="*/ 930031 h 6706386"/>
              <a:gd name="connsiteX722" fmla="*/ 7067019 w 9907829"/>
              <a:gd name="connsiteY722" fmla="*/ 700734 h 6706386"/>
              <a:gd name="connsiteX723" fmla="*/ 7067020 w 9907829"/>
              <a:gd name="connsiteY723" fmla="*/ 700731 h 6706386"/>
              <a:gd name="connsiteX724" fmla="*/ 7067019 w 9907829"/>
              <a:gd name="connsiteY724" fmla="*/ 700727 h 6706386"/>
              <a:gd name="connsiteX725" fmla="*/ 7296313 w 9907829"/>
              <a:gd name="connsiteY725" fmla="*/ 471433 h 6706386"/>
              <a:gd name="connsiteX726" fmla="*/ 5625740 w 9907829"/>
              <a:gd name="connsiteY726" fmla="*/ 471431 h 6706386"/>
              <a:gd name="connsiteX727" fmla="*/ 5855035 w 9907829"/>
              <a:gd name="connsiteY727" fmla="*/ 700726 h 6706386"/>
              <a:gd name="connsiteX728" fmla="*/ 5855033 w 9907829"/>
              <a:gd name="connsiteY728" fmla="*/ 700729 h 6706386"/>
              <a:gd name="connsiteX729" fmla="*/ 5855035 w 9907829"/>
              <a:gd name="connsiteY729" fmla="*/ 700734 h 6706386"/>
              <a:gd name="connsiteX730" fmla="*/ 5625740 w 9907829"/>
              <a:gd name="connsiteY730" fmla="*/ 930031 h 6706386"/>
              <a:gd name="connsiteX731" fmla="*/ 5602468 w 9907829"/>
              <a:gd name="connsiteY731" fmla="*/ 927681 h 6706386"/>
              <a:gd name="connsiteX732" fmla="*/ 5579376 w 9907829"/>
              <a:gd name="connsiteY732" fmla="*/ 925359 h 6706386"/>
              <a:gd name="connsiteX733" fmla="*/ 5414389 w 9907829"/>
              <a:gd name="connsiteY733" fmla="*/ 789933 h 6706386"/>
              <a:gd name="connsiteX734" fmla="*/ 5396752 w 9907829"/>
              <a:gd name="connsiteY734" fmla="*/ 702248 h 6706386"/>
              <a:gd name="connsiteX735" fmla="*/ 5396446 w 9907829"/>
              <a:gd name="connsiteY735" fmla="*/ 700734 h 6706386"/>
              <a:gd name="connsiteX736" fmla="*/ 5396447 w 9907829"/>
              <a:gd name="connsiteY736" fmla="*/ 700729 h 6706386"/>
              <a:gd name="connsiteX737" fmla="*/ 5396446 w 9907829"/>
              <a:gd name="connsiteY737" fmla="*/ 700726 h 6706386"/>
              <a:gd name="connsiteX738" fmla="*/ 5396751 w 9907829"/>
              <a:gd name="connsiteY738" fmla="*/ 699216 h 6706386"/>
              <a:gd name="connsiteX739" fmla="*/ 5414389 w 9907829"/>
              <a:gd name="connsiteY739" fmla="*/ 611527 h 6706386"/>
              <a:gd name="connsiteX740" fmla="*/ 5579376 w 9907829"/>
              <a:gd name="connsiteY740" fmla="*/ 476103 h 6706386"/>
              <a:gd name="connsiteX741" fmla="*/ 5606191 w 9907829"/>
              <a:gd name="connsiteY741" fmla="*/ 473405 h 6706386"/>
              <a:gd name="connsiteX742" fmla="*/ 6181956 w 9907829"/>
              <a:gd name="connsiteY742" fmla="*/ 461149 h 6706386"/>
              <a:gd name="connsiteX743" fmla="*/ 6421527 w 9907829"/>
              <a:gd name="connsiteY743" fmla="*/ 700721 h 6706386"/>
              <a:gd name="connsiteX744" fmla="*/ 6254533 w 9907829"/>
              <a:gd name="connsiteY744" fmla="*/ 929373 h 6706386"/>
              <a:gd name="connsiteX745" fmla="*/ 6460706 w 9907829"/>
              <a:gd name="connsiteY745" fmla="*/ 1069390 h 6706386"/>
              <a:gd name="connsiteX746" fmla="*/ 6666879 w 9907829"/>
              <a:gd name="connsiteY746" fmla="*/ 929373 h 6706386"/>
              <a:gd name="connsiteX747" fmla="*/ 6499885 w 9907829"/>
              <a:gd name="connsiteY747" fmla="*/ 700721 h 6706386"/>
              <a:gd name="connsiteX748" fmla="*/ 6738813 w 9907829"/>
              <a:gd name="connsiteY748" fmla="*/ 461149 h 6706386"/>
              <a:gd name="connsiteX749" fmla="*/ 6978385 w 9907829"/>
              <a:gd name="connsiteY749" fmla="*/ 700721 h 6706386"/>
              <a:gd name="connsiteX750" fmla="*/ 6811392 w 9907829"/>
              <a:gd name="connsiteY750" fmla="*/ 929373 h 6706386"/>
              <a:gd name="connsiteX751" fmla="*/ 7023345 w 9907829"/>
              <a:gd name="connsiteY751" fmla="*/ 1077739 h 6706386"/>
              <a:gd name="connsiteX752" fmla="*/ 7296315 w 9907829"/>
              <a:gd name="connsiteY752" fmla="*/ 930657 h 6706386"/>
              <a:gd name="connsiteX753" fmla="*/ 7587268 w 9907829"/>
              <a:gd name="connsiteY753" fmla="*/ 1107927 h 6706386"/>
              <a:gd name="connsiteX754" fmla="*/ 7853172 w 9907829"/>
              <a:gd name="connsiteY754" fmla="*/ 952495 h 6706386"/>
              <a:gd name="connsiteX755" fmla="*/ 8149905 w 9907829"/>
              <a:gd name="connsiteY755" fmla="*/ 1185001 h 6706386"/>
              <a:gd name="connsiteX756" fmla="*/ 8410029 w 9907829"/>
              <a:gd name="connsiteY756" fmla="*/ 987177 h 6706386"/>
              <a:gd name="connsiteX757" fmla="*/ 8680430 w 9907829"/>
              <a:gd name="connsiteY757" fmla="*/ 1257578 h 6706386"/>
              <a:gd name="connsiteX758" fmla="*/ 8552616 w 9907829"/>
              <a:gd name="connsiteY758" fmla="*/ 1487515 h 6706386"/>
              <a:gd name="connsiteX759" fmla="*/ 8714472 w 9907829"/>
              <a:gd name="connsiteY759" fmla="*/ 1628817 h 6706386"/>
              <a:gd name="connsiteX760" fmla="*/ 8966887 w 9907829"/>
              <a:gd name="connsiteY760" fmla="*/ 1501646 h 6706386"/>
              <a:gd name="connsiteX761" fmla="*/ 9274540 w 9907829"/>
              <a:gd name="connsiteY761" fmla="*/ 1754704 h 6706386"/>
              <a:gd name="connsiteX762" fmla="*/ 9523745 w 9907829"/>
              <a:gd name="connsiteY762" fmla="*/ 1558166 h 6706386"/>
              <a:gd name="connsiteX763" fmla="*/ 9780658 w 9907829"/>
              <a:gd name="connsiteY763" fmla="*/ 1815078 h 6706386"/>
              <a:gd name="connsiteX764" fmla="*/ 9616877 w 9907829"/>
              <a:gd name="connsiteY764" fmla="*/ 2054007 h 6706386"/>
              <a:gd name="connsiteX765" fmla="*/ 9835252 w 9907829"/>
              <a:gd name="connsiteY765" fmla="*/ 2258894 h 6706386"/>
              <a:gd name="connsiteX766" fmla="*/ 9907186 w 9907829"/>
              <a:gd name="connsiteY766" fmla="*/ 2165122 h 6706386"/>
              <a:gd name="connsiteX767" fmla="*/ 9907186 w 9907829"/>
              <a:gd name="connsiteY767" fmla="*/ 6706386 h 6706386"/>
              <a:gd name="connsiteX768" fmla="*/ 1456023 w 9907829"/>
              <a:gd name="connsiteY768" fmla="*/ 6706386 h 6706386"/>
              <a:gd name="connsiteX769" fmla="*/ 1475320 w 9907829"/>
              <a:gd name="connsiteY769" fmla="*/ 6664783 h 6706386"/>
              <a:gd name="connsiteX770" fmla="*/ 1600564 w 9907829"/>
              <a:gd name="connsiteY770" fmla="*/ 6556398 h 6706386"/>
              <a:gd name="connsiteX771" fmla="*/ 1414303 w 9907829"/>
              <a:gd name="connsiteY771" fmla="*/ 6270583 h 6706386"/>
              <a:gd name="connsiteX772" fmla="*/ 1583865 w 9907829"/>
              <a:gd name="connsiteY772" fmla="*/ 5993117 h 6706386"/>
              <a:gd name="connsiteX773" fmla="*/ 1412376 w 9907829"/>
              <a:gd name="connsiteY773" fmla="*/ 5713725 h 6706386"/>
              <a:gd name="connsiteX774" fmla="*/ 1587719 w 9907829"/>
              <a:gd name="connsiteY774" fmla="*/ 5432406 h 6706386"/>
              <a:gd name="connsiteX775" fmla="*/ 1418157 w 9907829"/>
              <a:gd name="connsiteY775" fmla="*/ 5156867 h 6706386"/>
              <a:gd name="connsiteX776" fmla="*/ 1622402 w 9907829"/>
              <a:gd name="connsiteY776" fmla="*/ 4866556 h 6706386"/>
              <a:gd name="connsiteX777" fmla="*/ 1439994 w 9907829"/>
              <a:gd name="connsiteY777" fmla="*/ 4600009 h 6706386"/>
              <a:gd name="connsiteX778" fmla="*/ 1726452 w 9907829"/>
              <a:gd name="connsiteY778" fmla="*/ 4313552 h 6706386"/>
              <a:gd name="connsiteX779" fmla="*/ 1952535 w 9907829"/>
              <a:gd name="connsiteY779" fmla="*/ 4424666 h 6706386"/>
              <a:gd name="connsiteX780" fmla="*/ 2056584 w 9907829"/>
              <a:gd name="connsiteY780" fmla="*/ 4301991 h 6706386"/>
              <a:gd name="connsiteX781" fmla="*/ 1957032 w 9907829"/>
              <a:gd name="connsiteY781" fmla="*/ 4152981 h 6706386"/>
              <a:gd name="connsiteX782" fmla="*/ 1726452 w 9907829"/>
              <a:gd name="connsiteY782" fmla="*/ 4298780 h 6706386"/>
              <a:gd name="connsiteX783" fmla="*/ 1470824 w 9907829"/>
              <a:gd name="connsiteY783" fmla="*/ 4043152 h 6706386"/>
              <a:gd name="connsiteX784" fmla="*/ 1726452 w 9907829"/>
              <a:gd name="connsiteY784" fmla="*/ 3787524 h 6706386"/>
              <a:gd name="connsiteX785" fmla="*/ 1957032 w 9907829"/>
              <a:gd name="connsiteY785" fmla="*/ 3933321 h 6706386"/>
              <a:gd name="connsiteX786" fmla="*/ 2116959 w 9907829"/>
              <a:gd name="connsiteY786" fmla="*/ 3741280 h 6706386"/>
              <a:gd name="connsiteX787" fmla="*/ 1978227 w 9907829"/>
              <a:gd name="connsiteY787" fmla="*/ 3485652 h 6706386"/>
              <a:gd name="connsiteX788" fmla="*/ 2283309 w 9907829"/>
              <a:gd name="connsiteY788" fmla="*/ 3180568 h 6706386"/>
              <a:gd name="connsiteX789" fmla="*/ 2516458 w 9907829"/>
              <a:gd name="connsiteY789" fmla="*/ 3289114 h 6706386"/>
              <a:gd name="connsiteX790" fmla="*/ 2622434 w 9907829"/>
              <a:gd name="connsiteY790" fmla="*/ 3177999 h 6706386"/>
              <a:gd name="connsiteX791" fmla="*/ 2520311 w 9907829"/>
              <a:gd name="connsiteY791" fmla="*/ 3009721 h 6706386"/>
              <a:gd name="connsiteX792" fmla="*/ 2283309 w 9907829"/>
              <a:gd name="connsiteY792" fmla="*/ 3180568 h 6706386"/>
              <a:gd name="connsiteX793" fmla="*/ 2032820 w 9907829"/>
              <a:gd name="connsiteY793" fmla="*/ 2930079 h 6706386"/>
              <a:gd name="connsiteX794" fmla="*/ 2283309 w 9907829"/>
              <a:gd name="connsiteY794" fmla="*/ 2679589 h 6706386"/>
              <a:gd name="connsiteX795" fmla="*/ 2520311 w 9907829"/>
              <a:gd name="connsiteY795" fmla="*/ 2850436 h 6706386"/>
              <a:gd name="connsiteX796" fmla="*/ 2732265 w 9907829"/>
              <a:gd name="connsiteY796" fmla="*/ 2617930 h 6706386"/>
              <a:gd name="connsiteX797" fmla="*/ 2571694 w 9907829"/>
              <a:gd name="connsiteY797" fmla="*/ 2371936 h 6706386"/>
              <a:gd name="connsiteX798" fmla="*/ 2840168 w 9907829"/>
              <a:gd name="connsiteY798" fmla="*/ 2103463 h 6706386"/>
              <a:gd name="connsiteX799" fmla="*/ 3084876 w 9907829"/>
              <a:gd name="connsiteY799" fmla="*/ 2261464 h 6706386"/>
              <a:gd name="connsiteX800" fmla="*/ 3303897 w 9907829"/>
              <a:gd name="connsiteY800" fmla="*/ 2054007 h 6706386"/>
              <a:gd name="connsiteX801" fmla="*/ 3140113 w 9907829"/>
              <a:gd name="connsiteY801" fmla="*/ 1815078 h 6706386"/>
              <a:gd name="connsiteX802" fmla="*/ 3397026 w 9907829"/>
              <a:gd name="connsiteY802" fmla="*/ 1558166 h 6706386"/>
              <a:gd name="connsiteX803" fmla="*/ 3646231 w 9907829"/>
              <a:gd name="connsiteY803" fmla="*/ 1754704 h 6706386"/>
              <a:gd name="connsiteX804" fmla="*/ 3953882 w 9907829"/>
              <a:gd name="connsiteY804" fmla="*/ 1501646 h 6706386"/>
              <a:gd name="connsiteX805" fmla="*/ 4206301 w 9907829"/>
              <a:gd name="connsiteY805" fmla="*/ 1628817 h 6706386"/>
              <a:gd name="connsiteX806" fmla="*/ 4368154 w 9907829"/>
              <a:gd name="connsiteY806" fmla="*/ 1487515 h 6706386"/>
              <a:gd name="connsiteX807" fmla="*/ 4240341 w 9907829"/>
              <a:gd name="connsiteY807" fmla="*/ 1257578 h 6706386"/>
              <a:gd name="connsiteX808" fmla="*/ 4510741 w 9907829"/>
              <a:gd name="connsiteY808" fmla="*/ 987177 h 6706386"/>
              <a:gd name="connsiteX809" fmla="*/ 4770864 w 9907829"/>
              <a:gd name="connsiteY809" fmla="*/ 1185001 h 6706386"/>
              <a:gd name="connsiteX810" fmla="*/ 5067599 w 9907829"/>
              <a:gd name="connsiteY810" fmla="*/ 952495 h 6706386"/>
              <a:gd name="connsiteX811" fmla="*/ 5333505 w 9907829"/>
              <a:gd name="connsiteY811" fmla="*/ 1107927 h 6706386"/>
              <a:gd name="connsiteX812" fmla="*/ 5624456 w 9907829"/>
              <a:gd name="connsiteY812" fmla="*/ 930657 h 6706386"/>
              <a:gd name="connsiteX813" fmla="*/ 5897426 w 9907829"/>
              <a:gd name="connsiteY813" fmla="*/ 1077739 h 6706386"/>
              <a:gd name="connsiteX814" fmla="*/ 6109379 w 9907829"/>
              <a:gd name="connsiteY814" fmla="*/ 929373 h 6706386"/>
              <a:gd name="connsiteX815" fmla="*/ 5942386 w 9907829"/>
              <a:gd name="connsiteY815" fmla="*/ 700721 h 6706386"/>
              <a:gd name="connsiteX816" fmla="*/ 6181956 w 9907829"/>
              <a:gd name="connsiteY816" fmla="*/ 461149 h 6706386"/>
              <a:gd name="connsiteX817" fmla="*/ 2840168 w 9907829"/>
              <a:gd name="connsiteY817" fmla="*/ 113689 h 6706386"/>
              <a:gd name="connsiteX818" fmla="*/ 2869713 w 9907829"/>
              <a:gd name="connsiteY818" fmla="*/ 143233 h 6706386"/>
              <a:gd name="connsiteX819" fmla="*/ 2869581 w 9907829"/>
              <a:gd name="connsiteY819" fmla="*/ 143551 h 6706386"/>
              <a:gd name="connsiteX820" fmla="*/ 2869713 w 9907829"/>
              <a:gd name="connsiteY820" fmla="*/ 143871 h 6706386"/>
              <a:gd name="connsiteX821" fmla="*/ 2840168 w 9907829"/>
              <a:gd name="connsiteY821" fmla="*/ 173415 h 6706386"/>
              <a:gd name="connsiteX822" fmla="*/ 2810622 w 9907829"/>
              <a:gd name="connsiteY822" fmla="*/ 143871 h 6706386"/>
              <a:gd name="connsiteX823" fmla="*/ 2810753 w 9907829"/>
              <a:gd name="connsiteY823" fmla="*/ 143551 h 6706386"/>
              <a:gd name="connsiteX824" fmla="*/ 2810622 w 9907829"/>
              <a:gd name="connsiteY824" fmla="*/ 143233 h 6706386"/>
              <a:gd name="connsiteX825" fmla="*/ 2840168 w 9907829"/>
              <a:gd name="connsiteY825" fmla="*/ 113689 h 6706386"/>
              <a:gd name="connsiteX826" fmla="*/ 3397667 w 9907829"/>
              <a:gd name="connsiteY826" fmla="*/ 93779 h 6706386"/>
              <a:gd name="connsiteX827" fmla="*/ 3447123 w 9907829"/>
              <a:gd name="connsiteY827" fmla="*/ 143233 h 6706386"/>
              <a:gd name="connsiteX828" fmla="*/ 3446990 w 9907829"/>
              <a:gd name="connsiteY828" fmla="*/ 143553 h 6706386"/>
              <a:gd name="connsiteX829" fmla="*/ 3447123 w 9907829"/>
              <a:gd name="connsiteY829" fmla="*/ 143871 h 6706386"/>
              <a:gd name="connsiteX830" fmla="*/ 3397667 w 9907829"/>
              <a:gd name="connsiteY830" fmla="*/ 193326 h 6706386"/>
              <a:gd name="connsiteX831" fmla="*/ 3348213 w 9907829"/>
              <a:gd name="connsiteY831" fmla="*/ 143871 h 6706386"/>
              <a:gd name="connsiteX832" fmla="*/ 3348344 w 9907829"/>
              <a:gd name="connsiteY832" fmla="*/ 143553 h 6706386"/>
              <a:gd name="connsiteX833" fmla="*/ 3348213 w 9907829"/>
              <a:gd name="connsiteY833" fmla="*/ 143233 h 6706386"/>
              <a:gd name="connsiteX834" fmla="*/ 3397667 w 9907829"/>
              <a:gd name="connsiteY834" fmla="*/ 93779 h 6706386"/>
              <a:gd name="connsiteX835" fmla="*/ 3954524 w 9907829"/>
              <a:gd name="connsiteY835" fmla="*/ 71299 h 6706386"/>
              <a:gd name="connsiteX836" fmla="*/ 4026460 w 9907829"/>
              <a:gd name="connsiteY836" fmla="*/ 143235 h 6706386"/>
              <a:gd name="connsiteX837" fmla="*/ 4026397 w 9907829"/>
              <a:gd name="connsiteY837" fmla="*/ 143553 h 6706386"/>
              <a:gd name="connsiteX838" fmla="*/ 4026460 w 9907829"/>
              <a:gd name="connsiteY838" fmla="*/ 143871 h 6706386"/>
              <a:gd name="connsiteX839" fmla="*/ 3954524 w 9907829"/>
              <a:gd name="connsiteY839" fmla="*/ 215806 h 6706386"/>
              <a:gd name="connsiteX840" fmla="*/ 3882590 w 9907829"/>
              <a:gd name="connsiteY840" fmla="*/ 143871 h 6706386"/>
              <a:gd name="connsiteX841" fmla="*/ 3882654 w 9907829"/>
              <a:gd name="connsiteY841" fmla="*/ 143553 h 6706386"/>
              <a:gd name="connsiteX842" fmla="*/ 3882590 w 9907829"/>
              <a:gd name="connsiteY842" fmla="*/ 143235 h 6706386"/>
              <a:gd name="connsiteX843" fmla="*/ 3954524 w 9907829"/>
              <a:gd name="connsiteY843" fmla="*/ 71299 h 6706386"/>
              <a:gd name="connsiteX844" fmla="*/ 4511383 w 9907829"/>
              <a:gd name="connsiteY844" fmla="*/ 47529 h 6706386"/>
              <a:gd name="connsiteX845" fmla="*/ 4607725 w 9907829"/>
              <a:gd name="connsiteY845" fmla="*/ 143871 h 6706386"/>
              <a:gd name="connsiteX846" fmla="*/ 4607725 w 9907829"/>
              <a:gd name="connsiteY846" fmla="*/ 143873 h 6706386"/>
              <a:gd name="connsiteX847" fmla="*/ 4607725 w 9907829"/>
              <a:gd name="connsiteY847" fmla="*/ 143877 h 6706386"/>
              <a:gd name="connsiteX848" fmla="*/ 4511383 w 9907829"/>
              <a:gd name="connsiteY848" fmla="*/ 240219 h 6706386"/>
              <a:gd name="connsiteX849" fmla="*/ 4415041 w 9907829"/>
              <a:gd name="connsiteY849" fmla="*/ 143877 h 6706386"/>
              <a:gd name="connsiteX850" fmla="*/ 4415042 w 9907829"/>
              <a:gd name="connsiteY850" fmla="*/ 143873 h 6706386"/>
              <a:gd name="connsiteX851" fmla="*/ 4415041 w 9907829"/>
              <a:gd name="connsiteY851" fmla="*/ 143871 h 6706386"/>
              <a:gd name="connsiteX852" fmla="*/ 4511383 w 9907829"/>
              <a:gd name="connsiteY852" fmla="*/ 47529 h 6706386"/>
              <a:gd name="connsiteX853" fmla="*/ 5068241 w 9907829"/>
              <a:gd name="connsiteY853" fmla="*/ 26334 h 6706386"/>
              <a:gd name="connsiteX854" fmla="*/ 5185778 w 9907829"/>
              <a:gd name="connsiteY854" fmla="*/ 143871 h 6706386"/>
              <a:gd name="connsiteX855" fmla="*/ 5185778 w 9907829"/>
              <a:gd name="connsiteY855" fmla="*/ 143874 h 6706386"/>
              <a:gd name="connsiteX856" fmla="*/ 5185778 w 9907829"/>
              <a:gd name="connsiteY856" fmla="*/ 143877 h 6706386"/>
              <a:gd name="connsiteX857" fmla="*/ 5068241 w 9907829"/>
              <a:gd name="connsiteY857" fmla="*/ 261414 h 6706386"/>
              <a:gd name="connsiteX858" fmla="*/ 4950704 w 9907829"/>
              <a:gd name="connsiteY858" fmla="*/ 143877 h 6706386"/>
              <a:gd name="connsiteX859" fmla="*/ 4950705 w 9907829"/>
              <a:gd name="connsiteY859" fmla="*/ 143874 h 6706386"/>
              <a:gd name="connsiteX860" fmla="*/ 4950704 w 9907829"/>
              <a:gd name="connsiteY860" fmla="*/ 143871 h 6706386"/>
              <a:gd name="connsiteX861" fmla="*/ 4950925 w 9907829"/>
              <a:gd name="connsiteY861" fmla="*/ 142777 h 6706386"/>
              <a:gd name="connsiteX862" fmla="*/ 4959946 w 9907829"/>
              <a:gd name="connsiteY862" fmla="*/ 97875 h 6706386"/>
              <a:gd name="connsiteX863" fmla="*/ 5022508 w 9907829"/>
              <a:gd name="connsiteY863" fmla="*/ 35492 h 6706386"/>
              <a:gd name="connsiteX864" fmla="*/ 5064898 w 9907829"/>
              <a:gd name="connsiteY864" fmla="*/ 27009 h 6706386"/>
              <a:gd name="connsiteX865" fmla="*/ 7296313 w 9907829"/>
              <a:gd name="connsiteY865" fmla="*/ 10283 h 6706386"/>
              <a:gd name="connsiteX866" fmla="*/ 7429266 w 9907829"/>
              <a:gd name="connsiteY866" fmla="*/ 143235 h 6706386"/>
              <a:gd name="connsiteX867" fmla="*/ 7429201 w 9907829"/>
              <a:gd name="connsiteY867" fmla="*/ 143553 h 6706386"/>
              <a:gd name="connsiteX868" fmla="*/ 7429266 w 9907829"/>
              <a:gd name="connsiteY868" fmla="*/ 143871 h 6706386"/>
              <a:gd name="connsiteX869" fmla="*/ 7296313 w 9907829"/>
              <a:gd name="connsiteY869" fmla="*/ 276822 h 6706386"/>
              <a:gd name="connsiteX870" fmla="*/ 7163362 w 9907829"/>
              <a:gd name="connsiteY870" fmla="*/ 143871 h 6706386"/>
              <a:gd name="connsiteX871" fmla="*/ 7163425 w 9907829"/>
              <a:gd name="connsiteY871" fmla="*/ 143553 h 6706386"/>
              <a:gd name="connsiteX872" fmla="*/ 7163362 w 9907829"/>
              <a:gd name="connsiteY872" fmla="*/ 143235 h 6706386"/>
              <a:gd name="connsiteX873" fmla="*/ 7296313 w 9907829"/>
              <a:gd name="connsiteY873" fmla="*/ 10283 h 6706386"/>
              <a:gd name="connsiteX874" fmla="*/ 5625740 w 9907829"/>
              <a:gd name="connsiteY874" fmla="*/ 10283 h 6706386"/>
              <a:gd name="connsiteX875" fmla="*/ 5758691 w 9907829"/>
              <a:gd name="connsiteY875" fmla="*/ 143234 h 6706386"/>
              <a:gd name="connsiteX876" fmla="*/ 5758627 w 9907829"/>
              <a:gd name="connsiteY876" fmla="*/ 143553 h 6706386"/>
              <a:gd name="connsiteX877" fmla="*/ 5758691 w 9907829"/>
              <a:gd name="connsiteY877" fmla="*/ 143871 h 6706386"/>
              <a:gd name="connsiteX878" fmla="*/ 5625740 w 9907829"/>
              <a:gd name="connsiteY878" fmla="*/ 276822 h 6706386"/>
              <a:gd name="connsiteX879" fmla="*/ 5492788 w 9907829"/>
              <a:gd name="connsiteY879" fmla="*/ 143871 h 6706386"/>
              <a:gd name="connsiteX880" fmla="*/ 5492852 w 9907829"/>
              <a:gd name="connsiteY880" fmla="*/ 143553 h 6706386"/>
              <a:gd name="connsiteX881" fmla="*/ 5492788 w 9907829"/>
              <a:gd name="connsiteY881" fmla="*/ 143234 h 6706386"/>
              <a:gd name="connsiteX882" fmla="*/ 5625740 w 9907829"/>
              <a:gd name="connsiteY882" fmla="*/ 10283 h 6706386"/>
              <a:gd name="connsiteX883" fmla="*/ 6182597 w 9907829"/>
              <a:gd name="connsiteY883" fmla="*/ 1 h 6706386"/>
              <a:gd name="connsiteX884" fmla="*/ 6325827 w 9907829"/>
              <a:gd name="connsiteY884" fmla="*/ 143228 h 6706386"/>
              <a:gd name="connsiteX885" fmla="*/ 6325761 w 9907829"/>
              <a:gd name="connsiteY885" fmla="*/ 143553 h 6706386"/>
              <a:gd name="connsiteX886" fmla="*/ 6325827 w 9907829"/>
              <a:gd name="connsiteY886" fmla="*/ 143876 h 6706386"/>
              <a:gd name="connsiteX887" fmla="*/ 6182597 w 9907829"/>
              <a:gd name="connsiteY887" fmla="*/ 287105 h 6706386"/>
              <a:gd name="connsiteX888" fmla="*/ 6039369 w 9907829"/>
              <a:gd name="connsiteY888" fmla="*/ 143876 h 6706386"/>
              <a:gd name="connsiteX889" fmla="*/ 6039435 w 9907829"/>
              <a:gd name="connsiteY889" fmla="*/ 143554 h 6706386"/>
              <a:gd name="connsiteX890" fmla="*/ 6039369 w 9907829"/>
              <a:gd name="connsiteY890" fmla="*/ 143228 h 6706386"/>
              <a:gd name="connsiteX891" fmla="*/ 6182597 w 9907829"/>
              <a:gd name="connsiteY891" fmla="*/ 1 h 6706386"/>
              <a:gd name="connsiteX892" fmla="*/ 6739456 w 9907829"/>
              <a:gd name="connsiteY892" fmla="*/ 0 h 6706386"/>
              <a:gd name="connsiteX893" fmla="*/ 6882684 w 9907829"/>
              <a:gd name="connsiteY893" fmla="*/ 143228 h 6706386"/>
              <a:gd name="connsiteX894" fmla="*/ 6882619 w 9907829"/>
              <a:gd name="connsiteY894" fmla="*/ 143553 h 6706386"/>
              <a:gd name="connsiteX895" fmla="*/ 6882684 w 9907829"/>
              <a:gd name="connsiteY895" fmla="*/ 143877 h 6706386"/>
              <a:gd name="connsiteX896" fmla="*/ 6739456 w 9907829"/>
              <a:gd name="connsiteY896" fmla="*/ 287105 h 6706386"/>
              <a:gd name="connsiteX897" fmla="*/ 6596227 w 9907829"/>
              <a:gd name="connsiteY897" fmla="*/ 143877 h 6706386"/>
              <a:gd name="connsiteX898" fmla="*/ 6596293 w 9907829"/>
              <a:gd name="connsiteY898" fmla="*/ 143554 h 6706386"/>
              <a:gd name="connsiteX899" fmla="*/ 6596227 w 9907829"/>
              <a:gd name="connsiteY899" fmla="*/ 143228 h 6706386"/>
              <a:gd name="connsiteX900" fmla="*/ 6739456 w 9907829"/>
              <a:gd name="connsiteY900" fmla="*/ 0 h 6706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</a:cxnLst>
            <a:rect l="l" t="t" r="r" b="b"/>
            <a:pathLst>
              <a:path w="9907829" h="6706386">
                <a:moveTo>
                  <a:pt x="1169593" y="6629618"/>
                </a:moveTo>
                <a:cubicBezTo>
                  <a:pt x="1224187" y="6629618"/>
                  <a:pt x="1273643" y="6651777"/>
                  <a:pt x="1309450" y="6687585"/>
                </a:cubicBezTo>
                <a:lnTo>
                  <a:pt x="1322130" y="6706386"/>
                </a:lnTo>
                <a:lnTo>
                  <a:pt x="1017056" y="6706386"/>
                </a:lnTo>
                <a:lnTo>
                  <a:pt x="1029737" y="6687585"/>
                </a:lnTo>
                <a:cubicBezTo>
                  <a:pt x="1065544" y="6651777"/>
                  <a:pt x="1115000" y="6629618"/>
                  <a:pt x="1169593" y="6629618"/>
                </a:cubicBezTo>
                <a:close/>
                <a:moveTo>
                  <a:pt x="55237" y="6215347"/>
                </a:moveTo>
                <a:lnTo>
                  <a:pt x="55307" y="6215361"/>
                </a:lnTo>
                <a:lnTo>
                  <a:pt x="76965" y="6219732"/>
                </a:lnTo>
                <a:cubicBezTo>
                  <a:pt x="96985" y="6228192"/>
                  <a:pt x="110954" y="6247944"/>
                  <a:pt x="110472" y="6270583"/>
                </a:cubicBezTo>
                <a:cubicBezTo>
                  <a:pt x="111115" y="6301414"/>
                  <a:pt x="86068" y="6325821"/>
                  <a:pt x="55237" y="6325821"/>
                </a:cubicBezTo>
                <a:cubicBezTo>
                  <a:pt x="47690" y="6325821"/>
                  <a:pt x="40465" y="6324295"/>
                  <a:pt x="33871" y="6321525"/>
                </a:cubicBezTo>
                <a:lnTo>
                  <a:pt x="33795" y="6321474"/>
                </a:lnTo>
                <a:lnTo>
                  <a:pt x="33600" y="6321435"/>
                </a:lnTo>
                <a:lnTo>
                  <a:pt x="24284" y="6315109"/>
                </a:lnTo>
                <a:lnTo>
                  <a:pt x="16299" y="6309763"/>
                </a:lnTo>
                <a:lnTo>
                  <a:pt x="16253" y="6309654"/>
                </a:lnTo>
                <a:lnTo>
                  <a:pt x="16058" y="6309523"/>
                </a:lnTo>
                <a:cubicBezTo>
                  <a:pt x="6103" y="6299486"/>
                  <a:pt x="0" y="6285676"/>
                  <a:pt x="0" y="6270583"/>
                </a:cubicBezTo>
                <a:cubicBezTo>
                  <a:pt x="0" y="6255489"/>
                  <a:pt x="6103" y="6241681"/>
                  <a:pt x="16058" y="6231646"/>
                </a:cubicBezTo>
                <a:lnTo>
                  <a:pt x="16253" y="6231513"/>
                </a:lnTo>
                <a:lnTo>
                  <a:pt x="16299" y="6231404"/>
                </a:lnTo>
                <a:lnTo>
                  <a:pt x="24276" y="6226065"/>
                </a:lnTo>
                <a:lnTo>
                  <a:pt x="33600" y="6219732"/>
                </a:lnTo>
                <a:lnTo>
                  <a:pt x="33795" y="6219693"/>
                </a:lnTo>
                <a:lnTo>
                  <a:pt x="33871" y="6219642"/>
                </a:lnTo>
                <a:lnTo>
                  <a:pt x="55202" y="6215355"/>
                </a:lnTo>
                <a:close/>
                <a:moveTo>
                  <a:pt x="612736" y="6148550"/>
                </a:moveTo>
                <a:cubicBezTo>
                  <a:pt x="680176" y="6148550"/>
                  <a:pt x="734770" y="6203144"/>
                  <a:pt x="734770" y="6270583"/>
                </a:cubicBezTo>
                <a:cubicBezTo>
                  <a:pt x="734770" y="6338023"/>
                  <a:pt x="680176" y="6392617"/>
                  <a:pt x="612736" y="6392617"/>
                </a:cubicBezTo>
                <a:cubicBezTo>
                  <a:pt x="545297" y="6392617"/>
                  <a:pt x="490703" y="6338023"/>
                  <a:pt x="490703" y="6270583"/>
                </a:cubicBezTo>
                <a:cubicBezTo>
                  <a:pt x="490703" y="6203144"/>
                  <a:pt x="545297" y="6148550"/>
                  <a:pt x="612736" y="6148550"/>
                </a:cubicBezTo>
                <a:close/>
                <a:moveTo>
                  <a:pt x="1169594" y="6059273"/>
                </a:moveTo>
                <a:cubicBezTo>
                  <a:pt x="1286489" y="6059273"/>
                  <a:pt x="1380904" y="6153688"/>
                  <a:pt x="1380904" y="6270583"/>
                </a:cubicBezTo>
                <a:lnTo>
                  <a:pt x="1380838" y="6270905"/>
                </a:lnTo>
                <a:lnTo>
                  <a:pt x="1380904" y="6271227"/>
                </a:lnTo>
                <a:cubicBezTo>
                  <a:pt x="1380904" y="6388121"/>
                  <a:pt x="1286489" y="6482537"/>
                  <a:pt x="1169594" y="6482537"/>
                </a:cubicBezTo>
                <a:cubicBezTo>
                  <a:pt x="1052699" y="6482537"/>
                  <a:pt x="958283" y="6387479"/>
                  <a:pt x="958283" y="6271227"/>
                </a:cubicBezTo>
                <a:lnTo>
                  <a:pt x="958349" y="6270905"/>
                </a:lnTo>
                <a:lnTo>
                  <a:pt x="958283" y="6270583"/>
                </a:lnTo>
                <a:cubicBezTo>
                  <a:pt x="958283" y="6153688"/>
                  <a:pt x="1052699" y="6059273"/>
                  <a:pt x="1169594" y="6059273"/>
                </a:cubicBezTo>
                <a:close/>
                <a:moveTo>
                  <a:pt x="55237" y="5658490"/>
                </a:moveTo>
                <a:lnTo>
                  <a:pt x="55274" y="5658497"/>
                </a:lnTo>
                <a:lnTo>
                  <a:pt x="76604" y="5662785"/>
                </a:lnTo>
                <a:lnTo>
                  <a:pt x="76679" y="5662836"/>
                </a:lnTo>
                <a:lnTo>
                  <a:pt x="76875" y="5662875"/>
                </a:lnTo>
                <a:lnTo>
                  <a:pt x="86311" y="5669282"/>
                </a:lnTo>
                <a:lnTo>
                  <a:pt x="94175" y="5674547"/>
                </a:lnTo>
                <a:lnTo>
                  <a:pt x="94219" y="5674653"/>
                </a:lnTo>
                <a:lnTo>
                  <a:pt x="94417" y="5674787"/>
                </a:lnTo>
                <a:cubicBezTo>
                  <a:pt x="104372" y="5684823"/>
                  <a:pt x="110472" y="5698632"/>
                  <a:pt x="110472" y="5713725"/>
                </a:cubicBezTo>
                <a:cubicBezTo>
                  <a:pt x="110472" y="5728819"/>
                  <a:pt x="104372" y="5742628"/>
                  <a:pt x="94417" y="5752664"/>
                </a:cubicBezTo>
                <a:lnTo>
                  <a:pt x="94219" y="5752798"/>
                </a:lnTo>
                <a:lnTo>
                  <a:pt x="94175" y="5752904"/>
                </a:lnTo>
                <a:lnTo>
                  <a:pt x="86269" y="5758197"/>
                </a:lnTo>
                <a:lnTo>
                  <a:pt x="76874" y="5764576"/>
                </a:lnTo>
                <a:lnTo>
                  <a:pt x="76679" y="5764616"/>
                </a:lnTo>
                <a:lnTo>
                  <a:pt x="76604" y="5764666"/>
                </a:lnTo>
                <a:cubicBezTo>
                  <a:pt x="70010" y="5767437"/>
                  <a:pt x="62784" y="5768962"/>
                  <a:pt x="55237" y="5768962"/>
                </a:cubicBezTo>
                <a:cubicBezTo>
                  <a:pt x="47690" y="5768962"/>
                  <a:pt x="40465" y="5767437"/>
                  <a:pt x="33871" y="5764666"/>
                </a:cubicBezTo>
                <a:lnTo>
                  <a:pt x="33795" y="5764616"/>
                </a:lnTo>
                <a:lnTo>
                  <a:pt x="33600" y="5764576"/>
                </a:lnTo>
                <a:lnTo>
                  <a:pt x="24251" y="5758228"/>
                </a:lnTo>
                <a:lnTo>
                  <a:pt x="16299" y="5752904"/>
                </a:lnTo>
                <a:lnTo>
                  <a:pt x="16255" y="5752797"/>
                </a:lnTo>
                <a:lnTo>
                  <a:pt x="16058" y="5752664"/>
                </a:lnTo>
                <a:cubicBezTo>
                  <a:pt x="6103" y="5742628"/>
                  <a:pt x="0" y="5728819"/>
                  <a:pt x="0" y="5713725"/>
                </a:cubicBezTo>
                <a:cubicBezTo>
                  <a:pt x="0" y="5698632"/>
                  <a:pt x="6103" y="5684823"/>
                  <a:pt x="16058" y="5674787"/>
                </a:cubicBezTo>
                <a:lnTo>
                  <a:pt x="16255" y="5674654"/>
                </a:lnTo>
                <a:lnTo>
                  <a:pt x="16299" y="5674547"/>
                </a:lnTo>
                <a:lnTo>
                  <a:pt x="24238" y="5669234"/>
                </a:lnTo>
                <a:lnTo>
                  <a:pt x="33600" y="5662875"/>
                </a:lnTo>
                <a:lnTo>
                  <a:pt x="33795" y="5662836"/>
                </a:lnTo>
                <a:lnTo>
                  <a:pt x="33871" y="5662785"/>
                </a:lnTo>
                <a:lnTo>
                  <a:pt x="55202" y="5658497"/>
                </a:lnTo>
                <a:close/>
                <a:moveTo>
                  <a:pt x="612736" y="5590407"/>
                </a:moveTo>
                <a:cubicBezTo>
                  <a:pt x="680818" y="5590407"/>
                  <a:pt x="736054" y="5645644"/>
                  <a:pt x="736054" y="5713725"/>
                </a:cubicBezTo>
                <a:cubicBezTo>
                  <a:pt x="736054" y="5781807"/>
                  <a:pt x="680818" y="5837044"/>
                  <a:pt x="612736" y="5837044"/>
                </a:cubicBezTo>
                <a:cubicBezTo>
                  <a:pt x="544012" y="5837044"/>
                  <a:pt x="488776" y="5781807"/>
                  <a:pt x="489419" y="5713725"/>
                </a:cubicBezTo>
                <a:cubicBezTo>
                  <a:pt x="488776" y="5645644"/>
                  <a:pt x="544012" y="5590407"/>
                  <a:pt x="612736" y="5590407"/>
                </a:cubicBezTo>
                <a:close/>
                <a:moveTo>
                  <a:pt x="1163664" y="5500788"/>
                </a:moveTo>
                <a:lnTo>
                  <a:pt x="1168703" y="5501137"/>
                </a:lnTo>
                <a:lnTo>
                  <a:pt x="1169494" y="5500982"/>
                </a:lnTo>
                <a:lnTo>
                  <a:pt x="1171160" y="5501306"/>
                </a:lnTo>
                <a:lnTo>
                  <a:pt x="1205348" y="5503673"/>
                </a:lnTo>
                <a:lnTo>
                  <a:pt x="1228727" y="5512507"/>
                </a:lnTo>
                <a:lnTo>
                  <a:pt x="1249493" y="5516548"/>
                </a:lnTo>
                <a:lnTo>
                  <a:pt x="1262800" y="5525385"/>
                </a:lnTo>
                <a:lnTo>
                  <a:pt x="1281583" y="5532483"/>
                </a:lnTo>
                <a:lnTo>
                  <a:pt x="1302288" y="5551608"/>
                </a:lnTo>
                <a:lnTo>
                  <a:pt x="1319819" y="5563249"/>
                </a:lnTo>
                <a:lnTo>
                  <a:pt x="1327634" y="5575016"/>
                </a:lnTo>
                <a:lnTo>
                  <a:pt x="1341451" y="5587778"/>
                </a:lnTo>
                <a:lnTo>
                  <a:pt x="1353491" y="5613955"/>
                </a:lnTo>
                <a:lnTo>
                  <a:pt x="1366520" y="5633576"/>
                </a:lnTo>
                <a:lnTo>
                  <a:pt x="1369458" y="5648668"/>
                </a:lnTo>
                <a:lnTo>
                  <a:pt x="1376727" y="5664474"/>
                </a:lnTo>
                <a:lnTo>
                  <a:pt x="1377574" y="5690377"/>
                </a:lnTo>
                <a:lnTo>
                  <a:pt x="1382088" y="5713576"/>
                </a:lnTo>
                <a:lnTo>
                  <a:pt x="1378872" y="5730102"/>
                </a:lnTo>
                <a:lnTo>
                  <a:pt x="1379484" y="5748846"/>
                </a:lnTo>
                <a:lnTo>
                  <a:pt x="1370703" y="5772081"/>
                </a:lnTo>
                <a:lnTo>
                  <a:pt x="1366520" y="5793574"/>
                </a:lnTo>
                <a:lnTo>
                  <a:pt x="1357375" y="5807346"/>
                </a:lnTo>
                <a:lnTo>
                  <a:pt x="1350673" y="5825080"/>
                </a:lnTo>
                <a:lnTo>
                  <a:pt x="1332617" y="5844631"/>
                </a:lnTo>
                <a:lnTo>
                  <a:pt x="1319819" y="5863902"/>
                </a:lnTo>
                <a:lnTo>
                  <a:pt x="1306885" y="5872491"/>
                </a:lnTo>
                <a:lnTo>
                  <a:pt x="1295378" y="5884949"/>
                </a:lnTo>
                <a:lnTo>
                  <a:pt x="1271775" y="5895806"/>
                </a:lnTo>
                <a:lnTo>
                  <a:pt x="1249493" y="5910602"/>
                </a:lnTo>
                <a:lnTo>
                  <a:pt x="1232357" y="5913937"/>
                </a:lnTo>
                <a:lnTo>
                  <a:pt x="1218684" y="5920225"/>
                </a:lnTo>
                <a:cubicBezTo>
                  <a:pt x="1204402" y="5923598"/>
                  <a:pt x="1190114" y="5925443"/>
                  <a:pt x="1175995" y="5925867"/>
                </a:cubicBezTo>
                <a:lnTo>
                  <a:pt x="1172342" y="5925615"/>
                </a:lnTo>
                <a:lnTo>
                  <a:pt x="1169494" y="5926168"/>
                </a:lnTo>
                <a:lnTo>
                  <a:pt x="1163502" y="5925002"/>
                </a:lnTo>
                <a:lnTo>
                  <a:pt x="1134312" y="5922982"/>
                </a:lnTo>
                <a:lnTo>
                  <a:pt x="1114348" y="5915438"/>
                </a:lnTo>
                <a:lnTo>
                  <a:pt x="1089495" y="5910602"/>
                </a:lnTo>
                <a:lnTo>
                  <a:pt x="1073571" y="5900026"/>
                </a:lnTo>
                <a:lnTo>
                  <a:pt x="1058076" y="5894170"/>
                </a:lnTo>
                <a:lnTo>
                  <a:pt x="1040996" y="5878397"/>
                </a:lnTo>
                <a:lnTo>
                  <a:pt x="1019168" y="5863901"/>
                </a:lnTo>
                <a:lnTo>
                  <a:pt x="1009439" y="5849250"/>
                </a:lnTo>
                <a:lnTo>
                  <a:pt x="998208" y="5838876"/>
                </a:lnTo>
                <a:lnTo>
                  <a:pt x="988420" y="5817597"/>
                </a:lnTo>
                <a:lnTo>
                  <a:pt x="972468" y="5793574"/>
                </a:lnTo>
                <a:lnTo>
                  <a:pt x="968872" y="5775098"/>
                </a:lnTo>
                <a:lnTo>
                  <a:pt x="962932" y="5762182"/>
                </a:lnTo>
                <a:lnTo>
                  <a:pt x="962240" y="5741014"/>
                </a:lnTo>
                <a:lnTo>
                  <a:pt x="956901" y="5713576"/>
                </a:lnTo>
                <a:lnTo>
                  <a:pt x="960705" y="5694026"/>
                </a:lnTo>
                <a:lnTo>
                  <a:pt x="960175" y="5677809"/>
                </a:lnTo>
                <a:lnTo>
                  <a:pt x="967773" y="5657705"/>
                </a:lnTo>
                <a:lnTo>
                  <a:pt x="972468" y="5633577"/>
                </a:lnTo>
                <a:lnTo>
                  <a:pt x="982734" y="5618115"/>
                </a:lnTo>
                <a:lnTo>
                  <a:pt x="988986" y="5601574"/>
                </a:lnTo>
                <a:lnTo>
                  <a:pt x="1005827" y="5583340"/>
                </a:lnTo>
                <a:lnTo>
                  <a:pt x="1019168" y="5563249"/>
                </a:lnTo>
                <a:lnTo>
                  <a:pt x="1032653" y="5554295"/>
                </a:lnTo>
                <a:lnTo>
                  <a:pt x="1044281" y="5541705"/>
                </a:lnTo>
                <a:lnTo>
                  <a:pt x="1068135" y="5530733"/>
                </a:lnTo>
                <a:lnTo>
                  <a:pt x="1089496" y="5516549"/>
                </a:lnTo>
                <a:lnTo>
                  <a:pt x="1105926" y="5513352"/>
                </a:lnTo>
                <a:lnTo>
                  <a:pt x="1120975" y="5506430"/>
                </a:lnTo>
                <a:cubicBezTo>
                  <a:pt x="1135259" y="5503057"/>
                  <a:pt x="1149545" y="5501211"/>
                  <a:pt x="1163664" y="5500788"/>
                </a:cubicBezTo>
                <a:close/>
                <a:moveTo>
                  <a:pt x="55236" y="5103558"/>
                </a:moveTo>
                <a:cubicBezTo>
                  <a:pt x="84783" y="5103558"/>
                  <a:pt x="108546" y="5127323"/>
                  <a:pt x="108546" y="5156867"/>
                </a:cubicBezTo>
                <a:cubicBezTo>
                  <a:pt x="108546" y="5186412"/>
                  <a:pt x="84783" y="5210177"/>
                  <a:pt x="55236" y="5210177"/>
                </a:cubicBezTo>
                <a:cubicBezTo>
                  <a:pt x="25691" y="5210177"/>
                  <a:pt x="1928" y="5186412"/>
                  <a:pt x="1928" y="5156867"/>
                </a:cubicBezTo>
                <a:cubicBezTo>
                  <a:pt x="1928" y="5127323"/>
                  <a:pt x="25691" y="5103558"/>
                  <a:pt x="55236" y="5103558"/>
                </a:cubicBezTo>
                <a:close/>
                <a:moveTo>
                  <a:pt x="612737" y="5039330"/>
                </a:moveTo>
                <a:cubicBezTo>
                  <a:pt x="677607" y="5039330"/>
                  <a:pt x="729632" y="5091997"/>
                  <a:pt x="729632" y="5156225"/>
                </a:cubicBezTo>
                <a:lnTo>
                  <a:pt x="729567" y="5156546"/>
                </a:lnTo>
                <a:lnTo>
                  <a:pt x="729632" y="5156868"/>
                </a:lnTo>
                <a:cubicBezTo>
                  <a:pt x="729632" y="5221095"/>
                  <a:pt x="677607" y="5273763"/>
                  <a:pt x="612737" y="5273763"/>
                </a:cubicBezTo>
                <a:cubicBezTo>
                  <a:pt x="548509" y="5273763"/>
                  <a:pt x="495841" y="5221738"/>
                  <a:pt x="495841" y="5156868"/>
                </a:cubicBezTo>
                <a:lnTo>
                  <a:pt x="495906" y="5156546"/>
                </a:lnTo>
                <a:lnTo>
                  <a:pt x="495841" y="5156225"/>
                </a:lnTo>
                <a:cubicBezTo>
                  <a:pt x="495841" y="5091354"/>
                  <a:pt x="548509" y="5039330"/>
                  <a:pt x="612737" y="5039330"/>
                </a:cubicBezTo>
                <a:close/>
                <a:moveTo>
                  <a:pt x="1169613" y="4950499"/>
                </a:moveTo>
                <a:lnTo>
                  <a:pt x="1195685" y="4955573"/>
                </a:lnTo>
                <a:lnTo>
                  <a:pt x="1216778" y="4956262"/>
                </a:lnTo>
                <a:lnTo>
                  <a:pt x="1229649" y="4962181"/>
                </a:lnTo>
                <a:lnTo>
                  <a:pt x="1247196" y="4965595"/>
                </a:lnTo>
                <a:lnTo>
                  <a:pt x="1270009" y="4980745"/>
                </a:lnTo>
                <a:lnTo>
                  <a:pt x="1291155" y="4990472"/>
                </a:lnTo>
                <a:lnTo>
                  <a:pt x="1301465" y="5001633"/>
                </a:lnTo>
                <a:lnTo>
                  <a:pt x="1315397" y="5010885"/>
                </a:lnTo>
                <a:lnTo>
                  <a:pt x="1329181" y="5031642"/>
                </a:lnTo>
                <a:lnTo>
                  <a:pt x="1344780" y="5048532"/>
                </a:lnTo>
                <a:lnTo>
                  <a:pt x="1350571" y="5063854"/>
                </a:lnTo>
                <a:lnTo>
                  <a:pt x="1360687" y="5079086"/>
                </a:lnTo>
                <a:lnTo>
                  <a:pt x="1365312" y="5102861"/>
                </a:lnTo>
                <a:lnTo>
                  <a:pt x="1372721" y="5122463"/>
                </a:lnTo>
                <a:lnTo>
                  <a:pt x="1372204" y="5138277"/>
                </a:lnTo>
                <a:lnTo>
                  <a:pt x="1375783" y="5156669"/>
                </a:lnTo>
                <a:lnTo>
                  <a:pt x="1370760" y="5182484"/>
                </a:lnTo>
                <a:lnTo>
                  <a:pt x="1370047" y="5204287"/>
                </a:lnTo>
                <a:lnTo>
                  <a:pt x="1363928" y="5217591"/>
                </a:lnTo>
                <a:lnTo>
                  <a:pt x="1360687" y="5234251"/>
                </a:lnTo>
                <a:lnTo>
                  <a:pt x="1346303" y="5255911"/>
                </a:lnTo>
                <a:lnTo>
                  <a:pt x="1335838" y="5278665"/>
                </a:lnTo>
                <a:lnTo>
                  <a:pt x="1323828" y="5289757"/>
                </a:lnTo>
                <a:lnTo>
                  <a:pt x="1315397" y="5302453"/>
                </a:lnTo>
                <a:lnTo>
                  <a:pt x="1296482" y="5315014"/>
                </a:lnTo>
                <a:lnTo>
                  <a:pt x="1277778" y="5332289"/>
                </a:lnTo>
                <a:lnTo>
                  <a:pt x="1260811" y="5338701"/>
                </a:lnTo>
                <a:lnTo>
                  <a:pt x="1247196" y="5347742"/>
                </a:lnTo>
                <a:lnTo>
                  <a:pt x="1225945" y="5351877"/>
                </a:lnTo>
                <a:lnTo>
                  <a:pt x="1203846" y="5360229"/>
                </a:lnTo>
                <a:lnTo>
                  <a:pt x="1186017" y="5359647"/>
                </a:lnTo>
                <a:lnTo>
                  <a:pt x="1169613" y="5362838"/>
                </a:lnTo>
                <a:lnTo>
                  <a:pt x="1146587" y="5358358"/>
                </a:lnTo>
                <a:lnTo>
                  <a:pt x="1122022" y="5357556"/>
                </a:lnTo>
                <a:lnTo>
                  <a:pt x="1107032" y="5350662"/>
                </a:lnTo>
                <a:lnTo>
                  <a:pt x="1092031" y="5347742"/>
                </a:lnTo>
                <a:lnTo>
                  <a:pt x="1072527" y="5334791"/>
                </a:lnTo>
                <a:lnTo>
                  <a:pt x="1047644" y="5323346"/>
                </a:lnTo>
                <a:lnTo>
                  <a:pt x="1035514" y="5310212"/>
                </a:lnTo>
                <a:lnTo>
                  <a:pt x="1023829" y="5302453"/>
                </a:lnTo>
                <a:lnTo>
                  <a:pt x="1012269" y="5285044"/>
                </a:lnTo>
                <a:lnTo>
                  <a:pt x="994020" y="5265285"/>
                </a:lnTo>
                <a:lnTo>
                  <a:pt x="987246" y="5247363"/>
                </a:lnTo>
                <a:lnTo>
                  <a:pt x="978540" y="5234251"/>
                </a:lnTo>
                <a:lnTo>
                  <a:pt x="974558" y="5213789"/>
                </a:lnTo>
                <a:lnTo>
                  <a:pt x="966080" y="5191355"/>
                </a:lnTo>
                <a:lnTo>
                  <a:pt x="966671" y="5173257"/>
                </a:lnTo>
                <a:lnTo>
                  <a:pt x="963444" y="5156669"/>
                </a:lnTo>
                <a:lnTo>
                  <a:pt x="967974" y="5133385"/>
                </a:lnTo>
                <a:lnTo>
                  <a:pt x="968753" y="5109531"/>
                </a:lnTo>
                <a:lnTo>
                  <a:pt x="976245" y="5090879"/>
                </a:lnTo>
                <a:lnTo>
                  <a:pt x="978540" y="5079086"/>
                </a:lnTo>
                <a:lnTo>
                  <a:pt x="984720" y="5069781"/>
                </a:lnTo>
                <a:lnTo>
                  <a:pt x="991864" y="5051994"/>
                </a:lnTo>
                <a:lnTo>
                  <a:pt x="1017963" y="5019720"/>
                </a:lnTo>
                <a:lnTo>
                  <a:pt x="1023829" y="5010885"/>
                </a:lnTo>
                <a:lnTo>
                  <a:pt x="1026588" y="5009053"/>
                </a:lnTo>
                <a:lnTo>
                  <a:pt x="1029511" y="5005438"/>
                </a:lnTo>
                <a:cubicBezTo>
                  <a:pt x="1044109" y="4991981"/>
                  <a:pt x="1060569" y="4980701"/>
                  <a:pt x="1078330" y="4971943"/>
                </a:cubicBezTo>
                <a:lnTo>
                  <a:pt x="1086423" y="4969319"/>
                </a:lnTo>
                <a:lnTo>
                  <a:pt x="1092031" y="4965595"/>
                </a:lnTo>
                <a:lnTo>
                  <a:pt x="1106743" y="4962733"/>
                </a:lnTo>
                <a:lnTo>
                  <a:pt x="1134954" y="4953588"/>
                </a:lnTo>
                <a:lnTo>
                  <a:pt x="1151038" y="4954113"/>
                </a:lnTo>
                <a:close/>
                <a:moveTo>
                  <a:pt x="55236" y="4551839"/>
                </a:moveTo>
                <a:cubicBezTo>
                  <a:pt x="81571" y="4551839"/>
                  <a:pt x="102766" y="4573034"/>
                  <a:pt x="102766" y="4599368"/>
                </a:cubicBezTo>
                <a:lnTo>
                  <a:pt x="102633" y="4599689"/>
                </a:lnTo>
                <a:lnTo>
                  <a:pt x="102766" y="4600011"/>
                </a:lnTo>
                <a:cubicBezTo>
                  <a:pt x="102766" y="4626344"/>
                  <a:pt x="81571" y="4647540"/>
                  <a:pt x="55236" y="4647540"/>
                </a:cubicBezTo>
                <a:cubicBezTo>
                  <a:pt x="28903" y="4647540"/>
                  <a:pt x="7709" y="4626344"/>
                  <a:pt x="7709" y="4600011"/>
                </a:cubicBezTo>
                <a:lnTo>
                  <a:pt x="7841" y="4599690"/>
                </a:lnTo>
                <a:lnTo>
                  <a:pt x="7709" y="4599368"/>
                </a:lnTo>
                <a:cubicBezTo>
                  <a:pt x="7709" y="4573034"/>
                  <a:pt x="28903" y="4551839"/>
                  <a:pt x="55236" y="4551839"/>
                </a:cubicBezTo>
                <a:close/>
                <a:moveTo>
                  <a:pt x="612736" y="4495318"/>
                </a:moveTo>
                <a:cubicBezTo>
                  <a:pt x="670542" y="4495318"/>
                  <a:pt x="716785" y="4542205"/>
                  <a:pt x="716785" y="4599368"/>
                </a:cubicBezTo>
                <a:lnTo>
                  <a:pt x="716721" y="4599689"/>
                </a:lnTo>
                <a:lnTo>
                  <a:pt x="716785" y="4600011"/>
                </a:lnTo>
                <a:cubicBezTo>
                  <a:pt x="716785" y="4657174"/>
                  <a:pt x="670542" y="4704060"/>
                  <a:pt x="612736" y="4704060"/>
                </a:cubicBezTo>
                <a:cubicBezTo>
                  <a:pt x="554931" y="4704060"/>
                  <a:pt x="508045" y="4657174"/>
                  <a:pt x="508686" y="4600011"/>
                </a:cubicBezTo>
                <a:lnTo>
                  <a:pt x="508751" y="4599689"/>
                </a:lnTo>
                <a:lnTo>
                  <a:pt x="508686" y="4599368"/>
                </a:lnTo>
                <a:cubicBezTo>
                  <a:pt x="508045" y="4542205"/>
                  <a:pt x="554931" y="4495318"/>
                  <a:pt x="612736" y="4495318"/>
                </a:cubicBezTo>
                <a:close/>
                <a:moveTo>
                  <a:pt x="1169593" y="4413107"/>
                </a:moveTo>
                <a:cubicBezTo>
                  <a:pt x="1272359" y="4413107"/>
                  <a:pt x="1355855" y="4496604"/>
                  <a:pt x="1355855" y="4599368"/>
                </a:cubicBezTo>
                <a:lnTo>
                  <a:pt x="1355790" y="4599689"/>
                </a:lnTo>
                <a:lnTo>
                  <a:pt x="1355855" y="4600009"/>
                </a:lnTo>
                <a:cubicBezTo>
                  <a:pt x="1355855" y="4702775"/>
                  <a:pt x="1272359" y="4786271"/>
                  <a:pt x="1169593" y="4786271"/>
                </a:cubicBezTo>
                <a:cubicBezTo>
                  <a:pt x="1066829" y="4786271"/>
                  <a:pt x="983332" y="4702775"/>
                  <a:pt x="983332" y="4600009"/>
                </a:cubicBezTo>
                <a:lnTo>
                  <a:pt x="983398" y="4599689"/>
                </a:lnTo>
                <a:lnTo>
                  <a:pt x="983332" y="4599368"/>
                </a:lnTo>
                <a:cubicBezTo>
                  <a:pt x="983332" y="4496604"/>
                  <a:pt x="1066829" y="4413107"/>
                  <a:pt x="1169593" y="4413107"/>
                </a:cubicBezTo>
                <a:close/>
                <a:moveTo>
                  <a:pt x="55236" y="4004616"/>
                </a:moveTo>
                <a:cubicBezTo>
                  <a:pt x="76431" y="4004616"/>
                  <a:pt x="93132" y="4021957"/>
                  <a:pt x="93132" y="4042511"/>
                </a:cubicBezTo>
                <a:lnTo>
                  <a:pt x="92996" y="4042831"/>
                </a:lnTo>
                <a:lnTo>
                  <a:pt x="93132" y="4043152"/>
                </a:lnTo>
                <a:cubicBezTo>
                  <a:pt x="93132" y="4063705"/>
                  <a:pt x="76431" y="4081047"/>
                  <a:pt x="55236" y="4081047"/>
                </a:cubicBezTo>
                <a:cubicBezTo>
                  <a:pt x="34684" y="4081047"/>
                  <a:pt x="17342" y="4064347"/>
                  <a:pt x="17342" y="4043152"/>
                </a:cubicBezTo>
                <a:lnTo>
                  <a:pt x="17479" y="4042833"/>
                </a:lnTo>
                <a:lnTo>
                  <a:pt x="17342" y="4042511"/>
                </a:lnTo>
                <a:cubicBezTo>
                  <a:pt x="17342" y="4021315"/>
                  <a:pt x="34684" y="4004616"/>
                  <a:pt x="55236" y="4004616"/>
                </a:cubicBezTo>
                <a:close/>
                <a:moveTo>
                  <a:pt x="612736" y="3957728"/>
                </a:moveTo>
                <a:cubicBezTo>
                  <a:pt x="659622" y="3957728"/>
                  <a:pt x="697517" y="3995623"/>
                  <a:pt x="697517" y="4042509"/>
                </a:cubicBezTo>
                <a:lnTo>
                  <a:pt x="697452" y="4042830"/>
                </a:lnTo>
                <a:lnTo>
                  <a:pt x="697517" y="4043152"/>
                </a:lnTo>
                <a:cubicBezTo>
                  <a:pt x="697517" y="4090038"/>
                  <a:pt x="659622" y="4127933"/>
                  <a:pt x="612736" y="4127933"/>
                </a:cubicBezTo>
                <a:cubicBezTo>
                  <a:pt x="565207" y="4127933"/>
                  <a:pt x="527312" y="4089396"/>
                  <a:pt x="527955" y="4043152"/>
                </a:cubicBezTo>
                <a:lnTo>
                  <a:pt x="528019" y="4042830"/>
                </a:lnTo>
                <a:lnTo>
                  <a:pt x="527955" y="4042509"/>
                </a:lnTo>
                <a:cubicBezTo>
                  <a:pt x="527312" y="3995623"/>
                  <a:pt x="565207" y="3957728"/>
                  <a:pt x="612736" y="3957728"/>
                </a:cubicBezTo>
                <a:close/>
                <a:moveTo>
                  <a:pt x="1169594" y="3880655"/>
                </a:moveTo>
                <a:cubicBezTo>
                  <a:pt x="1258871" y="3880655"/>
                  <a:pt x="1331449" y="3953234"/>
                  <a:pt x="1331449" y="4042511"/>
                </a:cubicBezTo>
                <a:lnTo>
                  <a:pt x="1331384" y="4042831"/>
                </a:lnTo>
                <a:lnTo>
                  <a:pt x="1331449" y="4043153"/>
                </a:lnTo>
                <a:cubicBezTo>
                  <a:pt x="1331449" y="4132430"/>
                  <a:pt x="1258871" y="4205007"/>
                  <a:pt x="1169594" y="4205007"/>
                </a:cubicBezTo>
                <a:cubicBezTo>
                  <a:pt x="1080316" y="4205007"/>
                  <a:pt x="1007739" y="4132430"/>
                  <a:pt x="1007739" y="4043153"/>
                </a:cubicBezTo>
                <a:lnTo>
                  <a:pt x="1007805" y="4042831"/>
                </a:lnTo>
                <a:lnTo>
                  <a:pt x="1007739" y="4042511"/>
                </a:lnTo>
                <a:cubicBezTo>
                  <a:pt x="1007739" y="3953234"/>
                  <a:pt x="1080316" y="3880655"/>
                  <a:pt x="1169594" y="3880655"/>
                </a:cubicBezTo>
                <a:close/>
                <a:moveTo>
                  <a:pt x="612736" y="3420142"/>
                </a:moveTo>
                <a:cubicBezTo>
                  <a:pt x="649346" y="3420142"/>
                  <a:pt x="678891" y="3449686"/>
                  <a:pt x="678891" y="3486296"/>
                </a:cubicBezTo>
                <a:lnTo>
                  <a:pt x="678891" y="3486300"/>
                </a:lnTo>
                <a:lnTo>
                  <a:pt x="678891" y="3486302"/>
                </a:lnTo>
                <a:cubicBezTo>
                  <a:pt x="678891" y="3522911"/>
                  <a:pt x="649346" y="3551814"/>
                  <a:pt x="612736" y="3551814"/>
                </a:cubicBezTo>
                <a:cubicBezTo>
                  <a:pt x="576125" y="3551814"/>
                  <a:pt x="546581" y="3522270"/>
                  <a:pt x="546581" y="3486302"/>
                </a:cubicBezTo>
                <a:lnTo>
                  <a:pt x="546582" y="3486300"/>
                </a:lnTo>
                <a:lnTo>
                  <a:pt x="546581" y="3486296"/>
                </a:lnTo>
                <a:lnTo>
                  <a:pt x="546680" y="3485811"/>
                </a:lnTo>
                <a:lnTo>
                  <a:pt x="551769" y="3460250"/>
                </a:lnTo>
                <a:cubicBezTo>
                  <a:pt x="558453" y="3444353"/>
                  <a:pt x="571118" y="3431827"/>
                  <a:pt x="586954" y="3425244"/>
                </a:cubicBezTo>
                <a:lnTo>
                  <a:pt x="611347" y="3420421"/>
                </a:lnTo>
                <a:close/>
                <a:moveTo>
                  <a:pt x="1169593" y="3357198"/>
                </a:moveTo>
                <a:cubicBezTo>
                  <a:pt x="1187256" y="3357198"/>
                  <a:pt x="1204116" y="3360770"/>
                  <a:pt x="1219471" y="3367244"/>
                </a:cubicBezTo>
                <a:lnTo>
                  <a:pt x="1219560" y="3367304"/>
                </a:lnTo>
                <a:lnTo>
                  <a:pt x="1219741" y="3367341"/>
                </a:lnTo>
                <a:lnTo>
                  <a:pt x="1240198" y="3381172"/>
                </a:lnTo>
                <a:lnTo>
                  <a:pt x="1260316" y="3394691"/>
                </a:lnTo>
                <a:lnTo>
                  <a:pt x="1260421" y="3394846"/>
                </a:lnTo>
                <a:lnTo>
                  <a:pt x="1260556" y="3394939"/>
                </a:lnTo>
                <a:lnTo>
                  <a:pt x="1272451" y="3412638"/>
                </a:lnTo>
                <a:lnTo>
                  <a:pt x="1287914" y="3435505"/>
                </a:lnTo>
                <a:lnTo>
                  <a:pt x="1287956" y="3435710"/>
                </a:lnTo>
                <a:lnTo>
                  <a:pt x="1288005" y="3435783"/>
                </a:lnTo>
                <a:lnTo>
                  <a:pt x="1297800" y="3484414"/>
                </a:lnTo>
                <a:lnTo>
                  <a:pt x="1298050" y="3485654"/>
                </a:lnTo>
                <a:lnTo>
                  <a:pt x="1298050" y="3485657"/>
                </a:lnTo>
                <a:lnTo>
                  <a:pt x="1298050" y="3485659"/>
                </a:lnTo>
                <a:lnTo>
                  <a:pt x="1297801" y="3486892"/>
                </a:lnTo>
                <a:lnTo>
                  <a:pt x="1288005" y="3535531"/>
                </a:lnTo>
                <a:lnTo>
                  <a:pt x="1287955" y="3535604"/>
                </a:lnTo>
                <a:lnTo>
                  <a:pt x="1287914" y="3535806"/>
                </a:lnTo>
                <a:lnTo>
                  <a:pt x="1272620" y="3558425"/>
                </a:lnTo>
                <a:lnTo>
                  <a:pt x="1260556" y="3576375"/>
                </a:lnTo>
                <a:lnTo>
                  <a:pt x="1260419" y="3576469"/>
                </a:lnTo>
                <a:lnTo>
                  <a:pt x="1260316" y="3576620"/>
                </a:lnTo>
                <a:lnTo>
                  <a:pt x="1240760" y="3589763"/>
                </a:lnTo>
                <a:lnTo>
                  <a:pt x="1219741" y="3603973"/>
                </a:lnTo>
                <a:lnTo>
                  <a:pt x="1219554" y="3604012"/>
                </a:lnTo>
                <a:lnTo>
                  <a:pt x="1219471" y="3604067"/>
                </a:lnTo>
                <a:cubicBezTo>
                  <a:pt x="1204116" y="3610541"/>
                  <a:pt x="1187256" y="3614112"/>
                  <a:pt x="1169593" y="3614112"/>
                </a:cubicBezTo>
                <a:lnTo>
                  <a:pt x="1168035" y="3613798"/>
                </a:lnTo>
                <a:lnTo>
                  <a:pt x="1119355" y="3604063"/>
                </a:lnTo>
                <a:cubicBezTo>
                  <a:pt x="1088485" y="3591119"/>
                  <a:pt x="1063797" y="3566571"/>
                  <a:pt x="1050912" y="3535803"/>
                </a:cubicBezTo>
                <a:lnTo>
                  <a:pt x="1041163" y="3485790"/>
                </a:lnTo>
                <a:lnTo>
                  <a:pt x="1041137" y="3485659"/>
                </a:lnTo>
                <a:lnTo>
                  <a:pt x="1041138" y="3485657"/>
                </a:lnTo>
                <a:lnTo>
                  <a:pt x="1041137" y="3485654"/>
                </a:lnTo>
                <a:lnTo>
                  <a:pt x="1041163" y="3485523"/>
                </a:lnTo>
                <a:lnTo>
                  <a:pt x="1050912" y="3435511"/>
                </a:lnTo>
                <a:cubicBezTo>
                  <a:pt x="1063797" y="3404743"/>
                  <a:pt x="1088485" y="3380195"/>
                  <a:pt x="1119355" y="3367250"/>
                </a:cubicBezTo>
                <a:lnTo>
                  <a:pt x="1166602" y="3357803"/>
                </a:lnTo>
                <a:close/>
                <a:moveTo>
                  <a:pt x="1726451" y="3271775"/>
                </a:moveTo>
                <a:cubicBezTo>
                  <a:pt x="1844632" y="3271775"/>
                  <a:pt x="1940331" y="3367477"/>
                  <a:pt x="1940331" y="3485654"/>
                </a:cubicBezTo>
                <a:lnTo>
                  <a:pt x="1940331" y="3485657"/>
                </a:lnTo>
                <a:lnTo>
                  <a:pt x="1940331" y="3485659"/>
                </a:lnTo>
                <a:cubicBezTo>
                  <a:pt x="1940331" y="3603840"/>
                  <a:pt x="1844632" y="3699535"/>
                  <a:pt x="1726451" y="3699535"/>
                </a:cubicBezTo>
                <a:cubicBezTo>
                  <a:pt x="1608271" y="3699535"/>
                  <a:pt x="1512572" y="3603840"/>
                  <a:pt x="1512572" y="3485659"/>
                </a:cubicBezTo>
                <a:lnTo>
                  <a:pt x="1512573" y="3485657"/>
                </a:lnTo>
                <a:lnTo>
                  <a:pt x="1512572" y="3485654"/>
                </a:lnTo>
                <a:cubicBezTo>
                  <a:pt x="1512572" y="3367477"/>
                  <a:pt x="1608271" y="3271775"/>
                  <a:pt x="1726451" y="3271775"/>
                </a:cubicBezTo>
                <a:close/>
                <a:moveTo>
                  <a:pt x="612736" y="2881269"/>
                </a:moveTo>
                <a:cubicBezTo>
                  <a:pt x="638427" y="2881269"/>
                  <a:pt x="659622" y="2902465"/>
                  <a:pt x="659622" y="2928156"/>
                </a:cubicBezTo>
                <a:lnTo>
                  <a:pt x="659487" y="2928480"/>
                </a:lnTo>
                <a:lnTo>
                  <a:pt x="659622" y="2928804"/>
                </a:lnTo>
                <a:cubicBezTo>
                  <a:pt x="659622" y="2954495"/>
                  <a:pt x="638427" y="2975691"/>
                  <a:pt x="612736" y="2975691"/>
                </a:cubicBezTo>
                <a:cubicBezTo>
                  <a:pt x="599891" y="2975691"/>
                  <a:pt x="588169" y="2970392"/>
                  <a:pt x="579659" y="2961882"/>
                </a:cubicBezTo>
                <a:lnTo>
                  <a:pt x="579503" y="2961508"/>
                </a:lnTo>
                <a:lnTo>
                  <a:pt x="579417" y="2961474"/>
                </a:lnTo>
                <a:lnTo>
                  <a:pt x="576618" y="2954598"/>
                </a:lnTo>
                <a:lnTo>
                  <a:pt x="565849" y="2928804"/>
                </a:lnTo>
                <a:lnTo>
                  <a:pt x="565982" y="2928480"/>
                </a:lnTo>
                <a:lnTo>
                  <a:pt x="565849" y="2928156"/>
                </a:lnTo>
                <a:cubicBezTo>
                  <a:pt x="565849" y="2902465"/>
                  <a:pt x="587045" y="2881269"/>
                  <a:pt x="612736" y="2881269"/>
                </a:cubicBezTo>
                <a:close/>
                <a:moveTo>
                  <a:pt x="1169593" y="2834388"/>
                </a:moveTo>
                <a:cubicBezTo>
                  <a:pt x="1221618" y="2834388"/>
                  <a:pt x="1263367" y="2876781"/>
                  <a:pt x="1263367" y="2928162"/>
                </a:cubicBezTo>
                <a:lnTo>
                  <a:pt x="1263302" y="2928480"/>
                </a:lnTo>
                <a:lnTo>
                  <a:pt x="1263367" y="2928800"/>
                </a:lnTo>
                <a:cubicBezTo>
                  <a:pt x="1263367" y="2980182"/>
                  <a:pt x="1221618" y="3022571"/>
                  <a:pt x="1169593" y="3022571"/>
                </a:cubicBezTo>
                <a:cubicBezTo>
                  <a:pt x="1117568" y="3022571"/>
                  <a:pt x="1075178" y="2980823"/>
                  <a:pt x="1075821" y="2928800"/>
                </a:cubicBezTo>
                <a:lnTo>
                  <a:pt x="1075886" y="2928480"/>
                </a:lnTo>
                <a:lnTo>
                  <a:pt x="1075821" y="2928162"/>
                </a:lnTo>
                <a:cubicBezTo>
                  <a:pt x="1075178" y="2876781"/>
                  <a:pt x="1117568" y="2834388"/>
                  <a:pt x="1169593" y="2834388"/>
                </a:cubicBezTo>
                <a:close/>
                <a:moveTo>
                  <a:pt x="1726451" y="2766301"/>
                </a:moveTo>
                <a:cubicBezTo>
                  <a:pt x="1816370" y="2766301"/>
                  <a:pt x="1888947" y="2838877"/>
                  <a:pt x="1888947" y="2928798"/>
                </a:cubicBezTo>
                <a:lnTo>
                  <a:pt x="1888947" y="2928802"/>
                </a:lnTo>
                <a:lnTo>
                  <a:pt x="1888947" y="2928807"/>
                </a:lnTo>
                <a:cubicBezTo>
                  <a:pt x="1888947" y="3018725"/>
                  <a:pt x="1816370" y="3091304"/>
                  <a:pt x="1726451" y="3091304"/>
                </a:cubicBezTo>
                <a:cubicBezTo>
                  <a:pt x="1636531" y="3091304"/>
                  <a:pt x="1563954" y="3018725"/>
                  <a:pt x="1563954" y="2928807"/>
                </a:cubicBezTo>
                <a:lnTo>
                  <a:pt x="1563955" y="2928802"/>
                </a:lnTo>
                <a:lnTo>
                  <a:pt x="1563954" y="2928798"/>
                </a:lnTo>
                <a:cubicBezTo>
                  <a:pt x="1563954" y="2838877"/>
                  <a:pt x="1636531" y="2766301"/>
                  <a:pt x="1726451" y="2766301"/>
                </a:cubicBezTo>
                <a:close/>
                <a:moveTo>
                  <a:pt x="1169593" y="2310279"/>
                </a:moveTo>
                <a:cubicBezTo>
                  <a:pt x="1203635" y="2310279"/>
                  <a:pt x="1230610" y="2337899"/>
                  <a:pt x="1230610" y="2371297"/>
                </a:cubicBezTo>
                <a:lnTo>
                  <a:pt x="1230476" y="2371620"/>
                </a:lnTo>
                <a:lnTo>
                  <a:pt x="1230610" y="2371944"/>
                </a:lnTo>
                <a:cubicBezTo>
                  <a:pt x="1230610" y="2405343"/>
                  <a:pt x="1203635" y="2432962"/>
                  <a:pt x="1169593" y="2432962"/>
                </a:cubicBezTo>
                <a:cubicBezTo>
                  <a:pt x="1136194" y="2432962"/>
                  <a:pt x="1108577" y="2405983"/>
                  <a:pt x="1108577" y="2371944"/>
                </a:cubicBezTo>
                <a:lnTo>
                  <a:pt x="1108712" y="2371620"/>
                </a:lnTo>
                <a:lnTo>
                  <a:pt x="1108577" y="2371297"/>
                </a:lnTo>
                <a:cubicBezTo>
                  <a:pt x="1108577" y="2337256"/>
                  <a:pt x="1136194" y="2310279"/>
                  <a:pt x="1169593" y="2310279"/>
                </a:cubicBezTo>
                <a:close/>
                <a:moveTo>
                  <a:pt x="1726451" y="2253761"/>
                </a:moveTo>
                <a:cubicBezTo>
                  <a:pt x="1791322" y="2253761"/>
                  <a:pt x="1843989" y="2306430"/>
                  <a:pt x="1843989" y="2371298"/>
                </a:cubicBezTo>
                <a:lnTo>
                  <a:pt x="1843924" y="2371620"/>
                </a:lnTo>
                <a:lnTo>
                  <a:pt x="1843989" y="2371944"/>
                </a:lnTo>
                <a:cubicBezTo>
                  <a:pt x="1843989" y="2436813"/>
                  <a:pt x="1791322" y="2489484"/>
                  <a:pt x="1726451" y="2489484"/>
                </a:cubicBezTo>
                <a:cubicBezTo>
                  <a:pt x="1661581" y="2489484"/>
                  <a:pt x="1608913" y="2436813"/>
                  <a:pt x="1608913" y="2371944"/>
                </a:cubicBezTo>
                <a:lnTo>
                  <a:pt x="1608979" y="2371620"/>
                </a:lnTo>
                <a:lnTo>
                  <a:pt x="1608913" y="2371298"/>
                </a:lnTo>
                <a:cubicBezTo>
                  <a:pt x="1608913" y="2306430"/>
                  <a:pt x="1661581" y="2253761"/>
                  <a:pt x="1726451" y="2253761"/>
                </a:cubicBezTo>
                <a:close/>
                <a:moveTo>
                  <a:pt x="2283309" y="2185682"/>
                </a:moveTo>
                <a:cubicBezTo>
                  <a:pt x="2386075" y="2185682"/>
                  <a:pt x="2468929" y="2268534"/>
                  <a:pt x="2468929" y="2371298"/>
                </a:cubicBezTo>
                <a:lnTo>
                  <a:pt x="2468866" y="2371620"/>
                </a:lnTo>
                <a:lnTo>
                  <a:pt x="2468929" y="2371946"/>
                </a:lnTo>
                <a:cubicBezTo>
                  <a:pt x="2468929" y="2474711"/>
                  <a:pt x="2386075" y="2557571"/>
                  <a:pt x="2283309" y="2557571"/>
                </a:cubicBezTo>
                <a:cubicBezTo>
                  <a:pt x="2180545" y="2557571"/>
                  <a:pt x="2097690" y="2474711"/>
                  <a:pt x="2097690" y="2371946"/>
                </a:cubicBezTo>
                <a:lnTo>
                  <a:pt x="2097756" y="2371620"/>
                </a:lnTo>
                <a:lnTo>
                  <a:pt x="2097690" y="2371298"/>
                </a:lnTo>
                <a:cubicBezTo>
                  <a:pt x="2097690" y="2268534"/>
                  <a:pt x="2180545" y="2185682"/>
                  <a:pt x="2283309" y="2185682"/>
                </a:cubicBezTo>
                <a:close/>
                <a:moveTo>
                  <a:pt x="1169594" y="1778474"/>
                </a:moveTo>
                <a:cubicBezTo>
                  <a:pt x="1189504" y="1778474"/>
                  <a:pt x="1205562" y="1794531"/>
                  <a:pt x="1205562" y="1814442"/>
                </a:cubicBezTo>
                <a:lnTo>
                  <a:pt x="1205428" y="1814767"/>
                </a:lnTo>
                <a:lnTo>
                  <a:pt x="1205562" y="1815092"/>
                </a:lnTo>
                <a:cubicBezTo>
                  <a:pt x="1205562" y="1835003"/>
                  <a:pt x="1189504" y="1851060"/>
                  <a:pt x="1169594" y="1851060"/>
                </a:cubicBezTo>
                <a:cubicBezTo>
                  <a:pt x="1149683" y="1851060"/>
                  <a:pt x="1133626" y="1835003"/>
                  <a:pt x="1133626" y="1815092"/>
                </a:cubicBezTo>
                <a:lnTo>
                  <a:pt x="1133762" y="1814767"/>
                </a:lnTo>
                <a:lnTo>
                  <a:pt x="1133626" y="1814442"/>
                </a:lnTo>
                <a:cubicBezTo>
                  <a:pt x="1133626" y="1794531"/>
                  <a:pt x="1149683" y="1778474"/>
                  <a:pt x="1169594" y="1778474"/>
                </a:cubicBezTo>
                <a:close/>
                <a:moveTo>
                  <a:pt x="1726452" y="1741232"/>
                </a:moveTo>
                <a:cubicBezTo>
                  <a:pt x="1766916" y="1741232"/>
                  <a:pt x="1799672" y="1773988"/>
                  <a:pt x="1799672" y="1814452"/>
                </a:cubicBezTo>
                <a:lnTo>
                  <a:pt x="1799608" y="1814767"/>
                </a:lnTo>
                <a:lnTo>
                  <a:pt x="1799672" y="1815083"/>
                </a:lnTo>
                <a:cubicBezTo>
                  <a:pt x="1799672" y="1855547"/>
                  <a:pt x="1766916" y="1888303"/>
                  <a:pt x="1726452" y="1888303"/>
                </a:cubicBezTo>
                <a:cubicBezTo>
                  <a:pt x="1685988" y="1888303"/>
                  <a:pt x="1653232" y="1854904"/>
                  <a:pt x="1653232" y="1815083"/>
                </a:cubicBezTo>
                <a:lnTo>
                  <a:pt x="1653296" y="1814767"/>
                </a:lnTo>
                <a:lnTo>
                  <a:pt x="1653232" y="1814452"/>
                </a:lnTo>
                <a:cubicBezTo>
                  <a:pt x="1653232" y="1773988"/>
                  <a:pt x="1685988" y="1741232"/>
                  <a:pt x="1726452" y="1741232"/>
                </a:cubicBezTo>
                <a:close/>
                <a:moveTo>
                  <a:pt x="9907829" y="1731583"/>
                </a:moveTo>
                <a:lnTo>
                  <a:pt x="9907829" y="1898575"/>
                </a:lnTo>
                <a:cubicBezTo>
                  <a:pt x="9895625" y="1872884"/>
                  <a:pt x="9888560" y="1845266"/>
                  <a:pt x="9888560" y="1815080"/>
                </a:cubicBezTo>
                <a:cubicBezTo>
                  <a:pt x="9888560" y="1784891"/>
                  <a:pt x="9895625" y="1756631"/>
                  <a:pt x="9907829" y="1731583"/>
                </a:cubicBezTo>
                <a:close/>
                <a:moveTo>
                  <a:pt x="2283183" y="1688074"/>
                </a:moveTo>
                <a:cubicBezTo>
                  <a:pt x="2315564" y="1688073"/>
                  <a:pt x="2347946" y="1700426"/>
                  <a:pt x="2372650" y="1725132"/>
                </a:cubicBezTo>
                <a:cubicBezTo>
                  <a:pt x="2397358" y="1749839"/>
                  <a:pt x="2409711" y="1782221"/>
                  <a:pt x="2409711" y="1814602"/>
                </a:cubicBezTo>
                <a:lnTo>
                  <a:pt x="2409710" y="1814607"/>
                </a:lnTo>
                <a:lnTo>
                  <a:pt x="2409711" y="1814611"/>
                </a:lnTo>
                <a:cubicBezTo>
                  <a:pt x="2409711" y="1846993"/>
                  <a:pt x="2397358" y="1879375"/>
                  <a:pt x="2372650" y="1904081"/>
                </a:cubicBezTo>
                <a:cubicBezTo>
                  <a:pt x="2323240" y="1953492"/>
                  <a:pt x="2243126" y="1953492"/>
                  <a:pt x="2193714" y="1904081"/>
                </a:cubicBezTo>
                <a:cubicBezTo>
                  <a:pt x="2169009" y="1879375"/>
                  <a:pt x="2156655" y="1846993"/>
                  <a:pt x="2156655" y="1814611"/>
                </a:cubicBezTo>
                <a:lnTo>
                  <a:pt x="2156655" y="1814607"/>
                </a:lnTo>
                <a:lnTo>
                  <a:pt x="2156655" y="1814602"/>
                </a:lnTo>
                <a:cubicBezTo>
                  <a:pt x="2156655" y="1782221"/>
                  <a:pt x="2169009" y="1749839"/>
                  <a:pt x="2193714" y="1725133"/>
                </a:cubicBezTo>
                <a:cubicBezTo>
                  <a:pt x="2218420" y="1700426"/>
                  <a:pt x="2250800" y="1688074"/>
                  <a:pt x="2283183" y="1688074"/>
                </a:cubicBezTo>
                <a:close/>
                <a:moveTo>
                  <a:pt x="2840168" y="1624326"/>
                </a:moveTo>
                <a:lnTo>
                  <a:pt x="2859379" y="1628209"/>
                </a:lnTo>
                <a:lnTo>
                  <a:pt x="2914040" y="1639228"/>
                </a:lnTo>
                <a:lnTo>
                  <a:pt x="2914096" y="1639266"/>
                </a:lnTo>
                <a:lnTo>
                  <a:pt x="2914312" y="1639310"/>
                </a:lnTo>
                <a:lnTo>
                  <a:pt x="2950154" y="1663524"/>
                </a:lnTo>
                <a:lnTo>
                  <a:pt x="2974485" y="1679893"/>
                </a:lnTo>
                <a:lnTo>
                  <a:pt x="2974572" y="1680020"/>
                </a:lnTo>
                <a:lnTo>
                  <a:pt x="2974726" y="1680125"/>
                </a:lnTo>
                <a:lnTo>
                  <a:pt x="2994843" y="1710029"/>
                </a:lnTo>
                <a:lnTo>
                  <a:pt x="3015300" y="1740308"/>
                </a:lnTo>
                <a:lnTo>
                  <a:pt x="3015336" y="1740490"/>
                </a:lnTo>
                <a:lnTo>
                  <a:pt x="3015391" y="1740569"/>
                </a:lnTo>
                <a:cubicBezTo>
                  <a:pt x="3024984" y="1763300"/>
                  <a:pt x="3030282" y="1788269"/>
                  <a:pt x="3030282" y="1814442"/>
                </a:cubicBezTo>
                <a:lnTo>
                  <a:pt x="3030281" y="1814448"/>
                </a:lnTo>
                <a:lnTo>
                  <a:pt x="3030282" y="1814453"/>
                </a:lnTo>
                <a:cubicBezTo>
                  <a:pt x="3030282" y="1840626"/>
                  <a:pt x="3024984" y="1865594"/>
                  <a:pt x="3015391" y="1888324"/>
                </a:cubicBezTo>
                <a:lnTo>
                  <a:pt x="3015336" y="1888403"/>
                </a:lnTo>
                <a:lnTo>
                  <a:pt x="3015300" y="1888585"/>
                </a:lnTo>
                <a:lnTo>
                  <a:pt x="2994895" y="1918790"/>
                </a:lnTo>
                <a:lnTo>
                  <a:pt x="2974726" y="1948769"/>
                </a:lnTo>
                <a:lnTo>
                  <a:pt x="2974572" y="1948874"/>
                </a:lnTo>
                <a:lnTo>
                  <a:pt x="2974485" y="1948999"/>
                </a:lnTo>
                <a:lnTo>
                  <a:pt x="2950250" y="1965305"/>
                </a:lnTo>
                <a:lnTo>
                  <a:pt x="2914312" y="1989583"/>
                </a:lnTo>
                <a:lnTo>
                  <a:pt x="2914096" y="1989627"/>
                </a:lnTo>
                <a:lnTo>
                  <a:pt x="2914040" y="1989664"/>
                </a:lnTo>
                <a:lnTo>
                  <a:pt x="2859639" y="2000631"/>
                </a:lnTo>
                <a:lnTo>
                  <a:pt x="2840168" y="2004566"/>
                </a:lnTo>
                <a:cubicBezTo>
                  <a:pt x="2735475" y="2004566"/>
                  <a:pt x="2650053" y="1919786"/>
                  <a:pt x="2650053" y="1814453"/>
                </a:cubicBezTo>
                <a:lnTo>
                  <a:pt x="2650055" y="1814448"/>
                </a:lnTo>
                <a:lnTo>
                  <a:pt x="2650053" y="1814442"/>
                </a:lnTo>
                <a:cubicBezTo>
                  <a:pt x="2650053" y="1709107"/>
                  <a:pt x="2735475" y="1624326"/>
                  <a:pt x="2840168" y="1624326"/>
                </a:cubicBezTo>
                <a:close/>
                <a:moveTo>
                  <a:pt x="1726452" y="1217762"/>
                </a:moveTo>
                <a:cubicBezTo>
                  <a:pt x="1748290" y="1217762"/>
                  <a:pt x="1766273" y="1235745"/>
                  <a:pt x="1766273" y="1257583"/>
                </a:cubicBezTo>
                <a:lnTo>
                  <a:pt x="1766272" y="1257587"/>
                </a:lnTo>
                <a:lnTo>
                  <a:pt x="1766273" y="1257592"/>
                </a:lnTo>
                <a:cubicBezTo>
                  <a:pt x="1766273" y="1279428"/>
                  <a:pt x="1748290" y="1297412"/>
                  <a:pt x="1726452" y="1297412"/>
                </a:cubicBezTo>
                <a:cubicBezTo>
                  <a:pt x="1704614" y="1297412"/>
                  <a:pt x="1686631" y="1279428"/>
                  <a:pt x="1686631" y="1257592"/>
                </a:cubicBezTo>
                <a:lnTo>
                  <a:pt x="1686633" y="1257587"/>
                </a:lnTo>
                <a:lnTo>
                  <a:pt x="1686631" y="1257583"/>
                </a:lnTo>
                <a:cubicBezTo>
                  <a:pt x="1686631" y="1235745"/>
                  <a:pt x="1704614" y="1217762"/>
                  <a:pt x="1726452" y="1217762"/>
                </a:cubicBezTo>
                <a:close/>
                <a:moveTo>
                  <a:pt x="2283309" y="1183722"/>
                </a:moveTo>
                <a:lnTo>
                  <a:pt x="2289931" y="1185063"/>
                </a:lnTo>
                <a:lnTo>
                  <a:pt x="2311921" y="1189491"/>
                </a:lnTo>
                <a:lnTo>
                  <a:pt x="2311979" y="1189530"/>
                </a:lnTo>
                <a:lnTo>
                  <a:pt x="2312191" y="1189572"/>
                </a:lnTo>
                <a:lnTo>
                  <a:pt x="2325865" y="1198842"/>
                </a:lnTo>
                <a:lnTo>
                  <a:pt x="2335415" y="1205247"/>
                </a:lnTo>
                <a:lnTo>
                  <a:pt x="2335503" y="1205376"/>
                </a:lnTo>
                <a:lnTo>
                  <a:pt x="2335655" y="1205479"/>
                </a:lnTo>
                <a:lnTo>
                  <a:pt x="2343315" y="1216902"/>
                </a:lnTo>
                <a:lnTo>
                  <a:pt x="2351320" y="1228711"/>
                </a:lnTo>
                <a:lnTo>
                  <a:pt x="2351358" y="1228894"/>
                </a:lnTo>
                <a:lnTo>
                  <a:pt x="2351411" y="1228973"/>
                </a:lnTo>
                <a:cubicBezTo>
                  <a:pt x="2355124" y="1237794"/>
                  <a:pt x="2357170" y="1247468"/>
                  <a:pt x="2357170" y="1257585"/>
                </a:cubicBezTo>
                <a:lnTo>
                  <a:pt x="2357170" y="1257589"/>
                </a:lnTo>
                <a:lnTo>
                  <a:pt x="2357170" y="1257593"/>
                </a:lnTo>
                <a:cubicBezTo>
                  <a:pt x="2357170" y="1267709"/>
                  <a:pt x="2355124" y="1277383"/>
                  <a:pt x="2351411" y="1286203"/>
                </a:cubicBezTo>
                <a:lnTo>
                  <a:pt x="2351358" y="1286284"/>
                </a:lnTo>
                <a:lnTo>
                  <a:pt x="2351320" y="1286467"/>
                </a:lnTo>
                <a:lnTo>
                  <a:pt x="2343311" y="1298281"/>
                </a:lnTo>
                <a:lnTo>
                  <a:pt x="2335655" y="1309697"/>
                </a:lnTo>
                <a:lnTo>
                  <a:pt x="2335503" y="1309802"/>
                </a:lnTo>
                <a:lnTo>
                  <a:pt x="2335415" y="1309930"/>
                </a:lnTo>
                <a:lnTo>
                  <a:pt x="2325840" y="1316351"/>
                </a:lnTo>
                <a:lnTo>
                  <a:pt x="2312191" y="1325604"/>
                </a:lnTo>
                <a:lnTo>
                  <a:pt x="2311981" y="1325647"/>
                </a:lnTo>
                <a:lnTo>
                  <a:pt x="2311921" y="1325687"/>
                </a:lnTo>
                <a:lnTo>
                  <a:pt x="2289573" y="1330186"/>
                </a:lnTo>
                <a:lnTo>
                  <a:pt x="2283309" y="1331454"/>
                </a:lnTo>
                <a:cubicBezTo>
                  <a:pt x="2242846" y="1331454"/>
                  <a:pt x="2209446" y="1298698"/>
                  <a:pt x="2209446" y="1257593"/>
                </a:cubicBezTo>
                <a:lnTo>
                  <a:pt x="2209449" y="1257589"/>
                </a:lnTo>
                <a:lnTo>
                  <a:pt x="2209446" y="1257585"/>
                </a:lnTo>
                <a:cubicBezTo>
                  <a:pt x="2209446" y="1216478"/>
                  <a:pt x="2242846" y="1183722"/>
                  <a:pt x="2283309" y="1183722"/>
                </a:cubicBezTo>
                <a:close/>
                <a:moveTo>
                  <a:pt x="2840166" y="1135550"/>
                </a:moveTo>
                <a:cubicBezTo>
                  <a:pt x="2907607" y="1135550"/>
                  <a:pt x="2962201" y="1190144"/>
                  <a:pt x="2962201" y="1257583"/>
                </a:cubicBezTo>
                <a:lnTo>
                  <a:pt x="2962201" y="1257588"/>
                </a:lnTo>
                <a:lnTo>
                  <a:pt x="2962201" y="1257592"/>
                </a:lnTo>
                <a:cubicBezTo>
                  <a:pt x="2962201" y="1325031"/>
                  <a:pt x="2907607" y="1379625"/>
                  <a:pt x="2840166" y="1379625"/>
                </a:cubicBezTo>
                <a:cubicBezTo>
                  <a:pt x="2772728" y="1379625"/>
                  <a:pt x="2718134" y="1325031"/>
                  <a:pt x="2718134" y="1257592"/>
                </a:cubicBezTo>
                <a:lnTo>
                  <a:pt x="2718135" y="1257588"/>
                </a:lnTo>
                <a:lnTo>
                  <a:pt x="2718134" y="1257583"/>
                </a:lnTo>
                <a:cubicBezTo>
                  <a:pt x="2718134" y="1190144"/>
                  <a:pt x="2772728" y="1135550"/>
                  <a:pt x="2840166" y="1135550"/>
                </a:cubicBezTo>
                <a:close/>
                <a:moveTo>
                  <a:pt x="9524387" y="1083526"/>
                </a:moveTo>
                <a:cubicBezTo>
                  <a:pt x="9620729" y="1083526"/>
                  <a:pt x="9698445" y="1161885"/>
                  <a:pt x="9698445" y="1257586"/>
                </a:cubicBezTo>
                <a:lnTo>
                  <a:pt x="9698379" y="1257912"/>
                </a:lnTo>
                <a:lnTo>
                  <a:pt x="9698445" y="1258239"/>
                </a:lnTo>
                <a:cubicBezTo>
                  <a:pt x="9698445" y="1353939"/>
                  <a:pt x="9620729" y="1432296"/>
                  <a:pt x="9524387" y="1432296"/>
                </a:cubicBezTo>
                <a:cubicBezTo>
                  <a:pt x="9428045" y="1432296"/>
                  <a:pt x="9350329" y="1354579"/>
                  <a:pt x="9350329" y="1258239"/>
                </a:cubicBezTo>
                <a:lnTo>
                  <a:pt x="9350396" y="1257911"/>
                </a:lnTo>
                <a:lnTo>
                  <a:pt x="9350329" y="1257586"/>
                </a:lnTo>
                <a:cubicBezTo>
                  <a:pt x="9350329" y="1161243"/>
                  <a:pt x="9428045" y="1083526"/>
                  <a:pt x="9524387" y="1083526"/>
                </a:cubicBezTo>
                <a:close/>
                <a:moveTo>
                  <a:pt x="3397667" y="1083526"/>
                </a:moveTo>
                <a:cubicBezTo>
                  <a:pt x="3494010" y="1083526"/>
                  <a:pt x="3571726" y="1161884"/>
                  <a:pt x="3571726" y="1257583"/>
                </a:cubicBezTo>
                <a:lnTo>
                  <a:pt x="3571660" y="1257910"/>
                </a:lnTo>
                <a:lnTo>
                  <a:pt x="3571726" y="1258237"/>
                </a:lnTo>
                <a:cubicBezTo>
                  <a:pt x="3571726" y="1353936"/>
                  <a:pt x="3494010" y="1432293"/>
                  <a:pt x="3397667" y="1432293"/>
                </a:cubicBezTo>
                <a:cubicBezTo>
                  <a:pt x="3301968" y="1432293"/>
                  <a:pt x="3223609" y="1354576"/>
                  <a:pt x="3223609" y="1258237"/>
                </a:cubicBezTo>
                <a:lnTo>
                  <a:pt x="3223676" y="1257910"/>
                </a:lnTo>
                <a:lnTo>
                  <a:pt x="3223609" y="1257583"/>
                </a:lnTo>
                <a:cubicBezTo>
                  <a:pt x="3223609" y="1161241"/>
                  <a:pt x="3301968" y="1083526"/>
                  <a:pt x="3397667" y="1083526"/>
                </a:cubicBezTo>
                <a:close/>
                <a:moveTo>
                  <a:pt x="3985091" y="1035050"/>
                </a:moveTo>
                <a:lnTo>
                  <a:pt x="3999885" y="1038730"/>
                </a:lnTo>
                <a:lnTo>
                  <a:pt x="4006300" y="1038985"/>
                </a:lnTo>
                <a:lnTo>
                  <a:pt x="4012914" y="1041971"/>
                </a:lnTo>
                <a:lnTo>
                  <a:pt x="4032126" y="1046750"/>
                </a:lnTo>
                <a:cubicBezTo>
                  <a:pt x="4047339" y="1052324"/>
                  <a:pt x="4061989" y="1059550"/>
                  <a:pt x="4075781" y="1068355"/>
                </a:cubicBezTo>
                <a:lnTo>
                  <a:pt x="4081393" y="1072885"/>
                </a:lnTo>
                <a:lnTo>
                  <a:pt x="4084846" y="1074445"/>
                </a:lnTo>
                <a:lnTo>
                  <a:pt x="4089571" y="1079489"/>
                </a:lnTo>
                <a:lnTo>
                  <a:pt x="4114288" y="1099448"/>
                </a:lnTo>
                <a:lnTo>
                  <a:pt x="4145805" y="1139522"/>
                </a:lnTo>
                <a:lnTo>
                  <a:pt x="4145875" y="1139595"/>
                </a:lnTo>
                <a:cubicBezTo>
                  <a:pt x="4162191" y="1166001"/>
                  <a:pt x="4172383" y="1194462"/>
                  <a:pt x="4176845" y="1223321"/>
                </a:cubicBezTo>
                <a:lnTo>
                  <a:pt x="4176845" y="1223333"/>
                </a:lnTo>
                <a:lnTo>
                  <a:pt x="4176845" y="1223336"/>
                </a:lnTo>
                <a:cubicBezTo>
                  <a:pt x="4190230" y="1309913"/>
                  <a:pt x="4152028" y="1400071"/>
                  <a:pt x="4072815" y="1449022"/>
                </a:cubicBezTo>
                <a:cubicBezTo>
                  <a:pt x="3967198" y="1514291"/>
                  <a:pt x="3828668" y="1481581"/>
                  <a:pt x="3763402" y="1375963"/>
                </a:cubicBezTo>
                <a:cubicBezTo>
                  <a:pt x="3747085" y="1349560"/>
                  <a:pt x="3736893" y="1321098"/>
                  <a:pt x="3732430" y="1292239"/>
                </a:cubicBezTo>
                <a:lnTo>
                  <a:pt x="3732432" y="1292226"/>
                </a:lnTo>
                <a:lnTo>
                  <a:pt x="3732430" y="1292225"/>
                </a:lnTo>
                <a:cubicBezTo>
                  <a:pt x="3719046" y="1205646"/>
                  <a:pt x="3757249" y="1115485"/>
                  <a:pt x="3836462" y="1066536"/>
                </a:cubicBezTo>
                <a:cubicBezTo>
                  <a:pt x="3862866" y="1050219"/>
                  <a:pt x="3891327" y="1040027"/>
                  <a:pt x="3920187" y="1035565"/>
                </a:cubicBezTo>
                <a:lnTo>
                  <a:pt x="3920506" y="1035578"/>
                </a:lnTo>
                <a:close/>
                <a:moveTo>
                  <a:pt x="8967529" y="1032788"/>
                </a:moveTo>
                <a:cubicBezTo>
                  <a:pt x="9091682" y="1032788"/>
                  <a:pt x="9192327" y="1133433"/>
                  <a:pt x="9192327" y="1257587"/>
                </a:cubicBezTo>
                <a:lnTo>
                  <a:pt x="9192326" y="1257592"/>
                </a:lnTo>
                <a:lnTo>
                  <a:pt x="9192327" y="1257597"/>
                </a:lnTo>
                <a:cubicBezTo>
                  <a:pt x="9192327" y="1381748"/>
                  <a:pt x="9091682" y="1482394"/>
                  <a:pt x="8967529" y="1482394"/>
                </a:cubicBezTo>
                <a:cubicBezTo>
                  <a:pt x="8843376" y="1482394"/>
                  <a:pt x="8742731" y="1381748"/>
                  <a:pt x="8742731" y="1257597"/>
                </a:cubicBezTo>
                <a:lnTo>
                  <a:pt x="8742732" y="1257592"/>
                </a:lnTo>
                <a:lnTo>
                  <a:pt x="8742731" y="1257587"/>
                </a:lnTo>
                <a:cubicBezTo>
                  <a:pt x="8742731" y="1133433"/>
                  <a:pt x="8843376" y="1032788"/>
                  <a:pt x="8967529" y="1032788"/>
                </a:cubicBezTo>
                <a:close/>
                <a:moveTo>
                  <a:pt x="2283309" y="662831"/>
                </a:moveTo>
                <a:cubicBezTo>
                  <a:pt x="2293586" y="662831"/>
                  <a:pt x="2303059" y="667006"/>
                  <a:pt x="2309964" y="673830"/>
                </a:cubicBezTo>
                <a:lnTo>
                  <a:pt x="2310039" y="674008"/>
                </a:lnTo>
                <a:lnTo>
                  <a:pt x="2310206" y="674077"/>
                </a:lnTo>
                <a:lnTo>
                  <a:pt x="2320996" y="700227"/>
                </a:lnTo>
                <a:lnTo>
                  <a:pt x="2321205" y="700726"/>
                </a:lnTo>
                <a:lnTo>
                  <a:pt x="2321202" y="700728"/>
                </a:lnTo>
                <a:lnTo>
                  <a:pt x="2321205" y="700732"/>
                </a:lnTo>
                <a:lnTo>
                  <a:pt x="2320996" y="701231"/>
                </a:lnTo>
                <a:lnTo>
                  <a:pt x="2310206" y="727380"/>
                </a:lnTo>
                <a:lnTo>
                  <a:pt x="2310039" y="727450"/>
                </a:lnTo>
                <a:lnTo>
                  <a:pt x="2309964" y="727628"/>
                </a:lnTo>
                <a:cubicBezTo>
                  <a:pt x="2303059" y="734451"/>
                  <a:pt x="2293586" y="738627"/>
                  <a:pt x="2283309" y="738627"/>
                </a:cubicBezTo>
                <a:lnTo>
                  <a:pt x="2282587" y="738324"/>
                </a:lnTo>
                <a:lnTo>
                  <a:pt x="2256415" y="727622"/>
                </a:lnTo>
                <a:lnTo>
                  <a:pt x="2245705" y="701435"/>
                </a:lnTo>
                <a:lnTo>
                  <a:pt x="2245414" y="700732"/>
                </a:lnTo>
                <a:lnTo>
                  <a:pt x="2245417" y="700728"/>
                </a:lnTo>
                <a:lnTo>
                  <a:pt x="2245414" y="700726"/>
                </a:lnTo>
                <a:lnTo>
                  <a:pt x="2245705" y="700022"/>
                </a:lnTo>
                <a:lnTo>
                  <a:pt x="2256415" y="673836"/>
                </a:lnTo>
                <a:lnTo>
                  <a:pt x="2282587" y="663133"/>
                </a:lnTo>
                <a:close/>
                <a:moveTo>
                  <a:pt x="2840166" y="635213"/>
                </a:moveTo>
                <a:cubicBezTo>
                  <a:pt x="2876135" y="635213"/>
                  <a:pt x="2905681" y="664758"/>
                  <a:pt x="2905681" y="700726"/>
                </a:cubicBezTo>
                <a:lnTo>
                  <a:pt x="2905681" y="700729"/>
                </a:lnTo>
                <a:lnTo>
                  <a:pt x="2905681" y="700732"/>
                </a:lnTo>
                <a:cubicBezTo>
                  <a:pt x="2905681" y="736700"/>
                  <a:pt x="2876135" y="766245"/>
                  <a:pt x="2840166" y="766245"/>
                </a:cubicBezTo>
                <a:cubicBezTo>
                  <a:pt x="2804200" y="766245"/>
                  <a:pt x="2774655" y="736700"/>
                  <a:pt x="2774655" y="700732"/>
                </a:cubicBezTo>
                <a:lnTo>
                  <a:pt x="2774657" y="700729"/>
                </a:lnTo>
                <a:lnTo>
                  <a:pt x="2774655" y="700726"/>
                </a:lnTo>
                <a:cubicBezTo>
                  <a:pt x="2774655" y="664758"/>
                  <a:pt x="2804200" y="635213"/>
                  <a:pt x="2840166" y="635213"/>
                </a:cubicBezTo>
                <a:close/>
                <a:moveTo>
                  <a:pt x="9524387" y="601816"/>
                </a:moveTo>
                <a:cubicBezTo>
                  <a:pt x="9579014" y="601816"/>
                  <a:pt x="9623299" y="646100"/>
                  <a:pt x="9623299" y="700727"/>
                </a:cubicBezTo>
                <a:lnTo>
                  <a:pt x="9623298" y="700731"/>
                </a:lnTo>
                <a:lnTo>
                  <a:pt x="9623299" y="700734"/>
                </a:lnTo>
                <a:cubicBezTo>
                  <a:pt x="9623299" y="755361"/>
                  <a:pt x="9579015" y="799647"/>
                  <a:pt x="9524387" y="799647"/>
                </a:cubicBezTo>
                <a:cubicBezTo>
                  <a:pt x="9469760" y="799647"/>
                  <a:pt x="9425476" y="755361"/>
                  <a:pt x="9425476" y="700734"/>
                </a:cubicBezTo>
                <a:lnTo>
                  <a:pt x="9425477" y="700731"/>
                </a:lnTo>
                <a:lnTo>
                  <a:pt x="9425476" y="700727"/>
                </a:lnTo>
                <a:cubicBezTo>
                  <a:pt x="9425476" y="646100"/>
                  <a:pt x="9469760" y="601816"/>
                  <a:pt x="9524387" y="601816"/>
                </a:cubicBezTo>
                <a:close/>
                <a:moveTo>
                  <a:pt x="3397667" y="601815"/>
                </a:moveTo>
                <a:cubicBezTo>
                  <a:pt x="3452261" y="601815"/>
                  <a:pt x="3496579" y="646132"/>
                  <a:pt x="3496579" y="700726"/>
                </a:cubicBezTo>
                <a:lnTo>
                  <a:pt x="3496579" y="700729"/>
                </a:lnTo>
                <a:lnTo>
                  <a:pt x="3496579" y="700733"/>
                </a:lnTo>
                <a:cubicBezTo>
                  <a:pt x="3496579" y="755326"/>
                  <a:pt x="3452261" y="799643"/>
                  <a:pt x="3397667" y="799643"/>
                </a:cubicBezTo>
                <a:lnTo>
                  <a:pt x="3383469" y="796774"/>
                </a:lnTo>
                <a:lnTo>
                  <a:pt x="3359090" y="791860"/>
                </a:lnTo>
                <a:cubicBezTo>
                  <a:pt x="3335326" y="781844"/>
                  <a:pt x="3316220" y="762876"/>
                  <a:pt x="3306263" y="739212"/>
                </a:cubicBezTo>
                <a:lnTo>
                  <a:pt x="3298794" y="700922"/>
                </a:lnTo>
                <a:lnTo>
                  <a:pt x="3298756" y="700733"/>
                </a:lnTo>
                <a:lnTo>
                  <a:pt x="3298757" y="700729"/>
                </a:lnTo>
                <a:lnTo>
                  <a:pt x="3298756" y="700726"/>
                </a:lnTo>
                <a:lnTo>
                  <a:pt x="3298794" y="700536"/>
                </a:lnTo>
                <a:lnTo>
                  <a:pt x="3306263" y="662246"/>
                </a:lnTo>
                <a:cubicBezTo>
                  <a:pt x="3316220" y="638581"/>
                  <a:pt x="3335326" y="619615"/>
                  <a:pt x="3359090" y="609599"/>
                </a:cubicBezTo>
                <a:lnTo>
                  <a:pt x="3382942" y="604790"/>
                </a:lnTo>
                <a:close/>
                <a:moveTo>
                  <a:pt x="8967528" y="560709"/>
                </a:moveTo>
                <a:cubicBezTo>
                  <a:pt x="9044603" y="560709"/>
                  <a:pt x="9107546" y="623652"/>
                  <a:pt x="9107546" y="700727"/>
                </a:cubicBezTo>
                <a:lnTo>
                  <a:pt x="9107545" y="700731"/>
                </a:lnTo>
                <a:lnTo>
                  <a:pt x="9107546" y="700734"/>
                </a:lnTo>
                <a:cubicBezTo>
                  <a:pt x="9107546" y="777808"/>
                  <a:pt x="9044603" y="840753"/>
                  <a:pt x="8967528" y="840753"/>
                </a:cubicBezTo>
                <a:cubicBezTo>
                  <a:pt x="8890455" y="840753"/>
                  <a:pt x="8827512" y="777808"/>
                  <a:pt x="8827512" y="700734"/>
                </a:cubicBezTo>
                <a:lnTo>
                  <a:pt x="8827513" y="700731"/>
                </a:lnTo>
                <a:lnTo>
                  <a:pt x="8827512" y="700727"/>
                </a:lnTo>
                <a:lnTo>
                  <a:pt x="8827837" y="699122"/>
                </a:lnTo>
                <a:lnTo>
                  <a:pt x="8838551" y="646071"/>
                </a:lnTo>
                <a:cubicBezTo>
                  <a:pt x="8852761" y="612532"/>
                  <a:pt x="8879656" y="585776"/>
                  <a:pt x="8913135" y="571667"/>
                </a:cubicBezTo>
                <a:lnTo>
                  <a:pt x="8962419" y="561746"/>
                </a:lnTo>
                <a:close/>
                <a:moveTo>
                  <a:pt x="3954526" y="560708"/>
                </a:moveTo>
                <a:cubicBezTo>
                  <a:pt x="4031598" y="560708"/>
                  <a:pt x="4094542" y="623651"/>
                  <a:pt x="4094542" y="700726"/>
                </a:cubicBezTo>
                <a:lnTo>
                  <a:pt x="4094542" y="700729"/>
                </a:lnTo>
                <a:lnTo>
                  <a:pt x="4094542" y="700733"/>
                </a:lnTo>
                <a:cubicBezTo>
                  <a:pt x="4094542" y="777806"/>
                  <a:pt x="4031598" y="840752"/>
                  <a:pt x="3954526" y="840752"/>
                </a:cubicBezTo>
                <a:cubicBezTo>
                  <a:pt x="3877451" y="840752"/>
                  <a:pt x="3814508" y="777806"/>
                  <a:pt x="3814508" y="700733"/>
                </a:cubicBezTo>
                <a:lnTo>
                  <a:pt x="3814509" y="700729"/>
                </a:lnTo>
                <a:lnTo>
                  <a:pt x="3814508" y="700726"/>
                </a:lnTo>
                <a:lnTo>
                  <a:pt x="3814798" y="699297"/>
                </a:lnTo>
                <a:lnTo>
                  <a:pt x="3825547" y="646068"/>
                </a:lnTo>
                <a:cubicBezTo>
                  <a:pt x="3839757" y="612529"/>
                  <a:pt x="3866654" y="585775"/>
                  <a:pt x="3900132" y="571664"/>
                </a:cubicBezTo>
                <a:lnTo>
                  <a:pt x="3950168" y="561592"/>
                </a:lnTo>
                <a:close/>
                <a:moveTo>
                  <a:pt x="8410672" y="526027"/>
                </a:moveTo>
                <a:cubicBezTo>
                  <a:pt x="8507014" y="526027"/>
                  <a:pt x="8585372" y="604385"/>
                  <a:pt x="8585372" y="700727"/>
                </a:cubicBezTo>
                <a:lnTo>
                  <a:pt x="8585371" y="700731"/>
                </a:lnTo>
                <a:lnTo>
                  <a:pt x="8585372" y="700734"/>
                </a:lnTo>
                <a:cubicBezTo>
                  <a:pt x="8585372" y="797076"/>
                  <a:pt x="8507014" y="875437"/>
                  <a:pt x="8410672" y="875437"/>
                </a:cubicBezTo>
                <a:cubicBezTo>
                  <a:pt x="8314330" y="875437"/>
                  <a:pt x="8235971" y="797076"/>
                  <a:pt x="8235971" y="700734"/>
                </a:cubicBezTo>
                <a:lnTo>
                  <a:pt x="8235973" y="700731"/>
                </a:lnTo>
                <a:lnTo>
                  <a:pt x="8235971" y="700727"/>
                </a:lnTo>
                <a:cubicBezTo>
                  <a:pt x="8235971" y="604385"/>
                  <a:pt x="8314330" y="526027"/>
                  <a:pt x="8410672" y="526027"/>
                </a:cubicBezTo>
                <a:close/>
                <a:moveTo>
                  <a:pt x="4511383" y="523456"/>
                </a:moveTo>
                <a:lnTo>
                  <a:pt x="4525910" y="526391"/>
                </a:lnTo>
                <a:lnTo>
                  <a:pt x="4580269" y="537344"/>
                </a:lnTo>
                <a:lnTo>
                  <a:pt x="4580329" y="537384"/>
                </a:lnTo>
                <a:lnTo>
                  <a:pt x="4580539" y="537427"/>
                </a:lnTo>
                <a:lnTo>
                  <a:pt x="4613420" y="559640"/>
                </a:lnTo>
                <a:lnTo>
                  <a:pt x="4636628" y="575248"/>
                </a:lnTo>
                <a:lnTo>
                  <a:pt x="4636716" y="575377"/>
                </a:lnTo>
                <a:lnTo>
                  <a:pt x="4636869" y="575481"/>
                </a:lnTo>
                <a:lnTo>
                  <a:pt x="4655387" y="603014"/>
                </a:lnTo>
                <a:lnTo>
                  <a:pt x="4674683" y="631578"/>
                </a:lnTo>
                <a:lnTo>
                  <a:pt x="4674721" y="631762"/>
                </a:lnTo>
                <a:lnTo>
                  <a:pt x="4674773" y="631841"/>
                </a:lnTo>
                <a:cubicBezTo>
                  <a:pt x="4683715" y="653037"/>
                  <a:pt x="4688653" y="676319"/>
                  <a:pt x="4688653" y="700726"/>
                </a:cubicBezTo>
                <a:lnTo>
                  <a:pt x="4688653" y="700729"/>
                </a:lnTo>
                <a:lnTo>
                  <a:pt x="4688653" y="700733"/>
                </a:lnTo>
                <a:cubicBezTo>
                  <a:pt x="4688653" y="725140"/>
                  <a:pt x="4683715" y="748423"/>
                  <a:pt x="4674773" y="769618"/>
                </a:cubicBezTo>
                <a:lnTo>
                  <a:pt x="4674721" y="769698"/>
                </a:lnTo>
                <a:lnTo>
                  <a:pt x="4674683" y="769882"/>
                </a:lnTo>
                <a:lnTo>
                  <a:pt x="4655424" y="798388"/>
                </a:lnTo>
                <a:lnTo>
                  <a:pt x="4636869" y="825980"/>
                </a:lnTo>
                <a:lnTo>
                  <a:pt x="4636716" y="826084"/>
                </a:lnTo>
                <a:lnTo>
                  <a:pt x="4636628" y="826212"/>
                </a:lnTo>
                <a:lnTo>
                  <a:pt x="4613620" y="841687"/>
                </a:lnTo>
                <a:lnTo>
                  <a:pt x="4580539" y="864035"/>
                </a:lnTo>
                <a:lnTo>
                  <a:pt x="4580326" y="864079"/>
                </a:lnTo>
                <a:lnTo>
                  <a:pt x="4580269" y="864118"/>
                </a:lnTo>
                <a:lnTo>
                  <a:pt x="4527549" y="874740"/>
                </a:lnTo>
                <a:lnTo>
                  <a:pt x="4511383" y="878004"/>
                </a:lnTo>
                <a:cubicBezTo>
                  <a:pt x="4413757" y="878004"/>
                  <a:pt x="4334114" y="799002"/>
                  <a:pt x="4334114" y="700733"/>
                </a:cubicBezTo>
                <a:lnTo>
                  <a:pt x="4334115" y="700729"/>
                </a:lnTo>
                <a:lnTo>
                  <a:pt x="4334114" y="700726"/>
                </a:lnTo>
                <a:cubicBezTo>
                  <a:pt x="4334114" y="602457"/>
                  <a:pt x="4413757" y="523456"/>
                  <a:pt x="4511383" y="523456"/>
                </a:cubicBezTo>
                <a:close/>
                <a:moveTo>
                  <a:pt x="7853813" y="495840"/>
                </a:moveTo>
                <a:cubicBezTo>
                  <a:pt x="7966855" y="495840"/>
                  <a:pt x="8058701" y="587686"/>
                  <a:pt x="8058701" y="700727"/>
                </a:cubicBezTo>
                <a:lnTo>
                  <a:pt x="8058699" y="700731"/>
                </a:lnTo>
                <a:lnTo>
                  <a:pt x="8058701" y="700734"/>
                </a:lnTo>
                <a:cubicBezTo>
                  <a:pt x="8058701" y="813775"/>
                  <a:pt x="7966855" y="905624"/>
                  <a:pt x="7853813" y="905624"/>
                </a:cubicBezTo>
                <a:lnTo>
                  <a:pt x="7840604" y="902954"/>
                </a:lnTo>
                <a:lnTo>
                  <a:pt x="7773839" y="889499"/>
                </a:lnTo>
                <a:cubicBezTo>
                  <a:pt x="7724765" y="868744"/>
                  <a:pt x="7685606" y="829445"/>
                  <a:pt x="7664953" y="780429"/>
                </a:cubicBezTo>
                <a:lnTo>
                  <a:pt x="7649199" y="702084"/>
                </a:lnTo>
                <a:lnTo>
                  <a:pt x="7648926" y="700734"/>
                </a:lnTo>
                <a:lnTo>
                  <a:pt x="7648927" y="700731"/>
                </a:lnTo>
                <a:lnTo>
                  <a:pt x="7648926" y="700727"/>
                </a:lnTo>
                <a:lnTo>
                  <a:pt x="7649199" y="699377"/>
                </a:lnTo>
                <a:lnTo>
                  <a:pt x="7664953" y="621032"/>
                </a:lnTo>
                <a:cubicBezTo>
                  <a:pt x="7685606" y="572018"/>
                  <a:pt x="7724765" y="532719"/>
                  <a:pt x="7773839" y="511965"/>
                </a:cubicBezTo>
                <a:lnTo>
                  <a:pt x="7842361" y="498155"/>
                </a:lnTo>
                <a:close/>
                <a:moveTo>
                  <a:pt x="5068241" y="493269"/>
                </a:moveTo>
                <a:cubicBezTo>
                  <a:pt x="5182568" y="493269"/>
                  <a:pt x="5275698" y="586400"/>
                  <a:pt x="5275698" y="700726"/>
                </a:cubicBezTo>
                <a:lnTo>
                  <a:pt x="5275697" y="700729"/>
                </a:lnTo>
                <a:lnTo>
                  <a:pt x="5275698" y="700733"/>
                </a:lnTo>
                <a:cubicBezTo>
                  <a:pt x="5275698" y="815060"/>
                  <a:pt x="5182568" y="908192"/>
                  <a:pt x="5068241" y="908192"/>
                </a:cubicBezTo>
                <a:cubicBezTo>
                  <a:pt x="4953915" y="908192"/>
                  <a:pt x="4860783" y="815060"/>
                  <a:pt x="4860783" y="700733"/>
                </a:cubicBezTo>
                <a:lnTo>
                  <a:pt x="4860785" y="700729"/>
                </a:lnTo>
                <a:lnTo>
                  <a:pt x="4860783" y="700726"/>
                </a:lnTo>
                <a:lnTo>
                  <a:pt x="4861236" y="698502"/>
                </a:lnTo>
                <a:lnTo>
                  <a:pt x="4877122" y="619816"/>
                </a:lnTo>
                <a:cubicBezTo>
                  <a:pt x="4898156" y="570140"/>
                  <a:pt x="4937979" y="530459"/>
                  <a:pt x="4987595" y="509525"/>
                </a:cubicBezTo>
                <a:lnTo>
                  <a:pt x="5061344" y="494667"/>
                </a:lnTo>
                <a:close/>
                <a:moveTo>
                  <a:pt x="7296313" y="471433"/>
                </a:moveTo>
                <a:cubicBezTo>
                  <a:pt x="7422842" y="471433"/>
                  <a:pt x="7525607" y="574198"/>
                  <a:pt x="7525607" y="700727"/>
                </a:cubicBezTo>
                <a:lnTo>
                  <a:pt x="7525605" y="700731"/>
                </a:lnTo>
                <a:lnTo>
                  <a:pt x="7525607" y="700734"/>
                </a:lnTo>
                <a:cubicBezTo>
                  <a:pt x="7525607" y="827266"/>
                  <a:pt x="7422842" y="930031"/>
                  <a:pt x="7296313" y="930031"/>
                </a:cubicBezTo>
                <a:cubicBezTo>
                  <a:pt x="7169785" y="930031"/>
                  <a:pt x="7067019" y="827266"/>
                  <a:pt x="7067019" y="700734"/>
                </a:cubicBezTo>
                <a:lnTo>
                  <a:pt x="7067020" y="700731"/>
                </a:lnTo>
                <a:lnTo>
                  <a:pt x="7067019" y="700727"/>
                </a:lnTo>
                <a:cubicBezTo>
                  <a:pt x="7067019" y="574198"/>
                  <a:pt x="7169785" y="471433"/>
                  <a:pt x="7296313" y="471433"/>
                </a:cubicBezTo>
                <a:close/>
                <a:moveTo>
                  <a:pt x="5625740" y="471431"/>
                </a:moveTo>
                <a:cubicBezTo>
                  <a:pt x="5752269" y="471431"/>
                  <a:pt x="5855035" y="574197"/>
                  <a:pt x="5855035" y="700726"/>
                </a:cubicBezTo>
                <a:lnTo>
                  <a:pt x="5855033" y="700729"/>
                </a:lnTo>
                <a:lnTo>
                  <a:pt x="5855035" y="700734"/>
                </a:lnTo>
                <a:cubicBezTo>
                  <a:pt x="5855035" y="827266"/>
                  <a:pt x="5752269" y="930031"/>
                  <a:pt x="5625740" y="930031"/>
                </a:cubicBezTo>
                <a:lnTo>
                  <a:pt x="5602468" y="927681"/>
                </a:lnTo>
                <a:lnTo>
                  <a:pt x="5579376" y="925359"/>
                </a:lnTo>
                <a:cubicBezTo>
                  <a:pt x="5504560" y="910074"/>
                  <a:pt x="5443293" y="858502"/>
                  <a:pt x="5414389" y="789933"/>
                </a:cubicBezTo>
                <a:lnTo>
                  <a:pt x="5396752" y="702248"/>
                </a:lnTo>
                <a:lnTo>
                  <a:pt x="5396446" y="700734"/>
                </a:lnTo>
                <a:lnTo>
                  <a:pt x="5396447" y="700729"/>
                </a:lnTo>
                <a:lnTo>
                  <a:pt x="5396446" y="700726"/>
                </a:lnTo>
                <a:lnTo>
                  <a:pt x="5396751" y="699216"/>
                </a:lnTo>
                <a:lnTo>
                  <a:pt x="5414389" y="611527"/>
                </a:lnTo>
                <a:cubicBezTo>
                  <a:pt x="5443293" y="542959"/>
                  <a:pt x="5504560" y="491388"/>
                  <a:pt x="5579376" y="476103"/>
                </a:cubicBezTo>
                <a:lnTo>
                  <a:pt x="5606191" y="473405"/>
                </a:lnTo>
                <a:close/>
                <a:moveTo>
                  <a:pt x="6181956" y="461149"/>
                </a:moveTo>
                <a:cubicBezTo>
                  <a:pt x="6314266" y="461149"/>
                  <a:pt x="6421527" y="568411"/>
                  <a:pt x="6421527" y="700721"/>
                </a:cubicBezTo>
                <a:cubicBezTo>
                  <a:pt x="6421527" y="807981"/>
                  <a:pt x="6351519" y="898543"/>
                  <a:pt x="6254533" y="929373"/>
                </a:cubicBezTo>
                <a:cubicBezTo>
                  <a:pt x="6339957" y="947999"/>
                  <a:pt x="6413177" y="999381"/>
                  <a:pt x="6460706" y="1069390"/>
                </a:cubicBezTo>
                <a:cubicBezTo>
                  <a:pt x="6508235" y="999381"/>
                  <a:pt x="6581455" y="947999"/>
                  <a:pt x="6666879" y="929373"/>
                </a:cubicBezTo>
                <a:cubicBezTo>
                  <a:pt x="6569894" y="898543"/>
                  <a:pt x="6499885" y="807981"/>
                  <a:pt x="6499885" y="700721"/>
                </a:cubicBezTo>
                <a:cubicBezTo>
                  <a:pt x="6499885" y="568411"/>
                  <a:pt x="6606505" y="461149"/>
                  <a:pt x="6738813" y="461149"/>
                </a:cubicBezTo>
                <a:cubicBezTo>
                  <a:pt x="6871125" y="461149"/>
                  <a:pt x="6978385" y="568411"/>
                  <a:pt x="6978385" y="700721"/>
                </a:cubicBezTo>
                <a:cubicBezTo>
                  <a:pt x="6978385" y="807981"/>
                  <a:pt x="6908377" y="898543"/>
                  <a:pt x="6811392" y="929373"/>
                </a:cubicBezTo>
                <a:cubicBezTo>
                  <a:pt x="6900669" y="949283"/>
                  <a:pt x="6975815" y="1003235"/>
                  <a:pt x="7023345" y="1077739"/>
                </a:cubicBezTo>
                <a:cubicBezTo>
                  <a:pt x="7081791" y="989105"/>
                  <a:pt x="7181988" y="930657"/>
                  <a:pt x="7296315" y="930657"/>
                </a:cubicBezTo>
                <a:cubicBezTo>
                  <a:pt x="7422843" y="930657"/>
                  <a:pt x="7532674" y="1002593"/>
                  <a:pt x="7587268" y="1107927"/>
                </a:cubicBezTo>
                <a:cubicBezTo>
                  <a:pt x="7639293" y="1015438"/>
                  <a:pt x="7738845" y="952495"/>
                  <a:pt x="7853172" y="952495"/>
                </a:cubicBezTo>
                <a:cubicBezTo>
                  <a:pt x="7997043" y="952495"/>
                  <a:pt x="8117149" y="1051406"/>
                  <a:pt x="8149905" y="1185001"/>
                </a:cubicBezTo>
                <a:cubicBezTo>
                  <a:pt x="8181377" y="1070674"/>
                  <a:pt x="8286069" y="987177"/>
                  <a:pt x="8410029" y="987177"/>
                </a:cubicBezTo>
                <a:cubicBezTo>
                  <a:pt x="8559039" y="987177"/>
                  <a:pt x="8680430" y="1107927"/>
                  <a:pt x="8680430" y="1257578"/>
                </a:cubicBezTo>
                <a:cubicBezTo>
                  <a:pt x="8680430" y="1354563"/>
                  <a:pt x="8629689" y="1439986"/>
                  <a:pt x="8552616" y="1487515"/>
                </a:cubicBezTo>
                <a:cubicBezTo>
                  <a:pt x="8620055" y="1517060"/>
                  <a:pt x="8676577" y="1566515"/>
                  <a:pt x="8714472" y="1628817"/>
                </a:cubicBezTo>
                <a:cubicBezTo>
                  <a:pt x="8771634" y="1551743"/>
                  <a:pt x="8863480" y="1501646"/>
                  <a:pt x="8966887" y="1501646"/>
                </a:cubicBezTo>
                <a:cubicBezTo>
                  <a:pt x="9119108" y="1501646"/>
                  <a:pt x="9246279" y="1610832"/>
                  <a:pt x="9274540" y="1754704"/>
                </a:cubicBezTo>
                <a:cubicBezTo>
                  <a:pt x="9301516" y="1641662"/>
                  <a:pt x="9402996" y="1558166"/>
                  <a:pt x="9523745" y="1558166"/>
                </a:cubicBezTo>
                <a:cubicBezTo>
                  <a:pt x="9665690" y="1558166"/>
                  <a:pt x="9780658" y="1673134"/>
                  <a:pt x="9780658" y="1815078"/>
                </a:cubicBezTo>
                <a:cubicBezTo>
                  <a:pt x="9780658" y="1923624"/>
                  <a:pt x="9712576" y="2016755"/>
                  <a:pt x="9616877" y="2054007"/>
                </a:cubicBezTo>
                <a:cubicBezTo>
                  <a:pt x="9718356" y="2083552"/>
                  <a:pt x="9799284" y="2159983"/>
                  <a:pt x="9835252" y="2258894"/>
                </a:cubicBezTo>
                <a:cubicBezTo>
                  <a:pt x="9851951" y="2222927"/>
                  <a:pt x="9877001" y="2190813"/>
                  <a:pt x="9907186" y="2165122"/>
                </a:cubicBezTo>
                <a:lnTo>
                  <a:pt x="9907186" y="6706386"/>
                </a:lnTo>
                <a:lnTo>
                  <a:pt x="1456023" y="6706386"/>
                </a:lnTo>
                <a:lnTo>
                  <a:pt x="1475320" y="6664783"/>
                </a:lnTo>
                <a:cubicBezTo>
                  <a:pt x="1505828" y="6617896"/>
                  <a:pt x="1549182" y="6580162"/>
                  <a:pt x="1600564" y="6556398"/>
                </a:cubicBezTo>
                <a:cubicBezTo>
                  <a:pt x="1490735" y="6507585"/>
                  <a:pt x="1414303" y="6398397"/>
                  <a:pt x="1414303" y="6270583"/>
                </a:cubicBezTo>
                <a:cubicBezTo>
                  <a:pt x="1414303" y="6149834"/>
                  <a:pt x="1483027" y="6045142"/>
                  <a:pt x="1583865" y="5993117"/>
                </a:cubicBezTo>
                <a:cubicBezTo>
                  <a:pt x="1481743" y="5941093"/>
                  <a:pt x="1412376" y="5835758"/>
                  <a:pt x="1412376" y="5713725"/>
                </a:cubicBezTo>
                <a:cubicBezTo>
                  <a:pt x="1412376" y="5590407"/>
                  <a:pt x="1484312" y="5483146"/>
                  <a:pt x="1587719" y="5432406"/>
                </a:cubicBezTo>
                <a:cubicBezTo>
                  <a:pt x="1487523" y="5381665"/>
                  <a:pt x="1418157" y="5277616"/>
                  <a:pt x="1418157" y="5156867"/>
                </a:cubicBezTo>
                <a:cubicBezTo>
                  <a:pt x="1418157" y="5023273"/>
                  <a:pt x="1503580" y="4909589"/>
                  <a:pt x="1622402" y="4866556"/>
                </a:cubicBezTo>
                <a:cubicBezTo>
                  <a:pt x="1515783" y="4824808"/>
                  <a:pt x="1439994" y="4721401"/>
                  <a:pt x="1439994" y="4600009"/>
                </a:cubicBezTo>
                <a:cubicBezTo>
                  <a:pt x="1439994" y="4442008"/>
                  <a:pt x="1568451" y="4313552"/>
                  <a:pt x="1726452" y="4313552"/>
                </a:cubicBezTo>
                <a:cubicBezTo>
                  <a:pt x="1818298" y="4313552"/>
                  <a:pt x="1899868" y="4357227"/>
                  <a:pt x="1952535" y="4424666"/>
                </a:cubicBezTo>
                <a:cubicBezTo>
                  <a:pt x="1978227" y="4376496"/>
                  <a:pt x="2013553" y="4334747"/>
                  <a:pt x="2056584" y="4301991"/>
                </a:cubicBezTo>
                <a:cubicBezTo>
                  <a:pt x="2011624" y="4262812"/>
                  <a:pt x="1976943" y="4211429"/>
                  <a:pt x="1957032" y="4152981"/>
                </a:cubicBezTo>
                <a:cubicBezTo>
                  <a:pt x="1915925" y="4239048"/>
                  <a:pt x="1828575" y="4298780"/>
                  <a:pt x="1726452" y="4298780"/>
                </a:cubicBezTo>
                <a:cubicBezTo>
                  <a:pt x="1585150" y="4298780"/>
                  <a:pt x="1470824" y="4184454"/>
                  <a:pt x="1470824" y="4043152"/>
                </a:cubicBezTo>
                <a:cubicBezTo>
                  <a:pt x="1470824" y="3901850"/>
                  <a:pt x="1585150" y="3787524"/>
                  <a:pt x="1726452" y="3787524"/>
                </a:cubicBezTo>
                <a:cubicBezTo>
                  <a:pt x="1827932" y="3787524"/>
                  <a:pt x="1915925" y="3847256"/>
                  <a:pt x="1957032" y="3933321"/>
                </a:cubicBezTo>
                <a:cubicBezTo>
                  <a:pt x="1984649" y="3851110"/>
                  <a:pt x="2042454" y="3782385"/>
                  <a:pt x="2116959" y="3741280"/>
                </a:cubicBezTo>
                <a:cubicBezTo>
                  <a:pt x="2033462" y="3686686"/>
                  <a:pt x="1978227" y="3592912"/>
                  <a:pt x="1978227" y="3485652"/>
                </a:cubicBezTo>
                <a:cubicBezTo>
                  <a:pt x="1978227" y="3316732"/>
                  <a:pt x="2115033" y="3180568"/>
                  <a:pt x="2283309" y="3180568"/>
                </a:cubicBezTo>
                <a:cubicBezTo>
                  <a:pt x="2377083" y="3180568"/>
                  <a:pt x="2460579" y="3222959"/>
                  <a:pt x="2516458" y="3289114"/>
                </a:cubicBezTo>
                <a:cubicBezTo>
                  <a:pt x="2543434" y="3244154"/>
                  <a:pt x="2580044" y="3205617"/>
                  <a:pt x="2622434" y="3177999"/>
                </a:cubicBezTo>
                <a:cubicBezTo>
                  <a:pt x="2572980" y="3134324"/>
                  <a:pt x="2536370" y="3075876"/>
                  <a:pt x="2520311" y="3009721"/>
                </a:cubicBezTo>
                <a:cubicBezTo>
                  <a:pt x="2487557" y="3108633"/>
                  <a:pt x="2393783" y="3180568"/>
                  <a:pt x="2283309" y="3180568"/>
                </a:cubicBezTo>
                <a:cubicBezTo>
                  <a:pt x="2144577" y="3180568"/>
                  <a:pt x="2032820" y="3068168"/>
                  <a:pt x="2032820" y="2930079"/>
                </a:cubicBezTo>
                <a:cubicBezTo>
                  <a:pt x="2032820" y="2791346"/>
                  <a:pt x="2145219" y="2679589"/>
                  <a:pt x="2283309" y="2679589"/>
                </a:cubicBezTo>
                <a:cubicBezTo>
                  <a:pt x="2393783" y="2679589"/>
                  <a:pt x="2486912" y="2750882"/>
                  <a:pt x="2520311" y="2850436"/>
                </a:cubicBezTo>
                <a:cubicBezTo>
                  <a:pt x="2547288" y="2741248"/>
                  <a:pt x="2627573" y="2653898"/>
                  <a:pt x="2732265" y="2617930"/>
                </a:cubicBezTo>
                <a:cubicBezTo>
                  <a:pt x="2637849" y="2576182"/>
                  <a:pt x="2571694" y="2481766"/>
                  <a:pt x="2571694" y="2371936"/>
                </a:cubicBezTo>
                <a:cubicBezTo>
                  <a:pt x="2571694" y="2223569"/>
                  <a:pt x="2691801" y="2103463"/>
                  <a:pt x="2840168" y="2103463"/>
                </a:cubicBezTo>
                <a:cubicBezTo>
                  <a:pt x="2949356" y="2103463"/>
                  <a:pt x="3042487" y="2168332"/>
                  <a:pt x="3084876" y="2261464"/>
                </a:cubicBezTo>
                <a:cubicBezTo>
                  <a:pt x="3120202" y="2161910"/>
                  <a:pt x="3201772" y="2084194"/>
                  <a:pt x="3303897" y="2054007"/>
                </a:cubicBezTo>
                <a:cubicBezTo>
                  <a:pt x="3208195" y="2016755"/>
                  <a:pt x="3140113" y="1924266"/>
                  <a:pt x="3140113" y="1815078"/>
                </a:cubicBezTo>
                <a:cubicBezTo>
                  <a:pt x="3140113" y="1673134"/>
                  <a:pt x="3255082" y="1558166"/>
                  <a:pt x="3397026" y="1558166"/>
                </a:cubicBezTo>
                <a:cubicBezTo>
                  <a:pt x="3517775" y="1558166"/>
                  <a:pt x="3619255" y="1642305"/>
                  <a:pt x="3646231" y="1754704"/>
                </a:cubicBezTo>
                <a:cubicBezTo>
                  <a:pt x="3674490" y="1610191"/>
                  <a:pt x="3801664" y="1501646"/>
                  <a:pt x="3953882" y="1501646"/>
                </a:cubicBezTo>
                <a:cubicBezTo>
                  <a:pt x="4057291" y="1501646"/>
                  <a:pt x="4149138" y="1551743"/>
                  <a:pt x="4206301" y="1628817"/>
                </a:cubicBezTo>
                <a:cubicBezTo>
                  <a:pt x="4244195" y="1566515"/>
                  <a:pt x="4300714" y="1517060"/>
                  <a:pt x="4368154" y="1487515"/>
                </a:cubicBezTo>
                <a:cubicBezTo>
                  <a:pt x="4291724" y="1439344"/>
                  <a:pt x="4240341" y="1354563"/>
                  <a:pt x="4240341" y="1257578"/>
                </a:cubicBezTo>
                <a:cubicBezTo>
                  <a:pt x="4240341" y="1108569"/>
                  <a:pt x="4361090" y="987177"/>
                  <a:pt x="4510741" y="987177"/>
                </a:cubicBezTo>
                <a:cubicBezTo>
                  <a:pt x="4634702" y="987177"/>
                  <a:pt x="4738750" y="1071317"/>
                  <a:pt x="4770864" y="1185001"/>
                </a:cubicBezTo>
                <a:cubicBezTo>
                  <a:pt x="4803622" y="1051406"/>
                  <a:pt x="4924371" y="952495"/>
                  <a:pt x="5067599" y="952495"/>
                </a:cubicBezTo>
                <a:cubicBezTo>
                  <a:pt x="5181924" y="952495"/>
                  <a:pt x="5280836" y="1015438"/>
                  <a:pt x="5333505" y="1107927"/>
                </a:cubicBezTo>
                <a:cubicBezTo>
                  <a:pt x="5388098" y="1002593"/>
                  <a:pt x="5497927" y="930657"/>
                  <a:pt x="5624456" y="930657"/>
                </a:cubicBezTo>
                <a:cubicBezTo>
                  <a:pt x="5738140" y="930657"/>
                  <a:pt x="5838978" y="989105"/>
                  <a:pt x="5897426" y="1077739"/>
                </a:cubicBezTo>
                <a:cubicBezTo>
                  <a:pt x="5944954" y="1003235"/>
                  <a:pt x="6020744" y="948641"/>
                  <a:pt x="6109379" y="929373"/>
                </a:cubicBezTo>
                <a:cubicBezTo>
                  <a:pt x="6012394" y="898543"/>
                  <a:pt x="5942386" y="807981"/>
                  <a:pt x="5942386" y="700721"/>
                </a:cubicBezTo>
                <a:cubicBezTo>
                  <a:pt x="5942386" y="568411"/>
                  <a:pt x="6049646" y="461149"/>
                  <a:pt x="6181956" y="461149"/>
                </a:cubicBezTo>
                <a:close/>
                <a:moveTo>
                  <a:pt x="2840168" y="113689"/>
                </a:moveTo>
                <a:cubicBezTo>
                  <a:pt x="2856867" y="113689"/>
                  <a:pt x="2869713" y="127176"/>
                  <a:pt x="2869713" y="143233"/>
                </a:cubicBezTo>
                <a:lnTo>
                  <a:pt x="2869581" y="143551"/>
                </a:lnTo>
                <a:lnTo>
                  <a:pt x="2869713" y="143871"/>
                </a:lnTo>
                <a:cubicBezTo>
                  <a:pt x="2869713" y="159928"/>
                  <a:pt x="2856867" y="173415"/>
                  <a:pt x="2840168" y="173415"/>
                </a:cubicBezTo>
                <a:cubicBezTo>
                  <a:pt x="2824110" y="173415"/>
                  <a:pt x="2810622" y="159928"/>
                  <a:pt x="2810622" y="143871"/>
                </a:cubicBezTo>
                <a:lnTo>
                  <a:pt x="2810753" y="143551"/>
                </a:lnTo>
                <a:lnTo>
                  <a:pt x="2810622" y="143233"/>
                </a:lnTo>
                <a:cubicBezTo>
                  <a:pt x="2810622" y="127176"/>
                  <a:pt x="2824110" y="113689"/>
                  <a:pt x="2840168" y="113689"/>
                </a:cubicBezTo>
                <a:close/>
                <a:moveTo>
                  <a:pt x="3397667" y="93779"/>
                </a:moveTo>
                <a:cubicBezTo>
                  <a:pt x="3425285" y="93779"/>
                  <a:pt x="3447123" y="116257"/>
                  <a:pt x="3447123" y="143233"/>
                </a:cubicBezTo>
                <a:lnTo>
                  <a:pt x="3446990" y="143553"/>
                </a:lnTo>
                <a:lnTo>
                  <a:pt x="3447123" y="143871"/>
                </a:lnTo>
                <a:cubicBezTo>
                  <a:pt x="3447123" y="170847"/>
                  <a:pt x="3425285" y="193326"/>
                  <a:pt x="3397667" y="193326"/>
                </a:cubicBezTo>
                <a:cubicBezTo>
                  <a:pt x="3370050" y="193326"/>
                  <a:pt x="3348213" y="170847"/>
                  <a:pt x="3348213" y="143871"/>
                </a:cubicBezTo>
                <a:lnTo>
                  <a:pt x="3348344" y="143553"/>
                </a:lnTo>
                <a:lnTo>
                  <a:pt x="3348213" y="143233"/>
                </a:lnTo>
                <a:cubicBezTo>
                  <a:pt x="3348213" y="116257"/>
                  <a:pt x="3370050" y="93779"/>
                  <a:pt x="3397667" y="93779"/>
                </a:cubicBezTo>
                <a:close/>
                <a:moveTo>
                  <a:pt x="3954524" y="71299"/>
                </a:moveTo>
                <a:cubicBezTo>
                  <a:pt x="3994346" y="71299"/>
                  <a:pt x="4026460" y="103413"/>
                  <a:pt x="4026460" y="143235"/>
                </a:cubicBezTo>
                <a:lnTo>
                  <a:pt x="4026397" y="143553"/>
                </a:lnTo>
                <a:lnTo>
                  <a:pt x="4026460" y="143871"/>
                </a:lnTo>
                <a:cubicBezTo>
                  <a:pt x="4026460" y="183692"/>
                  <a:pt x="3994346" y="215806"/>
                  <a:pt x="3954524" y="215806"/>
                </a:cubicBezTo>
                <a:cubicBezTo>
                  <a:pt x="3914703" y="215806"/>
                  <a:pt x="3881946" y="183692"/>
                  <a:pt x="3882590" y="143871"/>
                </a:cubicBezTo>
                <a:lnTo>
                  <a:pt x="3882654" y="143553"/>
                </a:lnTo>
                <a:lnTo>
                  <a:pt x="3882590" y="143235"/>
                </a:lnTo>
                <a:cubicBezTo>
                  <a:pt x="3881946" y="103413"/>
                  <a:pt x="3914703" y="71299"/>
                  <a:pt x="3954524" y="71299"/>
                </a:cubicBezTo>
                <a:close/>
                <a:moveTo>
                  <a:pt x="4511383" y="47529"/>
                </a:moveTo>
                <a:cubicBezTo>
                  <a:pt x="4564694" y="47529"/>
                  <a:pt x="4607725" y="90562"/>
                  <a:pt x="4607725" y="143871"/>
                </a:cubicBezTo>
                <a:lnTo>
                  <a:pt x="4607725" y="143873"/>
                </a:lnTo>
                <a:lnTo>
                  <a:pt x="4607725" y="143877"/>
                </a:lnTo>
                <a:cubicBezTo>
                  <a:pt x="4607725" y="197187"/>
                  <a:pt x="4564694" y="240219"/>
                  <a:pt x="4511383" y="240219"/>
                </a:cubicBezTo>
                <a:cubicBezTo>
                  <a:pt x="4458074" y="240219"/>
                  <a:pt x="4415041" y="197187"/>
                  <a:pt x="4415041" y="143877"/>
                </a:cubicBezTo>
                <a:lnTo>
                  <a:pt x="4415042" y="143873"/>
                </a:lnTo>
                <a:lnTo>
                  <a:pt x="4415041" y="143871"/>
                </a:lnTo>
                <a:cubicBezTo>
                  <a:pt x="4415041" y="90562"/>
                  <a:pt x="4458074" y="47529"/>
                  <a:pt x="4511383" y="47529"/>
                </a:cubicBezTo>
                <a:close/>
                <a:moveTo>
                  <a:pt x="5068241" y="26334"/>
                </a:moveTo>
                <a:cubicBezTo>
                  <a:pt x="5133111" y="26334"/>
                  <a:pt x="5185778" y="79001"/>
                  <a:pt x="5185778" y="143871"/>
                </a:cubicBezTo>
                <a:lnTo>
                  <a:pt x="5185778" y="143874"/>
                </a:lnTo>
                <a:lnTo>
                  <a:pt x="5185778" y="143877"/>
                </a:lnTo>
                <a:cubicBezTo>
                  <a:pt x="5185778" y="208748"/>
                  <a:pt x="5133111" y="261414"/>
                  <a:pt x="5068241" y="261414"/>
                </a:cubicBezTo>
                <a:cubicBezTo>
                  <a:pt x="5003370" y="261414"/>
                  <a:pt x="4950704" y="208748"/>
                  <a:pt x="4950704" y="143877"/>
                </a:cubicBezTo>
                <a:lnTo>
                  <a:pt x="4950705" y="143874"/>
                </a:lnTo>
                <a:lnTo>
                  <a:pt x="4950704" y="143871"/>
                </a:lnTo>
                <a:lnTo>
                  <a:pt x="4950925" y="142777"/>
                </a:lnTo>
                <a:lnTo>
                  <a:pt x="4959946" y="97875"/>
                </a:lnTo>
                <a:cubicBezTo>
                  <a:pt x="4971848" y="69695"/>
                  <a:pt x="4994389" y="47295"/>
                  <a:pt x="5022508" y="35492"/>
                </a:cubicBezTo>
                <a:lnTo>
                  <a:pt x="5064898" y="27009"/>
                </a:lnTo>
                <a:close/>
                <a:moveTo>
                  <a:pt x="7296313" y="10283"/>
                </a:moveTo>
                <a:cubicBezTo>
                  <a:pt x="7369535" y="10283"/>
                  <a:pt x="7429266" y="70015"/>
                  <a:pt x="7429266" y="143235"/>
                </a:cubicBezTo>
                <a:lnTo>
                  <a:pt x="7429201" y="143553"/>
                </a:lnTo>
                <a:lnTo>
                  <a:pt x="7429266" y="143871"/>
                </a:lnTo>
                <a:cubicBezTo>
                  <a:pt x="7429266" y="217091"/>
                  <a:pt x="7369535" y="276822"/>
                  <a:pt x="7296313" y="276822"/>
                </a:cubicBezTo>
                <a:cubicBezTo>
                  <a:pt x="7223093" y="276822"/>
                  <a:pt x="7163362" y="217091"/>
                  <a:pt x="7163362" y="143871"/>
                </a:cubicBezTo>
                <a:lnTo>
                  <a:pt x="7163425" y="143553"/>
                </a:lnTo>
                <a:lnTo>
                  <a:pt x="7163362" y="143235"/>
                </a:lnTo>
                <a:cubicBezTo>
                  <a:pt x="7163362" y="70015"/>
                  <a:pt x="7223093" y="10283"/>
                  <a:pt x="7296313" y="10283"/>
                </a:cubicBezTo>
                <a:close/>
                <a:moveTo>
                  <a:pt x="5625740" y="10283"/>
                </a:moveTo>
                <a:cubicBezTo>
                  <a:pt x="5699603" y="10283"/>
                  <a:pt x="5758691" y="70015"/>
                  <a:pt x="5758691" y="143234"/>
                </a:cubicBezTo>
                <a:lnTo>
                  <a:pt x="5758627" y="143553"/>
                </a:lnTo>
                <a:lnTo>
                  <a:pt x="5758691" y="143871"/>
                </a:lnTo>
                <a:cubicBezTo>
                  <a:pt x="5758691" y="217091"/>
                  <a:pt x="5699603" y="276822"/>
                  <a:pt x="5625740" y="276822"/>
                </a:cubicBezTo>
                <a:cubicBezTo>
                  <a:pt x="5551877" y="276822"/>
                  <a:pt x="5492145" y="217091"/>
                  <a:pt x="5492788" y="143871"/>
                </a:cubicBezTo>
                <a:lnTo>
                  <a:pt x="5492852" y="143553"/>
                </a:lnTo>
                <a:lnTo>
                  <a:pt x="5492788" y="143234"/>
                </a:lnTo>
                <a:cubicBezTo>
                  <a:pt x="5492145" y="70015"/>
                  <a:pt x="5551877" y="10283"/>
                  <a:pt x="5625740" y="10283"/>
                </a:cubicBezTo>
                <a:close/>
                <a:moveTo>
                  <a:pt x="6182597" y="1"/>
                </a:moveTo>
                <a:cubicBezTo>
                  <a:pt x="6261599" y="1"/>
                  <a:pt x="6325827" y="64228"/>
                  <a:pt x="6325827" y="143228"/>
                </a:cubicBezTo>
                <a:lnTo>
                  <a:pt x="6325761" y="143553"/>
                </a:lnTo>
                <a:lnTo>
                  <a:pt x="6325827" y="143876"/>
                </a:lnTo>
                <a:cubicBezTo>
                  <a:pt x="6325827" y="222877"/>
                  <a:pt x="6261599" y="287105"/>
                  <a:pt x="6182597" y="287105"/>
                </a:cubicBezTo>
                <a:cubicBezTo>
                  <a:pt x="6103598" y="287105"/>
                  <a:pt x="6039369" y="222877"/>
                  <a:pt x="6039369" y="143876"/>
                </a:cubicBezTo>
                <a:lnTo>
                  <a:pt x="6039435" y="143554"/>
                </a:lnTo>
                <a:lnTo>
                  <a:pt x="6039369" y="143228"/>
                </a:lnTo>
                <a:cubicBezTo>
                  <a:pt x="6039369" y="64228"/>
                  <a:pt x="6103598" y="1"/>
                  <a:pt x="6182597" y="1"/>
                </a:cubicBezTo>
                <a:close/>
                <a:moveTo>
                  <a:pt x="6739456" y="0"/>
                </a:moveTo>
                <a:cubicBezTo>
                  <a:pt x="6818456" y="0"/>
                  <a:pt x="6882684" y="64228"/>
                  <a:pt x="6882684" y="143228"/>
                </a:cubicBezTo>
                <a:lnTo>
                  <a:pt x="6882619" y="143553"/>
                </a:lnTo>
                <a:lnTo>
                  <a:pt x="6882684" y="143877"/>
                </a:lnTo>
                <a:cubicBezTo>
                  <a:pt x="6882684" y="222878"/>
                  <a:pt x="6818456" y="287105"/>
                  <a:pt x="6739456" y="287105"/>
                </a:cubicBezTo>
                <a:cubicBezTo>
                  <a:pt x="6660455" y="287105"/>
                  <a:pt x="6596227" y="222878"/>
                  <a:pt x="6596227" y="143877"/>
                </a:cubicBezTo>
                <a:lnTo>
                  <a:pt x="6596293" y="143554"/>
                </a:lnTo>
                <a:lnTo>
                  <a:pt x="6596227" y="143228"/>
                </a:lnTo>
                <a:cubicBezTo>
                  <a:pt x="6596227" y="64228"/>
                  <a:pt x="6660455" y="0"/>
                  <a:pt x="6739456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D935805-535E-4340-8431-1F68CB21AE9D}"/>
              </a:ext>
            </a:extLst>
          </p:cNvPr>
          <p:cNvCxnSpPr>
            <a:cxnSpLocks/>
          </p:cNvCxnSpPr>
          <p:nvPr userDrawn="1"/>
        </p:nvCxnSpPr>
        <p:spPr>
          <a:xfrm>
            <a:off x="358775" y="2698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1630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1323" userDrawn="1">
          <p15:clr>
            <a:srgbClr val="FF96FF"/>
          </p15:clr>
        </p15:guide>
        <p15:guide id="7" pos="1453" userDrawn="1">
          <p15:clr>
            <a:srgbClr val="FF96FF"/>
          </p15:clr>
        </p15:guide>
        <p15:guide id="8" pos="2547" userDrawn="1">
          <p15:clr>
            <a:srgbClr val="FF96FF"/>
          </p15:clr>
        </p15:guide>
        <p15:guide id="9" pos="2680" userDrawn="1">
          <p15:clr>
            <a:srgbClr val="FF96FF"/>
          </p15:clr>
        </p15:guide>
        <p15:guide id="10" pos="3795" userDrawn="1">
          <p15:clr>
            <a:srgbClr val="FF96FF"/>
          </p15:clr>
        </p15:guide>
        <p15:guide id="11" pos="3908" userDrawn="1">
          <p15:clr>
            <a:srgbClr val="FF96FF"/>
          </p15:clr>
        </p15:guide>
        <p15:guide id="12" pos="4999" userDrawn="1">
          <p15:clr>
            <a:srgbClr val="FF96FF"/>
          </p15:clr>
        </p15:guide>
        <p15:guide id="13" pos="5135" userDrawn="1">
          <p15:clr>
            <a:srgbClr val="FF96FF"/>
          </p15:clr>
        </p15:guide>
        <p15:guide id="14" pos="6226" userDrawn="1">
          <p15:clr>
            <a:srgbClr val="FF96FF"/>
          </p15:clr>
        </p15:guide>
        <p15:guide id="15" pos="6362" userDrawn="1">
          <p15:clr>
            <a:srgbClr val="FF96FF"/>
          </p15:clr>
        </p15:guide>
        <p15:guide id="16" pos="7453" userDrawn="1">
          <p15:clr>
            <a:srgbClr val="FF96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t Screen Picture and Capti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99675" y="4875751"/>
            <a:ext cx="1732000" cy="105177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◄</a:t>
            </a:r>
          </a:p>
        </p:txBody>
      </p:sp>
      <p:sp>
        <p:nvSpPr>
          <p:cNvPr id="151" name="Picture Placeholder 150">
            <a:extLst>
              <a:ext uri="{FF2B5EF4-FFF2-40B4-BE49-F238E27FC236}">
                <a16:creationId xmlns:a16="http://schemas.microsoft.com/office/drawing/2014/main" id="{18CA7500-4ECF-435C-8AC6-9903366BED9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-1" y="1"/>
            <a:ext cx="10560573" cy="6322049"/>
          </a:xfrm>
          <a:custGeom>
            <a:avLst/>
            <a:gdLst>
              <a:gd name="connsiteX0" fmla="*/ 7063184 w 9901550"/>
              <a:gd name="connsiteY0" fmla="*/ 5754862 h 5927527"/>
              <a:gd name="connsiteX1" fmla="*/ 7092710 w 9901550"/>
              <a:gd name="connsiteY1" fmla="*/ 5784388 h 5927527"/>
              <a:gd name="connsiteX2" fmla="*/ 7092578 w 9901550"/>
              <a:gd name="connsiteY2" fmla="*/ 5784710 h 5927527"/>
              <a:gd name="connsiteX3" fmla="*/ 7092710 w 9901550"/>
              <a:gd name="connsiteY3" fmla="*/ 5785031 h 5927527"/>
              <a:gd name="connsiteX4" fmla="*/ 7063184 w 9901550"/>
              <a:gd name="connsiteY4" fmla="*/ 5814557 h 5927527"/>
              <a:gd name="connsiteX5" fmla="*/ 7033658 w 9901550"/>
              <a:gd name="connsiteY5" fmla="*/ 5785031 h 5927527"/>
              <a:gd name="connsiteX6" fmla="*/ 7033792 w 9901550"/>
              <a:gd name="connsiteY6" fmla="*/ 5784710 h 5927527"/>
              <a:gd name="connsiteX7" fmla="*/ 7033658 w 9901550"/>
              <a:gd name="connsiteY7" fmla="*/ 5784388 h 5927527"/>
              <a:gd name="connsiteX8" fmla="*/ 7063184 w 9901550"/>
              <a:gd name="connsiteY8" fmla="*/ 5754862 h 5927527"/>
              <a:gd name="connsiteX9" fmla="*/ 6506679 w 9901550"/>
              <a:gd name="connsiteY9" fmla="*/ 5734964 h 5927527"/>
              <a:gd name="connsiteX10" fmla="*/ 6556104 w 9901550"/>
              <a:gd name="connsiteY10" fmla="*/ 5784388 h 5927527"/>
              <a:gd name="connsiteX11" fmla="*/ 6541742 w 9901550"/>
              <a:gd name="connsiteY11" fmla="*/ 5819210 h 5927527"/>
              <a:gd name="connsiteX12" fmla="*/ 6541546 w 9901550"/>
              <a:gd name="connsiteY12" fmla="*/ 5819344 h 5927527"/>
              <a:gd name="connsiteX13" fmla="*/ 6541501 w 9901550"/>
              <a:gd name="connsiteY13" fmla="*/ 5819451 h 5927527"/>
              <a:gd name="connsiteX14" fmla="*/ 6534410 w 9901550"/>
              <a:gd name="connsiteY14" fmla="*/ 5824195 h 5927527"/>
              <a:gd name="connsiteX15" fmla="*/ 6526046 w 9901550"/>
              <a:gd name="connsiteY15" fmla="*/ 5829882 h 5927527"/>
              <a:gd name="connsiteX16" fmla="*/ 6525851 w 9901550"/>
              <a:gd name="connsiteY16" fmla="*/ 5829921 h 5927527"/>
              <a:gd name="connsiteX17" fmla="*/ 6525775 w 9901550"/>
              <a:gd name="connsiteY17" fmla="*/ 5829972 h 5927527"/>
              <a:gd name="connsiteX18" fmla="*/ 6506679 w 9901550"/>
              <a:gd name="connsiteY18" fmla="*/ 5833813 h 5927527"/>
              <a:gd name="connsiteX19" fmla="*/ 6487583 w 9901550"/>
              <a:gd name="connsiteY19" fmla="*/ 5829972 h 5927527"/>
              <a:gd name="connsiteX20" fmla="*/ 6487508 w 9901550"/>
              <a:gd name="connsiteY20" fmla="*/ 5829921 h 5927527"/>
              <a:gd name="connsiteX21" fmla="*/ 6487312 w 9901550"/>
              <a:gd name="connsiteY21" fmla="*/ 5829882 h 5927527"/>
              <a:gd name="connsiteX22" fmla="*/ 6478943 w 9901550"/>
              <a:gd name="connsiteY22" fmla="*/ 5824192 h 5927527"/>
              <a:gd name="connsiteX23" fmla="*/ 6471858 w 9901550"/>
              <a:gd name="connsiteY23" fmla="*/ 5819451 h 5927527"/>
              <a:gd name="connsiteX24" fmla="*/ 6471813 w 9901550"/>
              <a:gd name="connsiteY24" fmla="*/ 5819344 h 5927527"/>
              <a:gd name="connsiteX25" fmla="*/ 6471617 w 9901550"/>
              <a:gd name="connsiteY25" fmla="*/ 5819210 h 5927527"/>
              <a:gd name="connsiteX26" fmla="*/ 6457255 w 9901550"/>
              <a:gd name="connsiteY26" fmla="*/ 5784388 h 5927527"/>
              <a:gd name="connsiteX27" fmla="*/ 6471617 w 9901550"/>
              <a:gd name="connsiteY27" fmla="*/ 5749567 h 5927527"/>
              <a:gd name="connsiteX28" fmla="*/ 6471813 w 9901550"/>
              <a:gd name="connsiteY28" fmla="*/ 5749434 h 5927527"/>
              <a:gd name="connsiteX29" fmla="*/ 6471858 w 9901550"/>
              <a:gd name="connsiteY29" fmla="*/ 5749326 h 5927527"/>
              <a:gd name="connsiteX30" fmla="*/ 6478944 w 9901550"/>
              <a:gd name="connsiteY30" fmla="*/ 5744586 h 5927527"/>
              <a:gd name="connsiteX31" fmla="*/ 6487312 w 9901550"/>
              <a:gd name="connsiteY31" fmla="*/ 5738896 h 5927527"/>
              <a:gd name="connsiteX32" fmla="*/ 6487508 w 9901550"/>
              <a:gd name="connsiteY32" fmla="*/ 5738856 h 5927527"/>
              <a:gd name="connsiteX33" fmla="*/ 6487583 w 9901550"/>
              <a:gd name="connsiteY33" fmla="*/ 5738806 h 5927527"/>
              <a:gd name="connsiteX34" fmla="*/ 6506679 w 9901550"/>
              <a:gd name="connsiteY34" fmla="*/ 5734964 h 5927527"/>
              <a:gd name="connsiteX35" fmla="*/ 5949532 w 9901550"/>
              <a:gd name="connsiteY35" fmla="*/ 5712499 h 5927527"/>
              <a:gd name="connsiteX36" fmla="*/ 6021422 w 9901550"/>
              <a:gd name="connsiteY36" fmla="*/ 5784389 h 5927527"/>
              <a:gd name="connsiteX37" fmla="*/ 6021357 w 9901550"/>
              <a:gd name="connsiteY37" fmla="*/ 5784710 h 5927527"/>
              <a:gd name="connsiteX38" fmla="*/ 6021422 w 9901550"/>
              <a:gd name="connsiteY38" fmla="*/ 5785031 h 5927527"/>
              <a:gd name="connsiteX39" fmla="*/ 5949532 w 9901550"/>
              <a:gd name="connsiteY39" fmla="*/ 5856921 h 5927527"/>
              <a:gd name="connsiteX40" fmla="*/ 5877643 w 9901550"/>
              <a:gd name="connsiteY40" fmla="*/ 5785031 h 5927527"/>
              <a:gd name="connsiteX41" fmla="*/ 5877706 w 9901550"/>
              <a:gd name="connsiteY41" fmla="*/ 5784710 h 5927527"/>
              <a:gd name="connsiteX42" fmla="*/ 5877643 w 9901550"/>
              <a:gd name="connsiteY42" fmla="*/ 5784389 h 5927527"/>
              <a:gd name="connsiteX43" fmla="*/ 5949532 w 9901550"/>
              <a:gd name="connsiteY43" fmla="*/ 5712499 h 5927527"/>
              <a:gd name="connsiteX44" fmla="*/ 5393027 w 9901550"/>
              <a:gd name="connsiteY44" fmla="*/ 5688107 h 5927527"/>
              <a:gd name="connsiteX45" fmla="*/ 5489308 w 9901550"/>
              <a:gd name="connsiteY45" fmla="*/ 5784388 h 5927527"/>
              <a:gd name="connsiteX46" fmla="*/ 5393027 w 9901550"/>
              <a:gd name="connsiteY46" fmla="*/ 5880669 h 5927527"/>
              <a:gd name="connsiteX47" fmla="*/ 5296746 w 9901550"/>
              <a:gd name="connsiteY47" fmla="*/ 5784388 h 5927527"/>
              <a:gd name="connsiteX48" fmla="*/ 5393027 w 9901550"/>
              <a:gd name="connsiteY48" fmla="*/ 5688107 h 5927527"/>
              <a:gd name="connsiteX49" fmla="*/ 4836522 w 9901550"/>
              <a:gd name="connsiteY49" fmla="*/ 5666926 h 5927527"/>
              <a:gd name="connsiteX50" fmla="*/ 4953985 w 9901550"/>
              <a:gd name="connsiteY50" fmla="*/ 5784389 h 5927527"/>
              <a:gd name="connsiteX51" fmla="*/ 4836522 w 9901550"/>
              <a:gd name="connsiteY51" fmla="*/ 5901852 h 5927527"/>
              <a:gd name="connsiteX52" fmla="*/ 4719059 w 9901550"/>
              <a:gd name="connsiteY52" fmla="*/ 5784389 h 5927527"/>
              <a:gd name="connsiteX53" fmla="*/ 4836522 w 9901550"/>
              <a:gd name="connsiteY53" fmla="*/ 5666926 h 5927527"/>
              <a:gd name="connsiteX54" fmla="*/ 4280017 w 9901550"/>
              <a:gd name="connsiteY54" fmla="*/ 5651521 h 5927527"/>
              <a:gd name="connsiteX55" fmla="*/ 4412885 w 9901550"/>
              <a:gd name="connsiteY55" fmla="*/ 5784389 h 5927527"/>
              <a:gd name="connsiteX56" fmla="*/ 4412821 w 9901550"/>
              <a:gd name="connsiteY56" fmla="*/ 5784710 h 5927527"/>
              <a:gd name="connsiteX57" fmla="*/ 4412885 w 9901550"/>
              <a:gd name="connsiteY57" fmla="*/ 5785031 h 5927527"/>
              <a:gd name="connsiteX58" fmla="*/ 4280017 w 9901550"/>
              <a:gd name="connsiteY58" fmla="*/ 5917899 h 5927527"/>
              <a:gd name="connsiteX59" fmla="*/ 4147172 w 9901550"/>
              <a:gd name="connsiteY59" fmla="*/ 5785031 h 5927527"/>
              <a:gd name="connsiteX60" fmla="*/ 4147232 w 9901550"/>
              <a:gd name="connsiteY60" fmla="*/ 5784737 h 5927527"/>
              <a:gd name="connsiteX61" fmla="*/ 4147162 w 9901550"/>
              <a:gd name="connsiteY61" fmla="*/ 5784389 h 5927527"/>
              <a:gd name="connsiteX62" fmla="*/ 4280017 w 9901550"/>
              <a:gd name="connsiteY62" fmla="*/ 5651521 h 5927527"/>
              <a:gd name="connsiteX63" fmla="*/ 2609875 w 9901550"/>
              <a:gd name="connsiteY63" fmla="*/ 5651521 h 5927527"/>
              <a:gd name="connsiteX64" fmla="*/ 2742743 w 9901550"/>
              <a:gd name="connsiteY64" fmla="*/ 5784389 h 5927527"/>
              <a:gd name="connsiteX65" fmla="*/ 2742685 w 9901550"/>
              <a:gd name="connsiteY65" fmla="*/ 5784681 h 5927527"/>
              <a:gd name="connsiteX66" fmla="*/ 2742755 w 9901550"/>
              <a:gd name="connsiteY66" fmla="*/ 5785031 h 5927527"/>
              <a:gd name="connsiteX67" fmla="*/ 2609887 w 9901550"/>
              <a:gd name="connsiteY67" fmla="*/ 5917899 h 5927527"/>
              <a:gd name="connsiteX68" fmla="*/ 2477018 w 9901550"/>
              <a:gd name="connsiteY68" fmla="*/ 5785031 h 5927527"/>
              <a:gd name="connsiteX69" fmla="*/ 2477077 w 9901550"/>
              <a:gd name="connsiteY69" fmla="*/ 5784741 h 5927527"/>
              <a:gd name="connsiteX70" fmla="*/ 2477007 w 9901550"/>
              <a:gd name="connsiteY70" fmla="*/ 5784389 h 5927527"/>
              <a:gd name="connsiteX71" fmla="*/ 2609875 w 9901550"/>
              <a:gd name="connsiteY71" fmla="*/ 5651521 h 5927527"/>
              <a:gd name="connsiteX72" fmla="*/ 3722884 w 9901550"/>
              <a:gd name="connsiteY72" fmla="*/ 5641251 h 5927527"/>
              <a:gd name="connsiteX73" fmla="*/ 3722889 w 9901550"/>
              <a:gd name="connsiteY73" fmla="*/ 5641252 h 5927527"/>
              <a:gd name="connsiteX74" fmla="*/ 3722894 w 9901550"/>
              <a:gd name="connsiteY74" fmla="*/ 5641251 h 5927527"/>
              <a:gd name="connsiteX75" fmla="*/ 3866031 w 9901550"/>
              <a:gd name="connsiteY75" fmla="*/ 5784388 h 5927527"/>
              <a:gd name="connsiteX76" fmla="*/ 3722894 w 9901550"/>
              <a:gd name="connsiteY76" fmla="*/ 5927527 h 5927527"/>
              <a:gd name="connsiteX77" fmla="*/ 3722889 w 9901550"/>
              <a:gd name="connsiteY77" fmla="*/ 5927526 h 5927527"/>
              <a:gd name="connsiteX78" fmla="*/ 3722884 w 9901550"/>
              <a:gd name="connsiteY78" fmla="*/ 5927527 h 5927527"/>
              <a:gd name="connsiteX79" fmla="*/ 3579747 w 9901550"/>
              <a:gd name="connsiteY79" fmla="*/ 5784388 h 5927527"/>
              <a:gd name="connsiteX80" fmla="*/ 3722884 w 9901550"/>
              <a:gd name="connsiteY80" fmla="*/ 5641251 h 5927527"/>
              <a:gd name="connsiteX81" fmla="*/ 3166378 w 9901550"/>
              <a:gd name="connsiteY81" fmla="*/ 5641251 h 5927527"/>
              <a:gd name="connsiteX82" fmla="*/ 3166384 w 9901550"/>
              <a:gd name="connsiteY82" fmla="*/ 5641252 h 5927527"/>
              <a:gd name="connsiteX83" fmla="*/ 3166390 w 9901550"/>
              <a:gd name="connsiteY83" fmla="*/ 5641251 h 5927527"/>
              <a:gd name="connsiteX84" fmla="*/ 3309527 w 9901550"/>
              <a:gd name="connsiteY84" fmla="*/ 5784388 h 5927527"/>
              <a:gd name="connsiteX85" fmla="*/ 3166390 w 9901550"/>
              <a:gd name="connsiteY85" fmla="*/ 5927527 h 5927527"/>
              <a:gd name="connsiteX86" fmla="*/ 3166384 w 9901550"/>
              <a:gd name="connsiteY86" fmla="*/ 5927526 h 5927527"/>
              <a:gd name="connsiteX87" fmla="*/ 3166378 w 9901550"/>
              <a:gd name="connsiteY87" fmla="*/ 5927527 h 5927527"/>
              <a:gd name="connsiteX88" fmla="*/ 3023241 w 9901550"/>
              <a:gd name="connsiteY88" fmla="*/ 5784388 h 5927527"/>
              <a:gd name="connsiteX89" fmla="*/ 3166378 w 9901550"/>
              <a:gd name="connsiteY89" fmla="*/ 5641251 h 5927527"/>
              <a:gd name="connsiteX90" fmla="*/ 7619689 w 9901550"/>
              <a:gd name="connsiteY90" fmla="*/ 5190013 h 5927527"/>
              <a:gd name="connsiteX91" fmla="*/ 7657559 w 9901550"/>
              <a:gd name="connsiteY91" fmla="*/ 5227884 h 5927527"/>
              <a:gd name="connsiteX92" fmla="*/ 7619689 w 9901550"/>
              <a:gd name="connsiteY92" fmla="*/ 5265754 h 5927527"/>
              <a:gd name="connsiteX93" fmla="*/ 7593051 w 9901550"/>
              <a:gd name="connsiteY93" fmla="*/ 5254763 h 5927527"/>
              <a:gd name="connsiteX94" fmla="*/ 7592980 w 9901550"/>
              <a:gd name="connsiteY94" fmla="*/ 5254592 h 5927527"/>
              <a:gd name="connsiteX95" fmla="*/ 7592810 w 9901550"/>
              <a:gd name="connsiteY95" fmla="*/ 5254521 h 5927527"/>
              <a:gd name="connsiteX96" fmla="*/ 7581818 w 9901550"/>
              <a:gd name="connsiteY96" fmla="*/ 5227884 h 5927527"/>
              <a:gd name="connsiteX97" fmla="*/ 7592810 w 9901550"/>
              <a:gd name="connsiteY97" fmla="*/ 5201246 h 5927527"/>
              <a:gd name="connsiteX98" fmla="*/ 7592980 w 9901550"/>
              <a:gd name="connsiteY98" fmla="*/ 5201175 h 5927527"/>
              <a:gd name="connsiteX99" fmla="*/ 7593051 w 9901550"/>
              <a:gd name="connsiteY99" fmla="*/ 5201005 h 5927527"/>
              <a:gd name="connsiteX100" fmla="*/ 7619689 w 9901550"/>
              <a:gd name="connsiteY100" fmla="*/ 5190013 h 5927527"/>
              <a:gd name="connsiteX101" fmla="*/ 7063184 w 9901550"/>
              <a:gd name="connsiteY101" fmla="*/ 5162413 h 5927527"/>
              <a:gd name="connsiteX102" fmla="*/ 7128655 w 9901550"/>
              <a:gd name="connsiteY102" fmla="*/ 5227884 h 5927527"/>
              <a:gd name="connsiteX103" fmla="*/ 7063184 w 9901550"/>
              <a:gd name="connsiteY103" fmla="*/ 5293355 h 5927527"/>
              <a:gd name="connsiteX104" fmla="*/ 6997712 w 9901550"/>
              <a:gd name="connsiteY104" fmla="*/ 5227884 h 5927527"/>
              <a:gd name="connsiteX105" fmla="*/ 7063184 w 9901550"/>
              <a:gd name="connsiteY105" fmla="*/ 5162413 h 5927527"/>
              <a:gd name="connsiteX106" fmla="*/ 6506679 w 9901550"/>
              <a:gd name="connsiteY106" fmla="*/ 5129035 h 5927527"/>
              <a:gd name="connsiteX107" fmla="*/ 6605527 w 9901550"/>
              <a:gd name="connsiteY107" fmla="*/ 5227884 h 5927527"/>
              <a:gd name="connsiteX108" fmla="*/ 6506679 w 9901550"/>
              <a:gd name="connsiteY108" fmla="*/ 5326733 h 5927527"/>
              <a:gd name="connsiteX109" fmla="*/ 6407830 w 9901550"/>
              <a:gd name="connsiteY109" fmla="*/ 5227884 h 5927527"/>
              <a:gd name="connsiteX110" fmla="*/ 6506679 w 9901550"/>
              <a:gd name="connsiteY110" fmla="*/ 5129035 h 5927527"/>
              <a:gd name="connsiteX111" fmla="*/ 383206 w 9901550"/>
              <a:gd name="connsiteY111" fmla="*/ 5129035 h 5927527"/>
              <a:gd name="connsiteX112" fmla="*/ 383212 w 9901550"/>
              <a:gd name="connsiteY112" fmla="*/ 5129036 h 5927527"/>
              <a:gd name="connsiteX113" fmla="*/ 383217 w 9901550"/>
              <a:gd name="connsiteY113" fmla="*/ 5129035 h 5927527"/>
              <a:gd name="connsiteX114" fmla="*/ 482065 w 9901550"/>
              <a:gd name="connsiteY114" fmla="*/ 5227884 h 5927527"/>
              <a:gd name="connsiteX115" fmla="*/ 383217 w 9901550"/>
              <a:gd name="connsiteY115" fmla="*/ 5326732 h 5927527"/>
              <a:gd name="connsiteX116" fmla="*/ 383212 w 9901550"/>
              <a:gd name="connsiteY116" fmla="*/ 5326731 h 5927527"/>
              <a:gd name="connsiteX117" fmla="*/ 383206 w 9901550"/>
              <a:gd name="connsiteY117" fmla="*/ 5326732 h 5927527"/>
              <a:gd name="connsiteX118" fmla="*/ 284357 w 9901550"/>
              <a:gd name="connsiteY118" fmla="*/ 5227884 h 5927527"/>
              <a:gd name="connsiteX119" fmla="*/ 383206 w 9901550"/>
              <a:gd name="connsiteY119" fmla="*/ 5129035 h 5927527"/>
              <a:gd name="connsiteX120" fmla="*/ 5949532 w 9901550"/>
              <a:gd name="connsiteY120" fmla="*/ 5087955 h 5927527"/>
              <a:gd name="connsiteX121" fmla="*/ 6089460 w 9901550"/>
              <a:gd name="connsiteY121" fmla="*/ 5227884 h 5927527"/>
              <a:gd name="connsiteX122" fmla="*/ 5949532 w 9901550"/>
              <a:gd name="connsiteY122" fmla="*/ 5367813 h 5927527"/>
              <a:gd name="connsiteX123" fmla="*/ 5809603 w 9901550"/>
              <a:gd name="connsiteY123" fmla="*/ 5227884 h 5927527"/>
              <a:gd name="connsiteX124" fmla="*/ 5949532 w 9901550"/>
              <a:gd name="connsiteY124" fmla="*/ 5087955 h 5927527"/>
              <a:gd name="connsiteX125" fmla="*/ 939711 w 9901550"/>
              <a:gd name="connsiteY125" fmla="*/ 5087955 h 5927527"/>
              <a:gd name="connsiteX126" fmla="*/ 939716 w 9901550"/>
              <a:gd name="connsiteY126" fmla="*/ 5087956 h 5927527"/>
              <a:gd name="connsiteX127" fmla="*/ 939721 w 9901550"/>
              <a:gd name="connsiteY127" fmla="*/ 5087955 h 5927527"/>
              <a:gd name="connsiteX128" fmla="*/ 941664 w 9901550"/>
              <a:gd name="connsiteY128" fmla="*/ 5088350 h 5927527"/>
              <a:gd name="connsiteX129" fmla="*/ 994340 w 9901550"/>
              <a:gd name="connsiteY129" fmla="*/ 5098987 h 5927527"/>
              <a:gd name="connsiteX130" fmla="*/ 1068697 w 9901550"/>
              <a:gd name="connsiteY130" fmla="*/ 5173525 h 5927527"/>
              <a:gd name="connsiteX131" fmla="*/ 1078245 w 9901550"/>
              <a:gd name="connsiteY131" fmla="*/ 5220960 h 5927527"/>
              <a:gd name="connsiteX132" fmla="*/ 1079650 w 9901550"/>
              <a:gd name="connsiteY132" fmla="*/ 5227884 h 5927527"/>
              <a:gd name="connsiteX133" fmla="*/ 939721 w 9901550"/>
              <a:gd name="connsiteY133" fmla="*/ 5367813 h 5927527"/>
              <a:gd name="connsiteX134" fmla="*/ 939716 w 9901550"/>
              <a:gd name="connsiteY134" fmla="*/ 5367812 h 5927527"/>
              <a:gd name="connsiteX135" fmla="*/ 939711 w 9901550"/>
              <a:gd name="connsiteY135" fmla="*/ 5367813 h 5927527"/>
              <a:gd name="connsiteX136" fmla="*/ 799782 w 9901550"/>
              <a:gd name="connsiteY136" fmla="*/ 5227884 h 5927527"/>
              <a:gd name="connsiteX137" fmla="*/ 939711 w 9901550"/>
              <a:gd name="connsiteY137" fmla="*/ 5087955 h 5927527"/>
              <a:gd name="connsiteX138" fmla="*/ 1496217 w 9901550"/>
              <a:gd name="connsiteY138" fmla="*/ 5053294 h 5927527"/>
              <a:gd name="connsiteX139" fmla="*/ 1496222 w 9901550"/>
              <a:gd name="connsiteY139" fmla="*/ 5053295 h 5927527"/>
              <a:gd name="connsiteX140" fmla="*/ 1496229 w 9901550"/>
              <a:gd name="connsiteY140" fmla="*/ 5053294 h 5927527"/>
              <a:gd name="connsiteX141" fmla="*/ 1499202 w 9901550"/>
              <a:gd name="connsiteY141" fmla="*/ 5053896 h 5927527"/>
              <a:gd name="connsiteX142" fmla="*/ 1564386 w 9901550"/>
              <a:gd name="connsiteY142" fmla="*/ 5067034 h 5927527"/>
              <a:gd name="connsiteX143" fmla="*/ 1657157 w 9901550"/>
              <a:gd name="connsiteY143" fmla="*/ 5159985 h 5927527"/>
              <a:gd name="connsiteX144" fmla="*/ 1668969 w 9901550"/>
              <a:gd name="connsiteY144" fmla="*/ 5218743 h 5927527"/>
              <a:gd name="connsiteX145" fmla="*/ 1670819 w 9901550"/>
              <a:gd name="connsiteY145" fmla="*/ 5227883 h 5927527"/>
              <a:gd name="connsiteX146" fmla="*/ 1496229 w 9901550"/>
              <a:gd name="connsiteY146" fmla="*/ 5402473 h 5927527"/>
              <a:gd name="connsiteX147" fmla="*/ 1496222 w 9901550"/>
              <a:gd name="connsiteY147" fmla="*/ 5402472 h 5927527"/>
              <a:gd name="connsiteX148" fmla="*/ 1496217 w 9901550"/>
              <a:gd name="connsiteY148" fmla="*/ 5402473 h 5927527"/>
              <a:gd name="connsiteX149" fmla="*/ 1321626 w 9901550"/>
              <a:gd name="connsiteY149" fmla="*/ 5227883 h 5927527"/>
              <a:gd name="connsiteX150" fmla="*/ 1496217 w 9901550"/>
              <a:gd name="connsiteY150" fmla="*/ 5053294 h 5927527"/>
              <a:gd name="connsiteX151" fmla="*/ 5393028 w 9901550"/>
              <a:gd name="connsiteY151" fmla="*/ 5050727 h 5927527"/>
              <a:gd name="connsiteX152" fmla="*/ 5570186 w 9901550"/>
              <a:gd name="connsiteY152" fmla="*/ 5227884 h 5927527"/>
              <a:gd name="connsiteX153" fmla="*/ 5393028 w 9901550"/>
              <a:gd name="connsiteY153" fmla="*/ 5405041 h 5927527"/>
              <a:gd name="connsiteX154" fmla="*/ 5324187 w 9901550"/>
              <a:gd name="connsiteY154" fmla="*/ 5391171 h 5927527"/>
              <a:gd name="connsiteX155" fmla="*/ 5324111 w 9901550"/>
              <a:gd name="connsiteY155" fmla="*/ 5391120 h 5927527"/>
              <a:gd name="connsiteX156" fmla="*/ 5323916 w 9901550"/>
              <a:gd name="connsiteY156" fmla="*/ 5391081 h 5927527"/>
              <a:gd name="connsiteX157" fmla="*/ 5293618 w 9901550"/>
              <a:gd name="connsiteY157" fmla="*/ 5370612 h 5927527"/>
              <a:gd name="connsiteX158" fmla="*/ 5267862 w 9901550"/>
              <a:gd name="connsiteY158" fmla="*/ 5353290 h 5927527"/>
              <a:gd name="connsiteX159" fmla="*/ 5267765 w 9901550"/>
              <a:gd name="connsiteY159" fmla="*/ 5353147 h 5927527"/>
              <a:gd name="connsiteX160" fmla="*/ 5267621 w 9901550"/>
              <a:gd name="connsiteY160" fmla="*/ 5353050 h 5927527"/>
              <a:gd name="connsiteX161" fmla="*/ 5250298 w 9901550"/>
              <a:gd name="connsiteY161" fmla="*/ 5327292 h 5927527"/>
              <a:gd name="connsiteX162" fmla="*/ 5229831 w 9901550"/>
              <a:gd name="connsiteY162" fmla="*/ 5296996 h 5927527"/>
              <a:gd name="connsiteX163" fmla="*/ 5229791 w 9901550"/>
              <a:gd name="connsiteY163" fmla="*/ 5296801 h 5927527"/>
              <a:gd name="connsiteX164" fmla="*/ 5229740 w 9901550"/>
              <a:gd name="connsiteY164" fmla="*/ 5296725 h 5927527"/>
              <a:gd name="connsiteX165" fmla="*/ 5215870 w 9901550"/>
              <a:gd name="connsiteY165" fmla="*/ 5227884 h 5927527"/>
              <a:gd name="connsiteX166" fmla="*/ 5229740 w 9901550"/>
              <a:gd name="connsiteY166" fmla="*/ 5159044 h 5927527"/>
              <a:gd name="connsiteX167" fmla="*/ 5229791 w 9901550"/>
              <a:gd name="connsiteY167" fmla="*/ 5158968 h 5927527"/>
              <a:gd name="connsiteX168" fmla="*/ 5229831 w 9901550"/>
              <a:gd name="connsiteY168" fmla="*/ 5158772 h 5927527"/>
              <a:gd name="connsiteX169" fmla="*/ 5250355 w 9901550"/>
              <a:gd name="connsiteY169" fmla="*/ 5128394 h 5927527"/>
              <a:gd name="connsiteX170" fmla="*/ 5267621 w 9901550"/>
              <a:gd name="connsiteY170" fmla="*/ 5102719 h 5927527"/>
              <a:gd name="connsiteX171" fmla="*/ 5267764 w 9901550"/>
              <a:gd name="connsiteY171" fmla="*/ 5102622 h 5927527"/>
              <a:gd name="connsiteX172" fmla="*/ 5267862 w 9901550"/>
              <a:gd name="connsiteY172" fmla="*/ 5102478 h 5927527"/>
              <a:gd name="connsiteX173" fmla="*/ 5293704 w 9901550"/>
              <a:gd name="connsiteY173" fmla="*/ 5085099 h 5927527"/>
              <a:gd name="connsiteX174" fmla="*/ 5323916 w 9901550"/>
              <a:gd name="connsiteY174" fmla="*/ 5064688 h 5927527"/>
              <a:gd name="connsiteX175" fmla="*/ 5324111 w 9901550"/>
              <a:gd name="connsiteY175" fmla="*/ 5064649 h 5927527"/>
              <a:gd name="connsiteX176" fmla="*/ 5324187 w 9901550"/>
              <a:gd name="connsiteY176" fmla="*/ 5064598 h 5927527"/>
              <a:gd name="connsiteX177" fmla="*/ 5393028 w 9901550"/>
              <a:gd name="connsiteY177" fmla="*/ 5050727 h 5927527"/>
              <a:gd name="connsiteX178" fmla="*/ 2053365 w 9901550"/>
              <a:gd name="connsiteY178" fmla="*/ 5023126 h 5927527"/>
              <a:gd name="connsiteX179" fmla="*/ 2053370 w 9901550"/>
              <a:gd name="connsiteY179" fmla="*/ 5023127 h 5927527"/>
              <a:gd name="connsiteX180" fmla="*/ 2053377 w 9901550"/>
              <a:gd name="connsiteY180" fmla="*/ 5023126 h 5927527"/>
              <a:gd name="connsiteX181" fmla="*/ 2258139 w 9901550"/>
              <a:gd name="connsiteY181" fmla="*/ 5227884 h 5927527"/>
              <a:gd name="connsiteX182" fmla="*/ 2053377 w 9901550"/>
              <a:gd name="connsiteY182" fmla="*/ 5432642 h 5927527"/>
              <a:gd name="connsiteX183" fmla="*/ 2053370 w 9901550"/>
              <a:gd name="connsiteY183" fmla="*/ 5432642 h 5927527"/>
              <a:gd name="connsiteX184" fmla="*/ 2053365 w 9901550"/>
              <a:gd name="connsiteY184" fmla="*/ 5432642 h 5927527"/>
              <a:gd name="connsiteX185" fmla="*/ 1848606 w 9901550"/>
              <a:gd name="connsiteY185" fmla="*/ 5227884 h 5927527"/>
              <a:gd name="connsiteX186" fmla="*/ 2053365 w 9901550"/>
              <a:gd name="connsiteY186" fmla="*/ 5023126 h 5927527"/>
              <a:gd name="connsiteX187" fmla="*/ 4836522 w 9901550"/>
              <a:gd name="connsiteY187" fmla="*/ 5020558 h 5927527"/>
              <a:gd name="connsiteX188" fmla="*/ 5043848 w 9901550"/>
              <a:gd name="connsiteY188" fmla="*/ 5227884 h 5927527"/>
              <a:gd name="connsiteX189" fmla="*/ 4836522 w 9901550"/>
              <a:gd name="connsiteY189" fmla="*/ 5435209 h 5927527"/>
              <a:gd name="connsiteX190" fmla="*/ 4629197 w 9901550"/>
              <a:gd name="connsiteY190" fmla="*/ 5227884 h 5927527"/>
              <a:gd name="connsiteX191" fmla="*/ 4836522 w 9901550"/>
              <a:gd name="connsiteY191" fmla="*/ 5020558 h 5927527"/>
              <a:gd name="connsiteX192" fmla="*/ 4280017 w 9901550"/>
              <a:gd name="connsiteY192" fmla="*/ 4998735 h 5927527"/>
              <a:gd name="connsiteX193" fmla="*/ 4509167 w 9901550"/>
              <a:gd name="connsiteY193" fmla="*/ 5227884 h 5927527"/>
              <a:gd name="connsiteX194" fmla="*/ 4280017 w 9901550"/>
              <a:gd name="connsiteY194" fmla="*/ 5457033 h 5927527"/>
              <a:gd name="connsiteX195" fmla="*/ 4050878 w 9901550"/>
              <a:gd name="connsiteY195" fmla="*/ 5227884 h 5927527"/>
              <a:gd name="connsiteX196" fmla="*/ 4280017 w 9901550"/>
              <a:gd name="connsiteY196" fmla="*/ 4998735 h 5927527"/>
              <a:gd name="connsiteX197" fmla="*/ 2609873 w 9901550"/>
              <a:gd name="connsiteY197" fmla="*/ 4998735 h 5927527"/>
              <a:gd name="connsiteX198" fmla="*/ 2609880 w 9901550"/>
              <a:gd name="connsiteY198" fmla="*/ 4998736 h 5927527"/>
              <a:gd name="connsiteX199" fmla="*/ 2609887 w 9901550"/>
              <a:gd name="connsiteY199" fmla="*/ 4998735 h 5927527"/>
              <a:gd name="connsiteX200" fmla="*/ 2839035 w 9901550"/>
              <a:gd name="connsiteY200" fmla="*/ 5227884 h 5927527"/>
              <a:gd name="connsiteX201" fmla="*/ 2609887 w 9901550"/>
              <a:gd name="connsiteY201" fmla="*/ 5457033 h 5927527"/>
              <a:gd name="connsiteX202" fmla="*/ 2609880 w 9901550"/>
              <a:gd name="connsiteY202" fmla="*/ 5457033 h 5927527"/>
              <a:gd name="connsiteX203" fmla="*/ 2609873 w 9901550"/>
              <a:gd name="connsiteY203" fmla="*/ 5457033 h 5927527"/>
              <a:gd name="connsiteX204" fmla="*/ 2380723 w 9901550"/>
              <a:gd name="connsiteY204" fmla="*/ 5227884 h 5927527"/>
              <a:gd name="connsiteX205" fmla="*/ 2609873 w 9901550"/>
              <a:gd name="connsiteY205" fmla="*/ 4998735 h 5927527"/>
              <a:gd name="connsiteX206" fmla="*/ 8176195 w 9901550"/>
              <a:gd name="connsiteY206" fmla="*/ 4631582 h 5927527"/>
              <a:gd name="connsiteX207" fmla="*/ 8215991 w 9901550"/>
              <a:gd name="connsiteY207" fmla="*/ 4671379 h 5927527"/>
              <a:gd name="connsiteX208" fmla="*/ 8176195 w 9901550"/>
              <a:gd name="connsiteY208" fmla="*/ 4711175 h 5927527"/>
              <a:gd name="connsiteX209" fmla="*/ 8136398 w 9901550"/>
              <a:gd name="connsiteY209" fmla="*/ 4671379 h 5927527"/>
              <a:gd name="connsiteX210" fmla="*/ 8176195 w 9901550"/>
              <a:gd name="connsiteY210" fmla="*/ 4631582 h 5927527"/>
              <a:gd name="connsiteX211" fmla="*/ 7619689 w 9901550"/>
              <a:gd name="connsiteY211" fmla="*/ 4597563 h 5927527"/>
              <a:gd name="connsiteX212" fmla="*/ 7693504 w 9901550"/>
              <a:gd name="connsiteY212" fmla="*/ 4671379 h 5927527"/>
              <a:gd name="connsiteX213" fmla="*/ 7687747 w 9901550"/>
              <a:gd name="connsiteY213" fmla="*/ 4699973 h 5927527"/>
              <a:gd name="connsiteX214" fmla="*/ 7687696 w 9901550"/>
              <a:gd name="connsiteY214" fmla="*/ 4700048 h 5927527"/>
              <a:gd name="connsiteX215" fmla="*/ 7687657 w 9901550"/>
              <a:gd name="connsiteY215" fmla="*/ 4700243 h 5927527"/>
              <a:gd name="connsiteX216" fmla="*/ 7679174 w 9901550"/>
              <a:gd name="connsiteY216" fmla="*/ 4712756 h 5927527"/>
              <a:gd name="connsiteX217" fmla="*/ 7672001 w 9901550"/>
              <a:gd name="connsiteY217" fmla="*/ 4723451 h 5927527"/>
              <a:gd name="connsiteX218" fmla="*/ 7671857 w 9901550"/>
              <a:gd name="connsiteY218" fmla="*/ 4723549 h 5927527"/>
              <a:gd name="connsiteX219" fmla="*/ 7671760 w 9901550"/>
              <a:gd name="connsiteY219" fmla="*/ 4723691 h 5927527"/>
              <a:gd name="connsiteX220" fmla="*/ 7661143 w 9901550"/>
              <a:gd name="connsiteY220" fmla="*/ 4730812 h 5927527"/>
              <a:gd name="connsiteX221" fmla="*/ 7648553 w 9901550"/>
              <a:gd name="connsiteY221" fmla="*/ 4739347 h 5927527"/>
              <a:gd name="connsiteX222" fmla="*/ 7648358 w 9901550"/>
              <a:gd name="connsiteY222" fmla="*/ 4739387 h 5927527"/>
              <a:gd name="connsiteX223" fmla="*/ 7648282 w 9901550"/>
              <a:gd name="connsiteY223" fmla="*/ 4739437 h 5927527"/>
              <a:gd name="connsiteX224" fmla="*/ 7619689 w 9901550"/>
              <a:gd name="connsiteY224" fmla="*/ 4745194 h 5927527"/>
              <a:gd name="connsiteX225" fmla="*/ 7591095 w 9901550"/>
              <a:gd name="connsiteY225" fmla="*/ 4739437 h 5927527"/>
              <a:gd name="connsiteX226" fmla="*/ 7591020 w 9901550"/>
              <a:gd name="connsiteY226" fmla="*/ 4739387 h 5927527"/>
              <a:gd name="connsiteX227" fmla="*/ 7590824 w 9901550"/>
              <a:gd name="connsiteY227" fmla="*/ 4739347 h 5927527"/>
              <a:gd name="connsiteX228" fmla="*/ 7578202 w 9901550"/>
              <a:gd name="connsiteY228" fmla="*/ 4730790 h 5927527"/>
              <a:gd name="connsiteX229" fmla="*/ 7567616 w 9901550"/>
              <a:gd name="connsiteY229" fmla="*/ 4723691 h 5927527"/>
              <a:gd name="connsiteX230" fmla="*/ 7567520 w 9901550"/>
              <a:gd name="connsiteY230" fmla="*/ 4723549 h 5927527"/>
              <a:gd name="connsiteX231" fmla="*/ 7567375 w 9901550"/>
              <a:gd name="connsiteY231" fmla="*/ 4723451 h 5927527"/>
              <a:gd name="connsiteX232" fmla="*/ 7560183 w 9901550"/>
              <a:gd name="connsiteY232" fmla="*/ 4712726 h 5927527"/>
              <a:gd name="connsiteX233" fmla="*/ 7551720 w 9901550"/>
              <a:gd name="connsiteY233" fmla="*/ 4700243 h 5927527"/>
              <a:gd name="connsiteX234" fmla="*/ 7551681 w 9901550"/>
              <a:gd name="connsiteY234" fmla="*/ 4700049 h 5927527"/>
              <a:gd name="connsiteX235" fmla="*/ 7551629 w 9901550"/>
              <a:gd name="connsiteY235" fmla="*/ 4699973 h 5927527"/>
              <a:gd name="connsiteX236" fmla="*/ 7545873 w 9901550"/>
              <a:gd name="connsiteY236" fmla="*/ 4671379 h 5927527"/>
              <a:gd name="connsiteX237" fmla="*/ 7551629 w 9901550"/>
              <a:gd name="connsiteY237" fmla="*/ 4642786 h 5927527"/>
              <a:gd name="connsiteX238" fmla="*/ 7551680 w 9901550"/>
              <a:gd name="connsiteY238" fmla="*/ 4642710 h 5927527"/>
              <a:gd name="connsiteX239" fmla="*/ 7551720 w 9901550"/>
              <a:gd name="connsiteY239" fmla="*/ 4642515 h 5927527"/>
              <a:gd name="connsiteX240" fmla="*/ 7560209 w 9901550"/>
              <a:gd name="connsiteY240" fmla="*/ 4629993 h 5927527"/>
              <a:gd name="connsiteX241" fmla="*/ 7567375 w 9901550"/>
              <a:gd name="connsiteY241" fmla="*/ 4619307 h 5927527"/>
              <a:gd name="connsiteX242" fmla="*/ 7567520 w 9901550"/>
              <a:gd name="connsiteY242" fmla="*/ 4619209 h 5927527"/>
              <a:gd name="connsiteX243" fmla="*/ 7567616 w 9901550"/>
              <a:gd name="connsiteY243" fmla="*/ 4619066 h 5927527"/>
              <a:gd name="connsiteX244" fmla="*/ 7578237 w 9901550"/>
              <a:gd name="connsiteY244" fmla="*/ 4611944 h 5927527"/>
              <a:gd name="connsiteX245" fmla="*/ 7590824 w 9901550"/>
              <a:gd name="connsiteY245" fmla="*/ 4603410 h 5927527"/>
              <a:gd name="connsiteX246" fmla="*/ 7591020 w 9901550"/>
              <a:gd name="connsiteY246" fmla="*/ 4603371 h 5927527"/>
              <a:gd name="connsiteX247" fmla="*/ 7591095 w 9901550"/>
              <a:gd name="connsiteY247" fmla="*/ 4603320 h 5927527"/>
              <a:gd name="connsiteX248" fmla="*/ 7619689 w 9901550"/>
              <a:gd name="connsiteY248" fmla="*/ 4597563 h 5927527"/>
              <a:gd name="connsiteX249" fmla="*/ 7063184 w 9901550"/>
              <a:gd name="connsiteY249" fmla="*/ 4549423 h 5927527"/>
              <a:gd name="connsiteX250" fmla="*/ 7185140 w 9901550"/>
              <a:gd name="connsiteY250" fmla="*/ 4671380 h 5927527"/>
              <a:gd name="connsiteX251" fmla="*/ 7063184 w 9901550"/>
              <a:gd name="connsiteY251" fmla="*/ 4793336 h 5927527"/>
              <a:gd name="connsiteX252" fmla="*/ 6941228 w 9901550"/>
              <a:gd name="connsiteY252" fmla="*/ 4671380 h 5927527"/>
              <a:gd name="connsiteX253" fmla="*/ 7063184 w 9901550"/>
              <a:gd name="connsiteY253" fmla="*/ 4549423 h 5927527"/>
              <a:gd name="connsiteX254" fmla="*/ 6506679 w 9901550"/>
              <a:gd name="connsiteY254" fmla="*/ 4496789 h 5927527"/>
              <a:gd name="connsiteX255" fmla="*/ 6679985 w 9901550"/>
              <a:gd name="connsiteY255" fmla="*/ 4670737 h 5927527"/>
              <a:gd name="connsiteX256" fmla="*/ 6679920 w 9901550"/>
              <a:gd name="connsiteY256" fmla="*/ 4671058 h 5927527"/>
              <a:gd name="connsiteX257" fmla="*/ 6679985 w 9901550"/>
              <a:gd name="connsiteY257" fmla="*/ 4671379 h 5927527"/>
              <a:gd name="connsiteX258" fmla="*/ 6506679 w 9901550"/>
              <a:gd name="connsiteY258" fmla="*/ 4845327 h 5927527"/>
              <a:gd name="connsiteX259" fmla="*/ 6332731 w 9901550"/>
              <a:gd name="connsiteY259" fmla="*/ 4671379 h 5927527"/>
              <a:gd name="connsiteX260" fmla="*/ 6332796 w 9901550"/>
              <a:gd name="connsiteY260" fmla="*/ 4671058 h 5927527"/>
              <a:gd name="connsiteX261" fmla="*/ 6332731 w 9901550"/>
              <a:gd name="connsiteY261" fmla="*/ 4670737 h 5927527"/>
              <a:gd name="connsiteX262" fmla="*/ 6506679 w 9901550"/>
              <a:gd name="connsiteY262" fmla="*/ 4496789 h 5927527"/>
              <a:gd name="connsiteX263" fmla="*/ 383217 w 9901550"/>
              <a:gd name="connsiteY263" fmla="*/ 4496789 h 5927527"/>
              <a:gd name="connsiteX264" fmla="*/ 557164 w 9901550"/>
              <a:gd name="connsiteY264" fmla="*/ 4670737 h 5927527"/>
              <a:gd name="connsiteX265" fmla="*/ 557093 w 9901550"/>
              <a:gd name="connsiteY265" fmla="*/ 4671084 h 5927527"/>
              <a:gd name="connsiteX266" fmla="*/ 557154 w 9901550"/>
              <a:gd name="connsiteY266" fmla="*/ 4671379 h 5927527"/>
              <a:gd name="connsiteX267" fmla="*/ 383206 w 9901550"/>
              <a:gd name="connsiteY267" fmla="*/ 4845327 h 5927527"/>
              <a:gd name="connsiteX268" fmla="*/ 209258 w 9901550"/>
              <a:gd name="connsiteY268" fmla="*/ 4671379 h 5927527"/>
              <a:gd name="connsiteX269" fmla="*/ 209328 w 9901550"/>
              <a:gd name="connsiteY269" fmla="*/ 4671031 h 5927527"/>
              <a:gd name="connsiteX270" fmla="*/ 209269 w 9901550"/>
              <a:gd name="connsiteY270" fmla="*/ 4670737 h 5927527"/>
              <a:gd name="connsiteX271" fmla="*/ 383217 w 9901550"/>
              <a:gd name="connsiteY271" fmla="*/ 4496789 h 5927527"/>
              <a:gd name="connsiteX272" fmla="*/ 5958673 w 9901550"/>
              <a:gd name="connsiteY272" fmla="*/ 4447478 h 5927527"/>
              <a:gd name="connsiteX273" fmla="*/ 6001379 w 9901550"/>
              <a:gd name="connsiteY273" fmla="*/ 4453336 h 5927527"/>
              <a:gd name="connsiteX274" fmla="*/ 6007264 w 9901550"/>
              <a:gd name="connsiteY274" fmla="*/ 4455334 h 5927527"/>
              <a:gd name="connsiteX275" fmla="*/ 6011809 w 9901550"/>
              <a:gd name="connsiteY275" fmla="*/ 4456069 h 5927527"/>
              <a:gd name="connsiteX276" fmla="*/ 6021623 w 9901550"/>
              <a:gd name="connsiteY276" fmla="*/ 4460212 h 5927527"/>
              <a:gd name="connsiteX277" fmla="*/ 6042195 w 9901550"/>
              <a:gd name="connsiteY277" fmla="*/ 4467199 h 5927527"/>
              <a:gd name="connsiteX278" fmla="*/ 6053473 w 9901550"/>
              <a:gd name="connsiteY278" fmla="*/ 4473656 h 5927527"/>
              <a:gd name="connsiteX279" fmla="*/ 6061505 w 9901550"/>
              <a:gd name="connsiteY279" fmla="*/ 4477047 h 5927527"/>
              <a:gd name="connsiteX280" fmla="*/ 6068378 w 9901550"/>
              <a:gd name="connsiteY280" fmla="*/ 4482190 h 5927527"/>
              <a:gd name="connsiteX281" fmla="*/ 6079877 w 9901550"/>
              <a:gd name="connsiteY281" fmla="*/ 4488774 h 5927527"/>
              <a:gd name="connsiteX282" fmla="*/ 6086208 w 9901550"/>
              <a:gd name="connsiteY282" fmla="*/ 4495533 h 5927527"/>
              <a:gd name="connsiteX283" fmla="*/ 6105334 w 9901550"/>
              <a:gd name="connsiteY283" fmla="*/ 4509845 h 5927527"/>
              <a:gd name="connsiteX284" fmla="*/ 6140831 w 9901550"/>
              <a:gd name="connsiteY284" fmla="*/ 4553846 h 5927527"/>
              <a:gd name="connsiteX285" fmla="*/ 6140866 w 9901550"/>
              <a:gd name="connsiteY285" fmla="*/ 4553883 h 5927527"/>
              <a:gd name="connsiteX286" fmla="*/ 6171818 w 9901550"/>
              <a:gd name="connsiteY286" fmla="*/ 4637555 h 5927527"/>
              <a:gd name="connsiteX287" fmla="*/ 6171818 w 9901550"/>
              <a:gd name="connsiteY287" fmla="*/ 4637560 h 5927527"/>
              <a:gd name="connsiteX288" fmla="*/ 6171818 w 9901550"/>
              <a:gd name="connsiteY288" fmla="*/ 4637561 h 5927527"/>
              <a:gd name="connsiteX289" fmla="*/ 6067853 w 9901550"/>
              <a:gd name="connsiteY289" fmla="*/ 4863106 h 5927527"/>
              <a:gd name="connsiteX290" fmla="*/ 5758636 w 9901550"/>
              <a:gd name="connsiteY290" fmla="*/ 4790093 h 5927527"/>
              <a:gd name="connsiteX291" fmla="*/ 5727684 w 9901550"/>
              <a:gd name="connsiteY291" fmla="*/ 4706421 h 5927527"/>
              <a:gd name="connsiteX292" fmla="*/ 5727684 w 9901550"/>
              <a:gd name="connsiteY292" fmla="*/ 4706416 h 5927527"/>
              <a:gd name="connsiteX293" fmla="*/ 5727684 w 9901550"/>
              <a:gd name="connsiteY293" fmla="*/ 4706415 h 5927527"/>
              <a:gd name="connsiteX294" fmla="*/ 5831650 w 9901550"/>
              <a:gd name="connsiteY294" fmla="*/ 4480870 h 5927527"/>
              <a:gd name="connsiteX295" fmla="*/ 5872565 w 9901550"/>
              <a:gd name="connsiteY295" fmla="*/ 4460951 h 5927527"/>
              <a:gd name="connsiteX296" fmla="*/ 5887123 w 9901550"/>
              <a:gd name="connsiteY296" fmla="*/ 4457194 h 5927527"/>
              <a:gd name="connsiteX297" fmla="*/ 5893791 w 9901550"/>
              <a:gd name="connsiteY297" fmla="*/ 4454348 h 5927527"/>
              <a:gd name="connsiteX298" fmla="*/ 5901185 w 9901550"/>
              <a:gd name="connsiteY298" fmla="*/ 4453566 h 5927527"/>
              <a:gd name="connsiteX299" fmla="*/ 5915321 w 9901550"/>
              <a:gd name="connsiteY299" fmla="*/ 4449918 h 5927527"/>
              <a:gd name="connsiteX300" fmla="*/ 5958673 w 9901550"/>
              <a:gd name="connsiteY300" fmla="*/ 4447478 h 5927527"/>
              <a:gd name="connsiteX301" fmla="*/ 939710 w 9901550"/>
              <a:gd name="connsiteY301" fmla="*/ 4446723 h 5927527"/>
              <a:gd name="connsiteX302" fmla="*/ 939715 w 9901550"/>
              <a:gd name="connsiteY302" fmla="*/ 4446724 h 5927527"/>
              <a:gd name="connsiteX303" fmla="*/ 939720 w 9901550"/>
              <a:gd name="connsiteY303" fmla="*/ 4446723 h 5927527"/>
              <a:gd name="connsiteX304" fmla="*/ 1164377 w 9901550"/>
              <a:gd name="connsiteY304" fmla="*/ 4671379 h 5927527"/>
              <a:gd name="connsiteX305" fmla="*/ 939720 w 9901550"/>
              <a:gd name="connsiteY305" fmla="*/ 4896035 h 5927527"/>
              <a:gd name="connsiteX306" fmla="*/ 939715 w 9901550"/>
              <a:gd name="connsiteY306" fmla="*/ 4896035 h 5927527"/>
              <a:gd name="connsiteX307" fmla="*/ 939710 w 9901550"/>
              <a:gd name="connsiteY307" fmla="*/ 4896035 h 5927527"/>
              <a:gd name="connsiteX308" fmla="*/ 715054 w 9901550"/>
              <a:gd name="connsiteY308" fmla="*/ 4671379 h 5927527"/>
              <a:gd name="connsiteX309" fmla="*/ 939710 w 9901550"/>
              <a:gd name="connsiteY309" fmla="*/ 4446723 h 5927527"/>
              <a:gd name="connsiteX310" fmla="*/ 8733341 w 9901550"/>
              <a:gd name="connsiteY310" fmla="*/ 4078287 h 5927527"/>
              <a:gd name="connsiteX311" fmla="*/ 8769286 w 9901550"/>
              <a:gd name="connsiteY311" fmla="*/ 4114232 h 5927527"/>
              <a:gd name="connsiteX312" fmla="*/ 8769147 w 9901550"/>
              <a:gd name="connsiteY312" fmla="*/ 4114553 h 5927527"/>
              <a:gd name="connsiteX313" fmla="*/ 8769286 w 9901550"/>
              <a:gd name="connsiteY313" fmla="*/ 4114874 h 5927527"/>
              <a:gd name="connsiteX314" fmla="*/ 8733341 w 9901550"/>
              <a:gd name="connsiteY314" fmla="*/ 4150819 h 5927527"/>
              <a:gd name="connsiteX315" fmla="*/ 8697396 w 9901550"/>
              <a:gd name="connsiteY315" fmla="*/ 4114874 h 5927527"/>
              <a:gd name="connsiteX316" fmla="*/ 8697529 w 9901550"/>
              <a:gd name="connsiteY316" fmla="*/ 4114553 h 5927527"/>
              <a:gd name="connsiteX317" fmla="*/ 8697396 w 9901550"/>
              <a:gd name="connsiteY317" fmla="*/ 4114232 h 5927527"/>
              <a:gd name="connsiteX318" fmla="*/ 8733341 w 9901550"/>
              <a:gd name="connsiteY318" fmla="*/ 4078287 h 5927527"/>
              <a:gd name="connsiteX319" fmla="*/ 8176194 w 9901550"/>
              <a:gd name="connsiteY319" fmla="*/ 4041058 h 5927527"/>
              <a:gd name="connsiteX320" fmla="*/ 8249367 w 9901550"/>
              <a:gd name="connsiteY320" fmla="*/ 4114232 h 5927527"/>
              <a:gd name="connsiteX321" fmla="*/ 8249302 w 9901550"/>
              <a:gd name="connsiteY321" fmla="*/ 4114553 h 5927527"/>
              <a:gd name="connsiteX322" fmla="*/ 8249367 w 9901550"/>
              <a:gd name="connsiteY322" fmla="*/ 4114873 h 5927527"/>
              <a:gd name="connsiteX323" fmla="*/ 8176194 w 9901550"/>
              <a:gd name="connsiteY323" fmla="*/ 4188047 h 5927527"/>
              <a:gd name="connsiteX324" fmla="*/ 8103020 w 9901550"/>
              <a:gd name="connsiteY324" fmla="*/ 4114873 h 5927527"/>
              <a:gd name="connsiteX325" fmla="*/ 8103084 w 9901550"/>
              <a:gd name="connsiteY325" fmla="*/ 4114553 h 5927527"/>
              <a:gd name="connsiteX326" fmla="*/ 8103020 w 9901550"/>
              <a:gd name="connsiteY326" fmla="*/ 4114232 h 5927527"/>
              <a:gd name="connsiteX327" fmla="*/ 8176194 w 9901550"/>
              <a:gd name="connsiteY327" fmla="*/ 4041058 h 5927527"/>
              <a:gd name="connsiteX328" fmla="*/ 0 w 9901550"/>
              <a:gd name="connsiteY328" fmla="*/ 4030788 h 5927527"/>
              <a:gd name="connsiteX329" fmla="*/ 19256 w 9901550"/>
              <a:gd name="connsiteY329" fmla="*/ 4114232 h 5927527"/>
              <a:gd name="connsiteX330" fmla="*/ 0 w 9901550"/>
              <a:gd name="connsiteY330" fmla="*/ 4197675 h 5927527"/>
              <a:gd name="connsiteX331" fmla="*/ 7619392 w 9901550"/>
              <a:gd name="connsiteY331" fmla="*/ 3987950 h 5927527"/>
              <a:gd name="connsiteX332" fmla="*/ 7708804 w 9901550"/>
              <a:gd name="connsiteY332" fmla="*/ 4024986 h 5927527"/>
              <a:gd name="connsiteX333" fmla="*/ 7708805 w 9901550"/>
              <a:gd name="connsiteY333" fmla="*/ 4203810 h 5927527"/>
              <a:gd name="connsiteX334" fmla="*/ 7529980 w 9901550"/>
              <a:gd name="connsiteY334" fmla="*/ 4203810 h 5927527"/>
              <a:gd name="connsiteX335" fmla="*/ 7529980 w 9901550"/>
              <a:gd name="connsiteY335" fmla="*/ 4024985 h 5927527"/>
              <a:gd name="connsiteX336" fmla="*/ 7571810 w 9901550"/>
              <a:gd name="connsiteY336" fmla="*/ 3997209 h 5927527"/>
              <a:gd name="connsiteX337" fmla="*/ 7619392 w 9901550"/>
              <a:gd name="connsiteY337" fmla="*/ 3987950 h 5927527"/>
              <a:gd name="connsiteX338" fmla="*/ 7063185 w 9901550"/>
              <a:gd name="connsiteY338" fmla="*/ 3924237 h 5927527"/>
              <a:gd name="connsiteX339" fmla="*/ 7253179 w 9901550"/>
              <a:gd name="connsiteY339" fmla="*/ 4114232 h 5927527"/>
              <a:gd name="connsiteX340" fmla="*/ 7253114 w 9901550"/>
              <a:gd name="connsiteY340" fmla="*/ 4114553 h 5927527"/>
              <a:gd name="connsiteX341" fmla="*/ 7253179 w 9901550"/>
              <a:gd name="connsiteY341" fmla="*/ 4114874 h 5927527"/>
              <a:gd name="connsiteX342" fmla="*/ 7063185 w 9901550"/>
              <a:gd name="connsiteY342" fmla="*/ 4304869 h 5927527"/>
              <a:gd name="connsiteX343" fmla="*/ 6873190 w 9901550"/>
              <a:gd name="connsiteY343" fmla="*/ 4114874 h 5927527"/>
              <a:gd name="connsiteX344" fmla="*/ 6873255 w 9901550"/>
              <a:gd name="connsiteY344" fmla="*/ 4114553 h 5927527"/>
              <a:gd name="connsiteX345" fmla="*/ 6873190 w 9901550"/>
              <a:gd name="connsiteY345" fmla="*/ 4114232 h 5927527"/>
              <a:gd name="connsiteX346" fmla="*/ 7063185 w 9901550"/>
              <a:gd name="connsiteY346" fmla="*/ 3924237 h 5927527"/>
              <a:gd name="connsiteX347" fmla="*/ 8733341 w 9901550"/>
              <a:gd name="connsiteY347" fmla="*/ 3496749 h 5927527"/>
              <a:gd name="connsiteX348" fmla="*/ 8794319 w 9901550"/>
              <a:gd name="connsiteY348" fmla="*/ 3557727 h 5927527"/>
              <a:gd name="connsiteX349" fmla="*/ 8794250 w 9901550"/>
              <a:gd name="connsiteY349" fmla="*/ 3558046 h 5927527"/>
              <a:gd name="connsiteX350" fmla="*/ 8794319 w 9901550"/>
              <a:gd name="connsiteY350" fmla="*/ 3558369 h 5927527"/>
              <a:gd name="connsiteX351" fmla="*/ 8733341 w 9901550"/>
              <a:gd name="connsiteY351" fmla="*/ 3619347 h 5927527"/>
              <a:gd name="connsiteX352" fmla="*/ 8672363 w 9901550"/>
              <a:gd name="connsiteY352" fmla="*/ 3558369 h 5927527"/>
              <a:gd name="connsiteX353" fmla="*/ 8672428 w 9901550"/>
              <a:gd name="connsiteY353" fmla="*/ 3558048 h 5927527"/>
              <a:gd name="connsiteX354" fmla="*/ 8672363 w 9901550"/>
              <a:gd name="connsiteY354" fmla="*/ 3557727 h 5927527"/>
              <a:gd name="connsiteX355" fmla="*/ 8733341 w 9901550"/>
              <a:gd name="connsiteY355" fmla="*/ 3496749 h 5927527"/>
              <a:gd name="connsiteX356" fmla="*/ 8176194 w 9901550"/>
              <a:gd name="connsiteY356" fmla="*/ 3440264 h 5927527"/>
              <a:gd name="connsiteX357" fmla="*/ 8293657 w 9901550"/>
              <a:gd name="connsiteY357" fmla="*/ 3557727 h 5927527"/>
              <a:gd name="connsiteX358" fmla="*/ 8176194 w 9901550"/>
              <a:gd name="connsiteY358" fmla="*/ 3675190 h 5927527"/>
              <a:gd name="connsiteX359" fmla="*/ 8058731 w 9901550"/>
              <a:gd name="connsiteY359" fmla="*/ 3557727 h 5927527"/>
              <a:gd name="connsiteX360" fmla="*/ 8176194 w 9901550"/>
              <a:gd name="connsiteY360" fmla="*/ 3440264 h 5927527"/>
              <a:gd name="connsiteX361" fmla="*/ 7619689 w 9901550"/>
              <a:gd name="connsiteY361" fmla="*/ 3372225 h 5927527"/>
              <a:gd name="connsiteX362" fmla="*/ 7805191 w 9901550"/>
              <a:gd name="connsiteY362" fmla="*/ 3557726 h 5927527"/>
              <a:gd name="connsiteX363" fmla="*/ 7619689 w 9901550"/>
              <a:gd name="connsiteY363" fmla="*/ 3743228 h 5927527"/>
              <a:gd name="connsiteX364" fmla="*/ 7434187 w 9901550"/>
              <a:gd name="connsiteY364" fmla="*/ 3557726 h 5927527"/>
              <a:gd name="connsiteX365" fmla="*/ 7619689 w 9901550"/>
              <a:gd name="connsiteY365" fmla="*/ 3372225 h 5927527"/>
              <a:gd name="connsiteX366" fmla="*/ 9289846 w 9901550"/>
              <a:gd name="connsiteY366" fmla="*/ 2954365 h 5927527"/>
              <a:gd name="connsiteX367" fmla="*/ 9336702 w 9901550"/>
              <a:gd name="connsiteY367" fmla="*/ 3001222 h 5927527"/>
              <a:gd name="connsiteX368" fmla="*/ 9289846 w 9901550"/>
              <a:gd name="connsiteY368" fmla="*/ 3048079 h 5927527"/>
              <a:gd name="connsiteX369" fmla="*/ 9242989 w 9901550"/>
              <a:gd name="connsiteY369" fmla="*/ 3001222 h 5927527"/>
              <a:gd name="connsiteX370" fmla="*/ 9289846 w 9901550"/>
              <a:gd name="connsiteY370" fmla="*/ 2954365 h 5927527"/>
              <a:gd name="connsiteX371" fmla="*/ 8733340 w 9901550"/>
              <a:gd name="connsiteY371" fmla="*/ 2907508 h 5927527"/>
              <a:gd name="connsiteX372" fmla="*/ 8827054 w 9901550"/>
              <a:gd name="connsiteY372" fmla="*/ 3001221 h 5927527"/>
              <a:gd name="connsiteX373" fmla="*/ 8733340 w 9901550"/>
              <a:gd name="connsiteY373" fmla="*/ 3094935 h 5927527"/>
              <a:gd name="connsiteX374" fmla="*/ 8697034 w 9901550"/>
              <a:gd name="connsiteY374" fmla="*/ 3087604 h 5927527"/>
              <a:gd name="connsiteX375" fmla="*/ 8696959 w 9901550"/>
              <a:gd name="connsiteY375" fmla="*/ 3087553 h 5927527"/>
              <a:gd name="connsiteX376" fmla="*/ 8696764 w 9901550"/>
              <a:gd name="connsiteY376" fmla="*/ 3087513 h 5927527"/>
              <a:gd name="connsiteX377" fmla="*/ 8680809 w 9901550"/>
              <a:gd name="connsiteY377" fmla="*/ 3076702 h 5927527"/>
              <a:gd name="connsiteX378" fmla="*/ 8667228 w 9901550"/>
              <a:gd name="connsiteY378" fmla="*/ 3067575 h 5927527"/>
              <a:gd name="connsiteX379" fmla="*/ 8667130 w 9901550"/>
              <a:gd name="connsiteY379" fmla="*/ 3067431 h 5927527"/>
              <a:gd name="connsiteX380" fmla="*/ 8666987 w 9901550"/>
              <a:gd name="connsiteY380" fmla="*/ 3067334 h 5927527"/>
              <a:gd name="connsiteX381" fmla="*/ 8657924 w 9901550"/>
              <a:gd name="connsiteY381" fmla="*/ 3053847 h 5927527"/>
              <a:gd name="connsiteX382" fmla="*/ 8647049 w 9901550"/>
              <a:gd name="connsiteY382" fmla="*/ 3037799 h 5927527"/>
              <a:gd name="connsiteX383" fmla="*/ 8647009 w 9901550"/>
              <a:gd name="connsiteY383" fmla="*/ 3037602 h 5927527"/>
              <a:gd name="connsiteX384" fmla="*/ 8646958 w 9901550"/>
              <a:gd name="connsiteY384" fmla="*/ 3037527 h 5927527"/>
              <a:gd name="connsiteX385" fmla="*/ 8639627 w 9901550"/>
              <a:gd name="connsiteY385" fmla="*/ 3001221 h 5927527"/>
              <a:gd name="connsiteX386" fmla="*/ 8646958 w 9901550"/>
              <a:gd name="connsiteY386" fmla="*/ 2964916 h 5927527"/>
              <a:gd name="connsiteX387" fmla="*/ 8647009 w 9901550"/>
              <a:gd name="connsiteY387" fmla="*/ 2964840 h 5927527"/>
              <a:gd name="connsiteX388" fmla="*/ 8647049 w 9901550"/>
              <a:gd name="connsiteY388" fmla="*/ 2964645 h 5927527"/>
              <a:gd name="connsiteX389" fmla="*/ 8657890 w 9901550"/>
              <a:gd name="connsiteY389" fmla="*/ 2948647 h 5927527"/>
              <a:gd name="connsiteX390" fmla="*/ 8666987 w 9901550"/>
              <a:gd name="connsiteY390" fmla="*/ 2935109 h 5927527"/>
              <a:gd name="connsiteX391" fmla="*/ 8667130 w 9901550"/>
              <a:gd name="connsiteY391" fmla="*/ 2935011 h 5927527"/>
              <a:gd name="connsiteX392" fmla="*/ 8667228 w 9901550"/>
              <a:gd name="connsiteY392" fmla="*/ 2934868 h 5927527"/>
              <a:gd name="connsiteX393" fmla="*/ 8680764 w 9901550"/>
              <a:gd name="connsiteY393" fmla="*/ 2925772 h 5927527"/>
              <a:gd name="connsiteX394" fmla="*/ 8696764 w 9901550"/>
              <a:gd name="connsiteY394" fmla="*/ 2914930 h 5927527"/>
              <a:gd name="connsiteX395" fmla="*/ 8696959 w 9901550"/>
              <a:gd name="connsiteY395" fmla="*/ 2914890 h 5927527"/>
              <a:gd name="connsiteX396" fmla="*/ 8697034 w 9901550"/>
              <a:gd name="connsiteY396" fmla="*/ 2914840 h 5927527"/>
              <a:gd name="connsiteX397" fmla="*/ 8733340 w 9901550"/>
              <a:gd name="connsiteY397" fmla="*/ 2907508 h 5927527"/>
              <a:gd name="connsiteX398" fmla="*/ 8176195 w 9901550"/>
              <a:gd name="connsiteY398" fmla="*/ 2838828 h 5927527"/>
              <a:gd name="connsiteX399" fmla="*/ 8338588 w 9901550"/>
              <a:gd name="connsiteY399" fmla="*/ 3001222 h 5927527"/>
              <a:gd name="connsiteX400" fmla="*/ 8176195 w 9901550"/>
              <a:gd name="connsiteY400" fmla="*/ 3163617 h 5927527"/>
              <a:gd name="connsiteX401" fmla="*/ 8013800 w 9901550"/>
              <a:gd name="connsiteY401" fmla="*/ 3001222 h 5927527"/>
              <a:gd name="connsiteX402" fmla="*/ 8176195 w 9901550"/>
              <a:gd name="connsiteY402" fmla="*/ 2838828 h 5927527"/>
              <a:gd name="connsiteX403" fmla="*/ 9289846 w 9901550"/>
              <a:gd name="connsiteY403" fmla="*/ 2378604 h 5927527"/>
              <a:gd name="connsiteX404" fmla="*/ 9355959 w 9901550"/>
              <a:gd name="connsiteY404" fmla="*/ 2444075 h 5927527"/>
              <a:gd name="connsiteX405" fmla="*/ 9289846 w 9901550"/>
              <a:gd name="connsiteY405" fmla="*/ 2510188 h 5927527"/>
              <a:gd name="connsiteX406" fmla="*/ 9223733 w 9901550"/>
              <a:gd name="connsiteY406" fmla="*/ 2444075 h 5927527"/>
              <a:gd name="connsiteX407" fmla="*/ 9289846 w 9901550"/>
              <a:gd name="connsiteY407" fmla="*/ 2378604 h 5927527"/>
              <a:gd name="connsiteX408" fmla="*/ 8733341 w 9901550"/>
              <a:gd name="connsiteY408" fmla="*/ 2316342 h 5927527"/>
              <a:gd name="connsiteX409" fmla="*/ 8783186 w 9901550"/>
              <a:gd name="connsiteY409" fmla="*/ 2326382 h 5927527"/>
              <a:gd name="connsiteX410" fmla="*/ 8783262 w 9901550"/>
              <a:gd name="connsiteY410" fmla="*/ 2326432 h 5927527"/>
              <a:gd name="connsiteX411" fmla="*/ 8783457 w 9901550"/>
              <a:gd name="connsiteY411" fmla="*/ 2326472 h 5927527"/>
              <a:gd name="connsiteX412" fmla="*/ 8805377 w 9901550"/>
              <a:gd name="connsiteY412" fmla="*/ 2341293 h 5927527"/>
              <a:gd name="connsiteX413" fmla="*/ 8824006 w 9901550"/>
              <a:gd name="connsiteY413" fmla="*/ 2353812 h 5927527"/>
              <a:gd name="connsiteX414" fmla="*/ 8824103 w 9901550"/>
              <a:gd name="connsiteY414" fmla="*/ 2353955 h 5927527"/>
              <a:gd name="connsiteX415" fmla="*/ 8824247 w 9901550"/>
              <a:gd name="connsiteY415" fmla="*/ 2354052 h 5927527"/>
              <a:gd name="connsiteX416" fmla="*/ 8836766 w 9901550"/>
              <a:gd name="connsiteY416" fmla="*/ 2372684 h 5927527"/>
              <a:gd name="connsiteX417" fmla="*/ 8851586 w 9901550"/>
              <a:gd name="connsiteY417" fmla="*/ 2394601 h 5927527"/>
              <a:gd name="connsiteX418" fmla="*/ 8851626 w 9901550"/>
              <a:gd name="connsiteY418" fmla="*/ 2394796 h 5927527"/>
              <a:gd name="connsiteX419" fmla="*/ 8851677 w 9901550"/>
              <a:gd name="connsiteY419" fmla="*/ 2394872 h 5927527"/>
              <a:gd name="connsiteX420" fmla="*/ 8861716 w 9901550"/>
              <a:gd name="connsiteY420" fmla="*/ 2444717 h 5927527"/>
              <a:gd name="connsiteX421" fmla="*/ 8733341 w 9901550"/>
              <a:gd name="connsiteY421" fmla="*/ 2573092 h 5927527"/>
              <a:gd name="connsiteX422" fmla="*/ 8683496 w 9901550"/>
              <a:gd name="connsiteY422" fmla="*/ 2563053 h 5927527"/>
              <a:gd name="connsiteX423" fmla="*/ 8683420 w 9901550"/>
              <a:gd name="connsiteY423" fmla="*/ 2563002 h 5927527"/>
              <a:gd name="connsiteX424" fmla="*/ 8683225 w 9901550"/>
              <a:gd name="connsiteY424" fmla="*/ 2562963 h 5927527"/>
              <a:gd name="connsiteX425" fmla="*/ 8661295 w 9901550"/>
              <a:gd name="connsiteY425" fmla="*/ 2548134 h 5927527"/>
              <a:gd name="connsiteX426" fmla="*/ 8642676 w 9901550"/>
              <a:gd name="connsiteY426" fmla="*/ 2535623 h 5927527"/>
              <a:gd name="connsiteX427" fmla="*/ 8642579 w 9901550"/>
              <a:gd name="connsiteY427" fmla="*/ 2535479 h 5927527"/>
              <a:gd name="connsiteX428" fmla="*/ 8642436 w 9901550"/>
              <a:gd name="connsiteY428" fmla="*/ 2535382 h 5927527"/>
              <a:gd name="connsiteX429" fmla="*/ 8629916 w 9901550"/>
              <a:gd name="connsiteY429" fmla="*/ 2516751 h 5927527"/>
              <a:gd name="connsiteX430" fmla="*/ 8615096 w 9901550"/>
              <a:gd name="connsiteY430" fmla="*/ 2494834 h 5927527"/>
              <a:gd name="connsiteX431" fmla="*/ 8615056 w 9901550"/>
              <a:gd name="connsiteY431" fmla="*/ 2494638 h 5927527"/>
              <a:gd name="connsiteX432" fmla="*/ 8615005 w 9901550"/>
              <a:gd name="connsiteY432" fmla="*/ 2494563 h 5927527"/>
              <a:gd name="connsiteX433" fmla="*/ 8604966 w 9901550"/>
              <a:gd name="connsiteY433" fmla="*/ 2444717 h 5927527"/>
              <a:gd name="connsiteX434" fmla="*/ 8615005 w 9901550"/>
              <a:gd name="connsiteY434" fmla="*/ 2394872 h 5927527"/>
              <a:gd name="connsiteX435" fmla="*/ 8615056 w 9901550"/>
              <a:gd name="connsiteY435" fmla="*/ 2394796 h 5927527"/>
              <a:gd name="connsiteX436" fmla="*/ 8615096 w 9901550"/>
              <a:gd name="connsiteY436" fmla="*/ 2394601 h 5927527"/>
              <a:gd name="connsiteX437" fmla="*/ 8629916 w 9901550"/>
              <a:gd name="connsiteY437" fmla="*/ 2372683 h 5927527"/>
              <a:gd name="connsiteX438" fmla="*/ 8642436 w 9901550"/>
              <a:gd name="connsiteY438" fmla="*/ 2354052 h 5927527"/>
              <a:gd name="connsiteX439" fmla="*/ 8642579 w 9901550"/>
              <a:gd name="connsiteY439" fmla="*/ 2353955 h 5927527"/>
              <a:gd name="connsiteX440" fmla="*/ 8642676 w 9901550"/>
              <a:gd name="connsiteY440" fmla="*/ 2353812 h 5927527"/>
              <a:gd name="connsiteX441" fmla="*/ 8661295 w 9901550"/>
              <a:gd name="connsiteY441" fmla="*/ 2341300 h 5927527"/>
              <a:gd name="connsiteX442" fmla="*/ 8683225 w 9901550"/>
              <a:gd name="connsiteY442" fmla="*/ 2326472 h 5927527"/>
              <a:gd name="connsiteX443" fmla="*/ 8683420 w 9901550"/>
              <a:gd name="connsiteY443" fmla="*/ 2326432 h 5927527"/>
              <a:gd name="connsiteX444" fmla="*/ 8683496 w 9901550"/>
              <a:gd name="connsiteY444" fmla="*/ 2326382 h 5927527"/>
              <a:gd name="connsiteX445" fmla="*/ 8733341 w 9901550"/>
              <a:gd name="connsiteY445" fmla="*/ 2316342 h 5927527"/>
              <a:gd name="connsiteX446" fmla="*/ 8176194 w 9901550"/>
              <a:gd name="connsiteY446" fmla="*/ 2230973 h 5927527"/>
              <a:gd name="connsiteX447" fmla="*/ 8389938 w 9901550"/>
              <a:gd name="connsiteY447" fmla="*/ 2444717 h 5927527"/>
              <a:gd name="connsiteX448" fmla="*/ 8176194 w 9901550"/>
              <a:gd name="connsiteY448" fmla="*/ 2658462 h 5927527"/>
              <a:gd name="connsiteX449" fmla="*/ 7962450 w 9901550"/>
              <a:gd name="connsiteY449" fmla="*/ 2444717 h 5927527"/>
              <a:gd name="connsiteX450" fmla="*/ 8176194 w 9901550"/>
              <a:gd name="connsiteY450" fmla="*/ 2230973 h 5927527"/>
              <a:gd name="connsiteX451" fmla="*/ 9846351 w 9901550"/>
              <a:gd name="connsiteY451" fmla="*/ 1849709 h 5927527"/>
              <a:gd name="connsiteX452" fmla="*/ 9884221 w 9901550"/>
              <a:gd name="connsiteY452" fmla="*/ 1887579 h 5927527"/>
              <a:gd name="connsiteX453" fmla="*/ 9884088 w 9901550"/>
              <a:gd name="connsiteY453" fmla="*/ 1887897 h 5927527"/>
              <a:gd name="connsiteX454" fmla="*/ 9884221 w 9901550"/>
              <a:gd name="connsiteY454" fmla="*/ 1888215 h 5927527"/>
              <a:gd name="connsiteX455" fmla="*/ 9846351 w 9901550"/>
              <a:gd name="connsiteY455" fmla="*/ 1926085 h 5927527"/>
              <a:gd name="connsiteX456" fmla="*/ 9808480 w 9901550"/>
              <a:gd name="connsiteY456" fmla="*/ 1888215 h 5927527"/>
              <a:gd name="connsiteX457" fmla="*/ 9808613 w 9901550"/>
              <a:gd name="connsiteY457" fmla="*/ 1887897 h 5927527"/>
              <a:gd name="connsiteX458" fmla="*/ 9808480 w 9901550"/>
              <a:gd name="connsiteY458" fmla="*/ 1887579 h 5927527"/>
              <a:gd name="connsiteX459" fmla="*/ 9846351 w 9901550"/>
              <a:gd name="connsiteY459" fmla="*/ 1849709 h 5927527"/>
              <a:gd name="connsiteX460" fmla="*/ 9289846 w 9901550"/>
              <a:gd name="connsiteY460" fmla="*/ 1802846 h 5927527"/>
              <a:gd name="connsiteX461" fmla="*/ 9374573 w 9901550"/>
              <a:gd name="connsiteY461" fmla="*/ 1887573 h 5927527"/>
              <a:gd name="connsiteX462" fmla="*/ 9374508 w 9901550"/>
              <a:gd name="connsiteY462" fmla="*/ 1887897 h 5927527"/>
              <a:gd name="connsiteX463" fmla="*/ 9374573 w 9901550"/>
              <a:gd name="connsiteY463" fmla="*/ 1888221 h 5927527"/>
              <a:gd name="connsiteX464" fmla="*/ 9289846 w 9901550"/>
              <a:gd name="connsiteY464" fmla="*/ 1972949 h 5927527"/>
              <a:gd name="connsiteX465" fmla="*/ 9205118 w 9901550"/>
              <a:gd name="connsiteY465" fmla="*/ 1888221 h 5927527"/>
              <a:gd name="connsiteX466" fmla="*/ 9205183 w 9901550"/>
              <a:gd name="connsiteY466" fmla="*/ 1887897 h 5927527"/>
              <a:gd name="connsiteX467" fmla="*/ 9205118 w 9901550"/>
              <a:gd name="connsiteY467" fmla="*/ 1887573 h 5927527"/>
              <a:gd name="connsiteX468" fmla="*/ 9289846 w 9901550"/>
              <a:gd name="connsiteY468" fmla="*/ 1802846 h 5927527"/>
              <a:gd name="connsiteX469" fmla="*/ 8733341 w 9901550"/>
              <a:gd name="connsiteY469" fmla="*/ 1725828 h 5927527"/>
              <a:gd name="connsiteX470" fmla="*/ 8895094 w 9901550"/>
              <a:gd name="connsiteY470" fmla="*/ 1887580 h 5927527"/>
              <a:gd name="connsiteX471" fmla="*/ 8895028 w 9901550"/>
              <a:gd name="connsiteY471" fmla="*/ 1887898 h 5927527"/>
              <a:gd name="connsiteX472" fmla="*/ 8895094 w 9901550"/>
              <a:gd name="connsiteY472" fmla="*/ 1888215 h 5927527"/>
              <a:gd name="connsiteX473" fmla="*/ 8733341 w 9901550"/>
              <a:gd name="connsiteY473" fmla="*/ 2049968 h 5927527"/>
              <a:gd name="connsiteX474" fmla="*/ 8571589 w 9901550"/>
              <a:gd name="connsiteY474" fmla="*/ 1888215 h 5927527"/>
              <a:gd name="connsiteX475" fmla="*/ 8571653 w 9901550"/>
              <a:gd name="connsiteY475" fmla="*/ 1887898 h 5927527"/>
              <a:gd name="connsiteX476" fmla="*/ 8571589 w 9901550"/>
              <a:gd name="connsiteY476" fmla="*/ 1887580 h 5927527"/>
              <a:gd name="connsiteX477" fmla="*/ 8733341 w 9901550"/>
              <a:gd name="connsiteY477" fmla="*/ 1725828 h 5927527"/>
              <a:gd name="connsiteX478" fmla="*/ 9846351 w 9901550"/>
              <a:gd name="connsiteY478" fmla="*/ 1283568 h 5927527"/>
              <a:gd name="connsiteX479" fmla="*/ 9893850 w 9901550"/>
              <a:gd name="connsiteY479" fmla="*/ 1331067 h 5927527"/>
              <a:gd name="connsiteX480" fmla="*/ 9893849 w 9901550"/>
              <a:gd name="connsiteY480" fmla="*/ 1331071 h 5927527"/>
              <a:gd name="connsiteX481" fmla="*/ 9893850 w 9901550"/>
              <a:gd name="connsiteY481" fmla="*/ 1331074 h 5927527"/>
              <a:gd name="connsiteX482" fmla="*/ 9846351 w 9901550"/>
              <a:gd name="connsiteY482" fmla="*/ 1378572 h 5927527"/>
              <a:gd name="connsiteX483" fmla="*/ 9798852 w 9901550"/>
              <a:gd name="connsiteY483" fmla="*/ 1331074 h 5927527"/>
              <a:gd name="connsiteX484" fmla="*/ 9798853 w 9901550"/>
              <a:gd name="connsiteY484" fmla="*/ 1331071 h 5927527"/>
              <a:gd name="connsiteX485" fmla="*/ 9798852 w 9901550"/>
              <a:gd name="connsiteY485" fmla="*/ 1331067 h 5927527"/>
              <a:gd name="connsiteX486" fmla="*/ 9846351 w 9901550"/>
              <a:gd name="connsiteY486" fmla="*/ 1283568 h 5927527"/>
              <a:gd name="connsiteX487" fmla="*/ 9289846 w 9901550"/>
              <a:gd name="connsiteY487" fmla="*/ 1227085 h 5927527"/>
              <a:gd name="connsiteX488" fmla="*/ 9393829 w 9901550"/>
              <a:gd name="connsiteY488" fmla="*/ 1331069 h 5927527"/>
              <a:gd name="connsiteX489" fmla="*/ 9393764 w 9901550"/>
              <a:gd name="connsiteY489" fmla="*/ 1331392 h 5927527"/>
              <a:gd name="connsiteX490" fmla="*/ 9393829 w 9901550"/>
              <a:gd name="connsiteY490" fmla="*/ 1331716 h 5927527"/>
              <a:gd name="connsiteX491" fmla="*/ 9289846 w 9901550"/>
              <a:gd name="connsiteY491" fmla="*/ 1435699 h 5927527"/>
              <a:gd name="connsiteX492" fmla="*/ 9185862 w 9901550"/>
              <a:gd name="connsiteY492" fmla="*/ 1331716 h 5927527"/>
              <a:gd name="connsiteX493" fmla="*/ 9185928 w 9901550"/>
              <a:gd name="connsiteY493" fmla="*/ 1331392 h 5927527"/>
              <a:gd name="connsiteX494" fmla="*/ 9185862 w 9901550"/>
              <a:gd name="connsiteY494" fmla="*/ 1331069 h 5927527"/>
              <a:gd name="connsiteX495" fmla="*/ 9289846 w 9901550"/>
              <a:gd name="connsiteY495" fmla="*/ 1227085 h 5927527"/>
              <a:gd name="connsiteX496" fmla="*/ 8733341 w 9901550"/>
              <a:gd name="connsiteY496" fmla="*/ 1144925 h 5927527"/>
              <a:gd name="connsiteX497" fmla="*/ 8919484 w 9901550"/>
              <a:gd name="connsiteY497" fmla="*/ 1331069 h 5927527"/>
              <a:gd name="connsiteX498" fmla="*/ 8919483 w 9901550"/>
              <a:gd name="connsiteY498" fmla="*/ 1331072 h 5927527"/>
              <a:gd name="connsiteX499" fmla="*/ 8919484 w 9901550"/>
              <a:gd name="connsiteY499" fmla="*/ 1331076 h 5927527"/>
              <a:gd name="connsiteX500" fmla="*/ 8733341 w 9901550"/>
              <a:gd name="connsiteY500" fmla="*/ 1517219 h 5927527"/>
              <a:gd name="connsiteX501" fmla="*/ 8547197 w 9901550"/>
              <a:gd name="connsiteY501" fmla="*/ 1331076 h 5927527"/>
              <a:gd name="connsiteX502" fmla="*/ 8547198 w 9901550"/>
              <a:gd name="connsiteY502" fmla="*/ 1331072 h 5927527"/>
              <a:gd name="connsiteX503" fmla="*/ 8547197 w 9901550"/>
              <a:gd name="connsiteY503" fmla="*/ 1331069 h 5927527"/>
              <a:gd name="connsiteX504" fmla="*/ 8733341 w 9901550"/>
              <a:gd name="connsiteY504" fmla="*/ 1144925 h 5927527"/>
              <a:gd name="connsiteX505" fmla="*/ 9846351 w 9901550"/>
              <a:gd name="connsiteY505" fmla="*/ 721287 h 5927527"/>
              <a:gd name="connsiteX506" fmla="*/ 9899627 w 9901550"/>
              <a:gd name="connsiteY506" fmla="*/ 774563 h 5927527"/>
              <a:gd name="connsiteX507" fmla="*/ 9899626 w 9901550"/>
              <a:gd name="connsiteY507" fmla="*/ 774566 h 5927527"/>
              <a:gd name="connsiteX508" fmla="*/ 9899627 w 9901550"/>
              <a:gd name="connsiteY508" fmla="*/ 774569 h 5927527"/>
              <a:gd name="connsiteX509" fmla="*/ 9846351 w 9901550"/>
              <a:gd name="connsiteY509" fmla="*/ 827844 h 5927527"/>
              <a:gd name="connsiteX510" fmla="*/ 9793075 w 9901550"/>
              <a:gd name="connsiteY510" fmla="*/ 774569 h 5927527"/>
              <a:gd name="connsiteX511" fmla="*/ 9793076 w 9901550"/>
              <a:gd name="connsiteY511" fmla="*/ 774566 h 5927527"/>
              <a:gd name="connsiteX512" fmla="*/ 9793075 w 9901550"/>
              <a:gd name="connsiteY512" fmla="*/ 774563 h 5927527"/>
              <a:gd name="connsiteX513" fmla="*/ 9846351 w 9901550"/>
              <a:gd name="connsiteY513" fmla="*/ 721287 h 5927527"/>
              <a:gd name="connsiteX514" fmla="*/ 9289847 w 9901550"/>
              <a:gd name="connsiteY514" fmla="*/ 657747 h 5927527"/>
              <a:gd name="connsiteX515" fmla="*/ 9406667 w 9901550"/>
              <a:gd name="connsiteY515" fmla="*/ 774568 h 5927527"/>
              <a:gd name="connsiteX516" fmla="*/ 9406601 w 9901550"/>
              <a:gd name="connsiteY516" fmla="*/ 774885 h 5927527"/>
              <a:gd name="connsiteX517" fmla="*/ 9406667 w 9901550"/>
              <a:gd name="connsiteY517" fmla="*/ 775204 h 5927527"/>
              <a:gd name="connsiteX518" fmla="*/ 9289847 w 9901550"/>
              <a:gd name="connsiteY518" fmla="*/ 892025 h 5927527"/>
              <a:gd name="connsiteX519" fmla="*/ 9173025 w 9901550"/>
              <a:gd name="connsiteY519" fmla="*/ 775204 h 5927527"/>
              <a:gd name="connsiteX520" fmla="*/ 9173089 w 9901550"/>
              <a:gd name="connsiteY520" fmla="*/ 774886 h 5927527"/>
              <a:gd name="connsiteX521" fmla="*/ 9173025 w 9901550"/>
              <a:gd name="connsiteY521" fmla="*/ 774568 h 5927527"/>
              <a:gd name="connsiteX522" fmla="*/ 9289847 w 9901550"/>
              <a:gd name="connsiteY522" fmla="*/ 657747 h 5927527"/>
              <a:gd name="connsiteX523" fmla="*/ 8733165 w 9901550"/>
              <a:gd name="connsiteY523" fmla="*/ 568394 h 5927527"/>
              <a:gd name="connsiteX524" fmla="*/ 8738850 w 9901550"/>
              <a:gd name="connsiteY524" fmla="*/ 568939 h 5927527"/>
              <a:gd name="connsiteX525" fmla="*/ 8739361 w 9901550"/>
              <a:gd name="connsiteY525" fmla="*/ 568866 h 5927527"/>
              <a:gd name="connsiteX526" fmla="*/ 8742720 w 9901550"/>
              <a:gd name="connsiteY526" fmla="*/ 569310 h 5927527"/>
              <a:gd name="connsiteX527" fmla="*/ 8772517 w 9901550"/>
              <a:gd name="connsiteY527" fmla="*/ 572166 h 5927527"/>
              <a:gd name="connsiteX528" fmla="*/ 8779110 w 9901550"/>
              <a:gd name="connsiteY528" fmla="*/ 574120 h 5927527"/>
              <a:gd name="connsiteX529" fmla="*/ 8780734 w 9901550"/>
              <a:gd name="connsiteY529" fmla="*/ 574335 h 5927527"/>
              <a:gd name="connsiteX530" fmla="*/ 8786198 w 9901550"/>
              <a:gd name="connsiteY530" fmla="*/ 576220 h 5927527"/>
              <a:gd name="connsiteX531" fmla="*/ 8810698 w 9901550"/>
              <a:gd name="connsiteY531" fmla="*/ 583481 h 5927527"/>
              <a:gd name="connsiteX532" fmla="*/ 8817299 w 9901550"/>
              <a:gd name="connsiteY532" fmla="*/ 586955 h 5927527"/>
              <a:gd name="connsiteX533" fmla="*/ 8820184 w 9901550"/>
              <a:gd name="connsiteY533" fmla="*/ 587951 h 5927527"/>
              <a:gd name="connsiteX534" fmla="*/ 8828406 w 9901550"/>
              <a:gd name="connsiteY534" fmla="*/ 592800 h 5927527"/>
              <a:gd name="connsiteX535" fmla="*/ 8846535 w 9901550"/>
              <a:gd name="connsiteY535" fmla="*/ 602340 h 5927527"/>
              <a:gd name="connsiteX536" fmla="*/ 8851608 w 9901550"/>
              <a:gd name="connsiteY536" fmla="*/ 606484 h 5927527"/>
              <a:gd name="connsiteX537" fmla="*/ 8855065 w 9901550"/>
              <a:gd name="connsiteY537" fmla="*/ 608523 h 5927527"/>
              <a:gd name="connsiteX538" fmla="*/ 8858018 w 9901550"/>
              <a:gd name="connsiteY538" fmla="*/ 611719 h 5927527"/>
              <a:gd name="connsiteX539" fmla="*/ 8878857 w 9901550"/>
              <a:gd name="connsiteY539" fmla="*/ 628742 h 5927527"/>
              <a:gd name="connsiteX540" fmla="*/ 8891949 w 9901550"/>
              <a:gd name="connsiteY540" fmla="*/ 648458 h 5927527"/>
              <a:gd name="connsiteX541" fmla="*/ 8908655 w 9901550"/>
              <a:gd name="connsiteY541" fmla="*/ 666546 h 5927527"/>
              <a:gd name="connsiteX542" fmla="*/ 8914857 w 9901550"/>
              <a:gd name="connsiteY542" fmla="*/ 682955 h 5927527"/>
              <a:gd name="connsiteX543" fmla="*/ 8924117 w 9901550"/>
              <a:gd name="connsiteY543" fmla="*/ 696901 h 5927527"/>
              <a:gd name="connsiteX544" fmla="*/ 8928352 w 9901550"/>
              <a:gd name="connsiteY544" fmla="*/ 718665 h 5927527"/>
              <a:gd name="connsiteX545" fmla="*/ 8936578 w 9901550"/>
              <a:gd name="connsiteY545" fmla="*/ 740430 h 5927527"/>
              <a:gd name="connsiteX546" fmla="*/ 8938781 w 9901550"/>
              <a:gd name="connsiteY546" fmla="*/ 772260 h 5927527"/>
              <a:gd name="connsiteX547" fmla="*/ 8939204 w 9901550"/>
              <a:gd name="connsiteY547" fmla="*/ 774434 h 5927527"/>
              <a:gd name="connsiteX548" fmla="*/ 8939003 w 9901550"/>
              <a:gd name="connsiteY548" fmla="*/ 775467 h 5927527"/>
              <a:gd name="connsiteX549" fmla="*/ 8939374 w 9901550"/>
              <a:gd name="connsiteY549" fmla="*/ 780829 h 5927527"/>
              <a:gd name="connsiteX550" fmla="*/ 8933906 w 9901550"/>
              <a:gd name="connsiteY550" fmla="*/ 822202 h 5927527"/>
              <a:gd name="connsiteX551" fmla="*/ 8926978 w 9901550"/>
              <a:gd name="connsiteY551" fmla="*/ 837265 h 5927527"/>
              <a:gd name="connsiteX552" fmla="*/ 8924117 w 9901550"/>
              <a:gd name="connsiteY552" fmla="*/ 851967 h 5927527"/>
              <a:gd name="connsiteX553" fmla="*/ 8911425 w 9901550"/>
              <a:gd name="connsiteY553" fmla="*/ 871080 h 5927527"/>
              <a:gd name="connsiteX554" fmla="*/ 8899718 w 9901550"/>
              <a:gd name="connsiteY554" fmla="*/ 896533 h 5927527"/>
              <a:gd name="connsiteX555" fmla="*/ 8886283 w 9901550"/>
              <a:gd name="connsiteY555" fmla="*/ 908942 h 5927527"/>
              <a:gd name="connsiteX556" fmla="*/ 8878856 w 9901550"/>
              <a:gd name="connsiteY556" fmla="*/ 920126 h 5927527"/>
              <a:gd name="connsiteX557" fmla="*/ 8846534 w 9901550"/>
              <a:gd name="connsiteY557" fmla="*/ 946528 h 5927527"/>
              <a:gd name="connsiteX558" fmla="*/ 8844334 w 9901550"/>
              <a:gd name="connsiteY558" fmla="*/ 947686 h 5927527"/>
              <a:gd name="connsiteX559" fmla="*/ 8841695 w 9901550"/>
              <a:gd name="connsiteY559" fmla="*/ 950123 h 5927527"/>
              <a:gd name="connsiteX560" fmla="*/ 8767810 w 9901550"/>
              <a:gd name="connsiteY560" fmla="*/ 978046 h 5927527"/>
              <a:gd name="connsiteX561" fmla="*/ 8734266 w 9901550"/>
              <a:gd name="connsiteY561" fmla="*/ 980368 h 5927527"/>
              <a:gd name="connsiteX562" fmla="*/ 8733165 w 9901550"/>
              <a:gd name="connsiteY562" fmla="*/ 980473 h 5927527"/>
              <a:gd name="connsiteX563" fmla="*/ 8732987 w 9901550"/>
              <a:gd name="connsiteY563" fmla="*/ 980456 h 5927527"/>
              <a:gd name="connsiteX564" fmla="*/ 8727412 w 9901550"/>
              <a:gd name="connsiteY564" fmla="*/ 980842 h 5927527"/>
              <a:gd name="connsiteX565" fmla="*/ 8702082 w 9901550"/>
              <a:gd name="connsiteY565" fmla="*/ 977494 h 5927527"/>
              <a:gd name="connsiteX566" fmla="*/ 8693812 w 9901550"/>
              <a:gd name="connsiteY566" fmla="*/ 976701 h 5927527"/>
              <a:gd name="connsiteX567" fmla="*/ 8691982 w 9901550"/>
              <a:gd name="connsiteY567" fmla="*/ 976159 h 5927527"/>
              <a:gd name="connsiteX568" fmla="*/ 8686038 w 9901550"/>
              <a:gd name="connsiteY568" fmla="*/ 975373 h 5927527"/>
              <a:gd name="connsiteX569" fmla="*/ 8666035 w 9901550"/>
              <a:gd name="connsiteY569" fmla="*/ 968469 h 5927527"/>
              <a:gd name="connsiteX570" fmla="*/ 8655632 w 9901550"/>
              <a:gd name="connsiteY570" fmla="*/ 965386 h 5927527"/>
              <a:gd name="connsiteX571" fmla="*/ 8652829 w 9901550"/>
              <a:gd name="connsiteY571" fmla="*/ 963911 h 5927527"/>
              <a:gd name="connsiteX572" fmla="*/ 8646588 w 9901550"/>
              <a:gd name="connsiteY572" fmla="*/ 961757 h 5927527"/>
              <a:gd name="connsiteX573" fmla="*/ 8628806 w 9901550"/>
              <a:gd name="connsiteY573" fmla="*/ 951270 h 5927527"/>
              <a:gd name="connsiteX574" fmla="*/ 8619795 w 9901550"/>
              <a:gd name="connsiteY574" fmla="*/ 946528 h 5927527"/>
              <a:gd name="connsiteX575" fmla="*/ 8617273 w 9901550"/>
              <a:gd name="connsiteY575" fmla="*/ 944468 h 5927527"/>
              <a:gd name="connsiteX576" fmla="*/ 8611707 w 9901550"/>
              <a:gd name="connsiteY576" fmla="*/ 941186 h 5927527"/>
              <a:gd name="connsiteX577" fmla="*/ 8606954 w 9901550"/>
              <a:gd name="connsiteY577" fmla="*/ 936039 h 5927527"/>
              <a:gd name="connsiteX578" fmla="*/ 8587473 w 9901550"/>
              <a:gd name="connsiteY578" fmla="*/ 920126 h 5927527"/>
              <a:gd name="connsiteX579" fmla="*/ 8575234 w 9901550"/>
              <a:gd name="connsiteY579" fmla="*/ 901695 h 5927527"/>
              <a:gd name="connsiteX580" fmla="*/ 8558117 w 9901550"/>
              <a:gd name="connsiteY580" fmla="*/ 883162 h 5927527"/>
              <a:gd name="connsiteX581" fmla="*/ 8551763 w 9901550"/>
              <a:gd name="connsiteY581" fmla="*/ 866350 h 5927527"/>
              <a:gd name="connsiteX582" fmla="*/ 8542212 w 9901550"/>
              <a:gd name="connsiteY582" fmla="*/ 851967 h 5927527"/>
              <a:gd name="connsiteX583" fmla="*/ 8537844 w 9901550"/>
              <a:gd name="connsiteY583" fmla="*/ 829519 h 5927527"/>
              <a:gd name="connsiteX584" fmla="*/ 8530194 w 9901550"/>
              <a:gd name="connsiteY584" fmla="*/ 809278 h 5927527"/>
              <a:gd name="connsiteX585" fmla="*/ 8528145 w 9901550"/>
              <a:gd name="connsiteY585" fmla="*/ 779677 h 5927527"/>
              <a:gd name="connsiteX586" fmla="*/ 8527125 w 9901550"/>
              <a:gd name="connsiteY586" fmla="*/ 774434 h 5927527"/>
              <a:gd name="connsiteX587" fmla="*/ 8527610 w 9901550"/>
              <a:gd name="connsiteY587" fmla="*/ 771942 h 5927527"/>
              <a:gd name="connsiteX588" fmla="*/ 8527398 w 9901550"/>
              <a:gd name="connsiteY588" fmla="*/ 768879 h 5927527"/>
              <a:gd name="connsiteX589" fmla="*/ 8532866 w 9901550"/>
              <a:gd name="connsiteY589" fmla="*/ 727506 h 5927527"/>
              <a:gd name="connsiteX590" fmla="*/ 8539052 w 9901550"/>
              <a:gd name="connsiteY590" fmla="*/ 713137 h 5927527"/>
              <a:gd name="connsiteX591" fmla="*/ 8542212 w 9901550"/>
              <a:gd name="connsiteY591" fmla="*/ 696901 h 5927527"/>
              <a:gd name="connsiteX592" fmla="*/ 8553108 w 9901550"/>
              <a:gd name="connsiteY592" fmla="*/ 680492 h 5927527"/>
              <a:gd name="connsiteX593" fmla="*/ 8561314 w 9901550"/>
              <a:gd name="connsiteY593" fmla="*/ 661433 h 5927527"/>
              <a:gd name="connsiteX594" fmla="*/ 8576600 w 9901550"/>
              <a:gd name="connsiteY594" fmla="*/ 645115 h 5927527"/>
              <a:gd name="connsiteX595" fmla="*/ 8587472 w 9901550"/>
              <a:gd name="connsiteY595" fmla="*/ 628742 h 5927527"/>
              <a:gd name="connsiteX596" fmla="*/ 8606485 w 9901550"/>
              <a:gd name="connsiteY596" fmla="*/ 613212 h 5927527"/>
              <a:gd name="connsiteX597" fmla="*/ 8608773 w 9901550"/>
              <a:gd name="connsiteY597" fmla="*/ 610769 h 5927527"/>
              <a:gd name="connsiteX598" fmla="*/ 8610724 w 9901550"/>
              <a:gd name="connsiteY598" fmla="*/ 609749 h 5927527"/>
              <a:gd name="connsiteX599" fmla="*/ 8619794 w 9901550"/>
              <a:gd name="connsiteY599" fmla="*/ 602340 h 5927527"/>
              <a:gd name="connsiteX600" fmla="*/ 8655631 w 9901550"/>
              <a:gd name="connsiteY600" fmla="*/ 583481 h 5927527"/>
              <a:gd name="connsiteX601" fmla="*/ 8667964 w 9901550"/>
              <a:gd name="connsiteY601" fmla="*/ 579826 h 5927527"/>
              <a:gd name="connsiteX602" fmla="*/ 8669903 w 9901550"/>
              <a:gd name="connsiteY602" fmla="*/ 578812 h 5927527"/>
              <a:gd name="connsiteX603" fmla="*/ 8672770 w 9901550"/>
              <a:gd name="connsiteY603" fmla="*/ 578402 h 5927527"/>
              <a:gd name="connsiteX604" fmla="*/ 8693812 w 9901550"/>
              <a:gd name="connsiteY604" fmla="*/ 572166 h 5927527"/>
              <a:gd name="connsiteX605" fmla="*/ 8733165 w 9901550"/>
              <a:gd name="connsiteY605" fmla="*/ 568394 h 5927527"/>
              <a:gd name="connsiteX606" fmla="*/ 9846351 w 9901550"/>
              <a:gd name="connsiteY606" fmla="*/ 162856 h 5927527"/>
              <a:gd name="connsiteX607" fmla="*/ 9897259 w 9901550"/>
              <a:gd name="connsiteY607" fmla="*/ 196434 h 5927527"/>
              <a:gd name="connsiteX608" fmla="*/ 9901550 w 9901550"/>
              <a:gd name="connsiteY608" fmla="*/ 218047 h 5927527"/>
              <a:gd name="connsiteX609" fmla="*/ 9901550 w 9901550"/>
              <a:gd name="connsiteY609" fmla="*/ 218073 h 5927527"/>
              <a:gd name="connsiteX610" fmla="*/ 9897259 w 9901550"/>
              <a:gd name="connsiteY610" fmla="*/ 239415 h 5927527"/>
              <a:gd name="connsiteX611" fmla="*/ 9846351 w 9901550"/>
              <a:gd name="connsiteY611" fmla="*/ 273264 h 5927527"/>
              <a:gd name="connsiteX612" fmla="*/ 9842370 w 9901550"/>
              <a:gd name="connsiteY612" fmla="*/ 272457 h 5927527"/>
              <a:gd name="connsiteX613" fmla="*/ 9824999 w 9901550"/>
              <a:gd name="connsiteY613" fmla="*/ 268965 h 5927527"/>
              <a:gd name="connsiteX614" fmla="*/ 9824937 w 9901550"/>
              <a:gd name="connsiteY614" fmla="*/ 268924 h 5927527"/>
              <a:gd name="connsiteX615" fmla="*/ 9824728 w 9901550"/>
              <a:gd name="connsiteY615" fmla="*/ 268881 h 5927527"/>
              <a:gd name="connsiteX616" fmla="*/ 9814698 w 9901550"/>
              <a:gd name="connsiteY616" fmla="*/ 262071 h 5927527"/>
              <a:gd name="connsiteX617" fmla="*/ 9807437 w 9901550"/>
              <a:gd name="connsiteY617" fmla="*/ 257211 h 5927527"/>
              <a:gd name="connsiteX618" fmla="*/ 9807348 w 9901550"/>
              <a:gd name="connsiteY618" fmla="*/ 257080 h 5927527"/>
              <a:gd name="connsiteX619" fmla="*/ 9807197 w 9901550"/>
              <a:gd name="connsiteY619" fmla="*/ 256977 h 5927527"/>
              <a:gd name="connsiteX620" fmla="*/ 9801574 w 9901550"/>
              <a:gd name="connsiteY620" fmla="*/ 248576 h 5927527"/>
              <a:gd name="connsiteX621" fmla="*/ 9795533 w 9901550"/>
              <a:gd name="connsiteY621" fmla="*/ 239680 h 5927527"/>
              <a:gd name="connsiteX622" fmla="*/ 9795495 w 9901550"/>
              <a:gd name="connsiteY622" fmla="*/ 239494 h 5927527"/>
              <a:gd name="connsiteX623" fmla="*/ 9795442 w 9901550"/>
              <a:gd name="connsiteY623" fmla="*/ 239415 h 5927527"/>
              <a:gd name="connsiteX624" fmla="*/ 9791150 w 9901550"/>
              <a:gd name="connsiteY624" fmla="*/ 218063 h 5927527"/>
              <a:gd name="connsiteX625" fmla="*/ 9791151 w 9901550"/>
              <a:gd name="connsiteY625" fmla="*/ 218060 h 5927527"/>
              <a:gd name="connsiteX626" fmla="*/ 9791150 w 9901550"/>
              <a:gd name="connsiteY626" fmla="*/ 218057 h 5927527"/>
              <a:gd name="connsiteX627" fmla="*/ 9795442 w 9901550"/>
              <a:gd name="connsiteY627" fmla="*/ 196704 h 5927527"/>
              <a:gd name="connsiteX628" fmla="*/ 9795495 w 9901550"/>
              <a:gd name="connsiteY628" fmla="*/ 196626 h 5927527"/>
              <a:gd name="connsiteX629" fmla="*/ 9795533 w 9901550"/>
              <a:gd name="connsiteY629" fmla="*/ 196440 h 5927527"/>
              <a:gd name="connsiteX630" fmla="*/ 9801568 w 9901550"/>
              <a:gd name="connsiteY630" fmla="*/ 187552 h 5927527"/>
              <a:gd name="connsiteX631" fmla="*/ 9807197 w 9901550"/>
              <a:gd name="connsiteY631" fmla="*/ 179143 h 5927527"/>
              <a:gd name="connsiteX632" fmla="*/ 9807349 w 9901550"/>
              <a:gd name="connsiteY632" fmla="*/ 179040 h 5927527"/>
              <a:gd name="connsiteX633" fmla="*/ 9807437 w 9901550"/>
              <a:gd name="connsiteY633" fmla="*/ 178909 h 5927527"/>
              <a:gd name="connsiteX634" fmla="*/ 9814685 w 9901550"/>
              <a:gd name="connsiteY634" fmla="*/ 174058 h 5927527"/>
              <a:gd name="connsiteX635" fmla="*/ 9824728 w 9901550"/>
              <a:gd name="connsiteY635" fmla="*/ 167238 h 5927527"/>
              <a:gd name="connsiteX636" fmla="*/ 9824937 w 9901550"/>
              <a:gd name="connsiteY636" fmla="*/ 167196 h 5927527"/>
              <a:gd name="connsiteX637" fmla="*/ 9824999 w 9901550"/>
              <a:gd name="connsiteY637" fmla="*/ 167155 h 5927527"/>
              <a:gd name="connsiteX638" fmla="*/ 9842295 w 9901550"/>
              <a:gd name="connsiteY638" fmla="*/ 163678 h 5927527"/>
              <a:gd name="connsiteX639" fmla="*/ 9289846 w 9901550"/>
              <a:gd name="connsiteY639" fmla="*/ 94817 h 5927527"/>
              <a:gd name="connsiteX640" fmla="*/ 9413086 w 9901550"/>
              <a:gd name="connsiteY640" fmla="*/ 218057 h 5927527"/>
              <a:gd name="connsiteX641" fmla="*/ 9413085 w 9901550"/>
              <a:gd name="connsiteY641" fmla="*/ 218060 h 5927527"/>
              <a:gd name="connsiteX642" fmla="*/ 9413086 w 9901550"/>
              <a:gd name="connsiteY642" fmla="*/ 218064 h 5927527"/>
              <a:gd name="connsiteX643" fmla="*/ 9289846 w 9901550"/>
              <a:gd name="connsiteY643" fmla="*/ 341304 h 5927527"/>
              <a:gd name="connsiteX644" fmla="*/ 9166606 w 9901550"/>
              <a:gd name="connsiteY644" fmla="*/ 218064 h 5927527"/>
              <a:gd name="connsiteX645" fmla="*/ 9166607 w 9901550"/>
              <a:gd name="connsiteY645" fmla="*/ 218060 h 5927527"/>
              <a:gd name="connsiteX646" fmla="*/ 9166606 w 9901550"/>
              <a:gd name="connsiteY646" fmla="*/ 218057 h 5927527"/>
              <a:gd name="connsiteX647" fmla="*/ 9289846 w 9901550"/>
              <a:gd name="connsiteY647" fmla="*/ 94817 h 5927527"/>
              <a:gd name="connsiteX648" fmla="*/ 8726879 w 9901550"/>
              <a:gd name="connsiteY648" fmla="*/ 5061 h 5927527"/>
              <a:gd name="connsiteX649" fmla="*/ 8732902 w 9901550"/>
              <a:gd name="connsiteY649" fmla="*/ 5478 h 5927527"/>
              <a:gd name="connsiteX650" fmla="*/ 8733282 w 9901550"/>
              <a:gd name="connsiteY650" fmla="*/ 5442 h 5927527"/>
              <a:gd name="connsiteX651" fmla="*/ 8735639 w 9901550"/>
              <a:gd name="connsiteY651" fmla="*/ 5668 h 5927527"/>
              <a:gd name="connsiteX652" fmla="*/ 8768536 w 9901550"/>
              <a:gd name="connsiteY652" fmla="*/ 7945 h 5927527"/>
              <a:gd name="connsiteX653" fmla="*/ 8773514 w 9901550"/>
              <a:gd name="connsiteY653" fmla="*/ 9298 h 5927527"/>
              <a:gd name="connsiteX654" fmla="*/ 8773860 w 9901550"/>
              <a:gd name="connsiteY654" fmla="*/ 9331 h 5927527"/>
              <a:gd name="connsiteX655" fmla="*/ 8776342 w 9901550"/>
              <a:gd name="connsiteY655" fmla="*/ 10066 h 5927527"/>
              <a:gd name="connsiteX656" fmla="*/ 8808159 w 9901550"/>
              <a:gd name="connsiteY656" fmla="*/ 18715 h 5927527"/>
              <a:gd name="connsiteX657" fmla="*/ 8812132 w 9901550"/>
              <a:gd name="connsiteY657" fmla="*/ 20673 h 5927527"/>
              <a:gd name="connsiteX658" fmla="*/ 8813230 w 9901550"/>
              <a:gd name="connsiteY658" fmla="*/ 20999 h 5927527"/>
              <a:gd name="connsiteX659" fmla="*/ 8819708 w 9901550"/>
              <a:gd name="connsiteY659" fmla="*/ 24407 h 5927527"/>
              <a:gd name="connsiteX660" fmla="*/ 8844722 w 9901550"/>
              <a:gd name="connsiteY660" fmla="*/ 36737 h 5927527"/>
              <a:gd name="connsiteX661" fmla="*/ 8846819 w 9901550"/>
              <a:gd name="connsiteY661" fmla="*/ 38674 h 5927527"/>
              <a:gd name="connsiteX662" fmla="*/ 8850184 w 9901550"/>
              <a:gd name="connsiteY662" fmla="*/ 40445 h 5927527"/>
              <a:gd name="connsiteX663" fmla="*/ 8883512 w 9901550"/>
              <a:gd name="connsiteY663" fmla="*/ 67669 h 5927527"/>
              <a:gd name="connsiteX664" fmla="*/ 8891917 w 9901550"/>
              <a:gd name="connsiteY664" fmla="*/ 80327 h 5927527"/>
              <a:gd name="connsiteX665" fmla="*/ 8904553 w 9901550"/>
              <a:gd name="connsiteY665" fmla="*/ 91997 h 5927527"/>
              <a:gd name="connsiteX666" fmla="*/ 8915563 w 9901550"/>
              <a:gd name="connsiteY666" fmla="*/ 115935 h 5927527"/>
              <a:gd name="connsiteX667" fmla="*/ 8930183 w 9901550"/>
              <a:gd name="connsiteY667" fmla="*/ 137952 h 5927527"/>
              <a:gd name="connsiteX668" fmla="*/ 8933479 w 9901550"/>
              <a:gd name="connsiteY668" fmla="*/ 154886 h 5927527"/>
              <a:gd name="connsiteX669" fmla="*/ 8939806 w 9901550"/>
              <a:gd name="connsiteY669" fmla="*/ 168642 h 5927527"/>
              <a:gd name="connsiteX670" fmla="*/ 8945445 w 9901550"/>
              <a:gd name="connsiteY670" fmla="*/ 211305 h 5927527"/>
              <a:gd name="connsiteX671" fmla="*/ 8945186 w 9901550"/>
              <a:gd name="connsiteY671" fmla="*/ 215047 h 5927527"/>
              <a:gd name="connsiteX672" fmla="*/ 8945741 w 9901550"/>
              <a:gd name="connsiteY672" fmla="*/ 217900 h 5927527"/>
              <a:gd name="connsiteX673" fmla="*/ 8944573 w 9901550"/>
              <a:gd name="connsiteY673" fmla="*/ 223902 h 5927527"/>
              <a:gd name="connsiteX674" fmla="*/ 8942561 w 9901550"/>
              <a:gd name="connsiteY674" fmla="*/ 252962 h 5927527"/>
              <a:gd name="connsiteX675" fmla="*/ 8935051 w 9901550"/>
              <a:gd name="connsiteY675" fmla="*/ 272834 h 5927527"/>
              <a:gd name="connsiteX676" fmla="*/ 8930184 w 9901550"/>
              <a:gd name="connsiteY676" fmla="*/ 297848 h 5927527"/>
              <a:gd name="connsiteX677" fmla="*/ 8919541 w 9901550"/>
              <a:gd name="connsiteY677" fmla="*/ 313876 h 5927527"/>
              <a:gd name="connsiteX678" fmla="*/ 8913769 w 9901550"/>
              <a:gd name="connsiteY678" fmla="*/ 329149 h 5927527"/>
              <a:gd name="connsiteX679" fmla="*/ 8898219 w 9901550"/>
              <a:gd name="connsiteY679" fmla="*/ 345985 h 5927527"/>
              <a:gd name="connsiteX680" fmla="*/ 8883513 w 9901550"/>
              <a:gd name="connsiteY680" fmla="*/ 368131 h 5927527"/>
              <a:gd name="connsiteX681" fmla="*/ 8860106 w 9901550"/>
              <a:gd name="connsiteY681" fmla="*/ 387251 h 5927527"/>
              <a:gd name="connsiteX682" fmla="*/ 8858509 w 9901550"/>
              <a:gd name="connsiteY682" fmla="*/ 388980 h 5927527"/>
              <a:gd name="connsiteX683" fmla="*/ 8856639 w 9901550"/>
              <a:gd name="connsiteY683" fmla="*/ 390083 h 5927527"/>
              <a:gd name="connsiteX684" fmla="*/ 8850184 w 9901550"/>
              <a:gd name="connsiteY684" fmla="*/ 395355 h 5927527"/>
              <a:gd name="connsiteX685" fmla="*/ 8827118 w 9901550"/>
              <a:gd name="connsiteY685" fmla="*/ 407493 h 5927527"/>
              <a:gd name="connsiteX686" fmla="*/ 8822541 w 9901550"/>
              <a:gd name="connsiteY686" fmla="*/ 410192 h 5927527"/>
              <a:gd name="connsiteX687" fmla="*/ 8820935 w 9901550"/>
              <a:gd name="connsiteY687" fmla="*/ 410747 h 5927527"/>
              <a:gd name="connsiteX688" fmla="*/ 8813231 w 9901550"/>
              <a:gd name="connsiteY688" fmla="*/ 414801 h 5927527"/>
              <a:gd name="connsiteX689" fmla="*/ 8784638 w 9901550"/>
              <a:gd name="connsiteY689" fmla="*/ 423275 h 5927527"/>
              <a:gd name="connsiteX690" fmla="*/ 8781862 w 9901550"/>
              <a:gd name="connsiteY690" fmla="*/ 424233 h 5927527"/>
              <a:gd name="connsiteX691" fmla="*/ 8781037 w 9901550"/>
              <a:gd name="connsiteY691" fmla="*/ 424342 h 5927527"/>
              <a:gd name="connsiteX692" fmla="*/ 8773861 w 9901550"/>
              <a:gd name="connsiteY692" fmla="*/ 426469 h 5927527"/>
              <a:gd name="connsiteX693" fmla="*/ 8741428 w 9901550"/>
              <a:gd name="connsiteY693" fmla="*/ 429577 h 5927527"/>
              <a:gd name="connsiteX694" fmla="*/ 8739200 w 9901550"/>
              <a:gd name="connsiteY694" fmla="*/ 429872 h 5927527"/>
              <a:gd name="connsiteX695" fmla="*/ 8738709 w 9901550"/>
              <a:gd name="connsiteY695" fmla="*/ 429838 h 5927527"/>
              <a:gd name="connsiteX696" fmla="*/ 8733283 w 9901550"/>
              <a:gd name="connsiteY696" fmla="*/ 430358 h 5927527"/>
              <a:gd name="connsiteX697" fmla="*/ 8699647 w 9901550"/>
              <a:gd name="connsiteY697" fmla="*/ 427134 h 5927527"/>
              <a:gd name="connsiteX698" fmla="*/ 8697543 w 9901550"/>
              <a:gd name="connsiteY698" fmla="*/ 426988 h 5927527"/>
              <a:gd name="connsiteX699" fmla="*/ 8697225 w 9901550"/>
              <a:gd name="connsiteY699" fmla="*/ 426902 h 5927527"/>
              <a:gd name="connsiteX700" fmla="*/ 8692704 w 9901550"/>
              <a:gd name="connsiteY700" fmla="*/ 426469 h 5927527"/>
              <a:gd name="connsiteX701" fmla="*/ 8660296 w 9901550"/>
              <a:gd name="connsiteY701" fmla="*/ 416864 h 5927527"/>
              <a:gd name="connsiteX702" fmla="*/ 8657920 w 9901550"/>
              <a:gd name="connsiteY702" fmla="*/ 416218 h 5927527"/>
              <a:gd name="connsiteX703" fmla="*/ 8657623 w 9901550"/>
              <a:gd name="connsiteY703" fmla="*/ 416072 h 5927527"/>
              <a:gd name="connsiteX704" fmla="*/ 8653334 w 9901550"/>
              <a:gd name="connsiteY704" fmla="*/ 414801 h 5927527"/>
              <a:gd name="connsiteX705" fmla="*/ 8628036 w 9901550"/>
              <a:gd name="connsiteY705" fmla="*/ 401488 h 5927527"/>
              <a:gd name="connsiteX706" fmla="*/ 8621357 w 9901550"/>
              <a:gd name="connsiteY706" fmla="*/ 398196 h 5927527"/>
              <a:gd name="connsiteX707" fmla="*/ 8620797 w 9901550"/>
              <a:gd name="connsiteY707" fmla="*/ 397678 h 5927527"/>
              <a:gd name="connsiteX708" fmla="*/ 8616381 w 9901550"/>
              <a:gd name="connsiteY708" fmla="*/ 395354 h 5927527"/>
              <a:gd name="connsiteX709" fmla="*/ 8583052 w 9901550"/>
              <a:gd name="connsiteY709" fmla="*/ 368130 h 5927527"/>
              <a:gd name="connsiteX710" fmla="*/ 8573928 w 9901550"/>
              <a:gd name="connsiteY710" fmla="*/ 354390 h 5927527"/>
              <a:gd name="connsiteX711" fmla="*/ 8561526 w 9901550"/>
              <a:gd name="connsiteY711" fmla="*/ 342936 h 5927527"/>
              <a:gd name="connsiteX712" fmla="*/ 8550719 w 9901550"/>
              <a:gd name="connsiteY712" fmla="*/ 319439 h 5927527"/>
              <a:gd name="connsiteX713" fmla="*/ 8536381 w 9901550"/>
              <a:gd name="connsiteY713" fmla="*/ 297848 h 5927527"/>
              <a:gd name="connsiteX714" fmla="*/ 8533150 w 9901550"/>
              <a:gd name="connsiteY714" fmla="*/ 281241 h 5927527"/>
              <a:gd name="connsiteX715" fmla="*/ 8526273 w 9901550"/>
              <a:gd name="connsiteY715" fmla="*/ 266289 h 5927527"/>
              <a:gd name="connsiteX716" fmla="*/ 8520634 w 9901550"/>
              <a:gd name="connsiteY716" fmla="*/ 223627 h 5927527"/>
              <a:gd name="connsiteX717" fmla="*/ 8520977 w 9901550"/>
              <a:gd name="connsiteY717" fmla="*/ 218681 h 5927527"/>
              <a:gd name="connsiteX718" fmla="*/ 8520825 w 9901550"/>
              <a:gd name="connsiteY718" fmla="*/ 217900 h 5927527"/>
              <a:gd name="connsiteX719" fmla="*/ 8521144 w 9901550"/>
              <a:gd name="connsiteY719" fmla="*/ 216256 h 5927527"/>
              <a:gd name="connsiteX720" fmla="*/ 8523518 w 9901550"/>
              <a:gd name="connsiteY720" fmla="*/ 181970 h 5927527"/>
              <a:gd name="connsiteX721" fmla="*/ 8532378 w 9901550"/>
              <a:gd name="connsiteY721" fmla="*/ 158525 h 5927527"/>
              <a:gd name="connsiteX722" fmla="*/ 8536381 w 9901550"/>
              <a:gd name="connsiteY722" fmla="*/ 137951 h 5927527"/>
              <a:gd name="connsiteX723" fmla="*/ 8545135 w 9901550"/>
              <a:gd name="connsiteY723" fmla="*/ 124769 h 5927527"/>
              <a:gd name="connsiteX724" fmla="*/ 8552310 w 9901550"/>
              <a:gd name="connsiteY724" fmla="*/ 105784 h 5927527"/>
              <a:gd name="connsiteX725" fmla="*/ 8571639 w 9901550"/>
              <a:gd name="connsiteY725" fmla="*/ 84856 h 5927527"/>
              <a:gd name="connsiteX726" fmla="*/ 8583052 w 9901550"/>
              <a:gd name="connsiteY726" fmla="*/ 67669 h 5927527"/>
              <a:gd name="connsiteX727" fmla="*/ 8601218 w 9901550"/>
              <a:gd name="connsiteY727" fmla="*/ 52830 h 5927527"/>
              <a:gd name="connsiteX728" fmla="*/ 8607570 w 9901550"/>
              <a:gd name="connsiteY728" fmla="*/ 45953 h 5927527"/>
              <a:gd name="connsiteX729" fmla="*/ 8615007 w 9901550"/>
              <a:gd name="connsiteY729" fmla="*/ 41567 h 5927527"/>
              <a:gd name="connsiteX730" fmla="*/ 8616381 w 9901550"/>
              <a:gd name="connsiteY730" fmla="*/ 40445 h 5927527"/>
              <a:gd name="connsiteX731" fmla="*/ 8621291 w 9901550"/>
              <a:gd name="connsiteY731" fmla="*/ 37861 h 5927527"/>
              <a:gd name="connsiteX732" fmla="*/ 8643537 w 9901550"/>
              <a:gd name="connsiteY732" fmla="*/ 24741 h 5927527"/>
              <a:gd name="connsiteX733" fmla="*/ 8651343 w 9901550"/>
              <a:gd name="connsiteY733" fmla="*/ 22046 h 5927527"/>
              <a:gd name="connsiteX734" fmla="*/ 8653334 w 9901550"/>
              <a:gd name="connsiteY734" fmla="*/ 20998 h 5927527"/>
              <a:gd name="connsiteX735" fmla="*/ 8660724 w 9901550"/>
              <a:gd name="connsiteY735" fmla="*/ 18809 h 5927527"/>
              <a:gd name="connsiteX736" fmla="*/ 8684216 w 9901550"/>
              <a:gd name="connsiteY736" fmla="*/ 10700 h 5927527"/>
              <a:gd name="connsiteX737" fmla="*/ 8691197 w 9901550"/>
              <a:gd name="connsiteY737" fmla="*/ 9777 h 5927527"/>
              <a:gd name="connsiteX738" fmla="*/ 8692704 w 9901550"/>
              <a:gd name="connsiteY738" fmla="*/ 9331 h 5927527"/>
              <a:gd name="connsiteX739" fmla="*/ 8699514 w 9901550"/>
              <a:gd name="connsiteY739" fmla="*/ 8678 h 5927527"/>
              <a:gd name="connsiteX740" fmla="*/ 0 w 9901550"/>
              <a:gd name="connsiteY740" fmla="*/ 0 h 5927527"/>
              <a:gd name="connsiteX741" fmla="*/ 8399148 w 9901550"/>
              <a:gd name="connsiteY741" fmla="*/ 0 h 5927527"/>
              <a:gd name="connsiteX742" fmla="*/ 8442653 w 9901550"/>
              <a:gd name="connsiteY742" fmla="*/ 52212 h 5927527"/>
              <a:gd name="connsiteX743" fmla="*/ 8490071 w 9901550"/>
              <a:gd name="connsiteY743" fmla="*/ 218056 h 5927527"/>
              <a:gd name="connsiteX744" fmla="*/ 8315481 w 9901550"/>
              <a:gd name="connsiteY744" fmla="*/ 496629 h 5927527"/>
              <a:gd name="connsiteX745" fmla="*/ 8484936 w 9901550"/>
              <a:gd name="connsiteY745" fmla="*/ 771993 h 5927527"/>
              <a:gd name="connsiteX746" fmla="*/ 8280820 w 9901550"/>
              <a:gd name="connsiteY746" fmla="*/ 1062120 h 5927527"/>
              <a:gd name="connsiteX747" fmla="*/ 8463112 w 9901550"/>
              <a:gd name="connsiteY747" fmla="*/ 1328498 h 5927527"/>
              <a:gd name="connsiteX748" fmla="*/ 8176837 w 9901550"/>
              <a:gd name="connsiteY748" fmla="*/ 1614774 h 5927527"/>
              <a:gd name="connsiteX749" fmla="*/ 7950897 w 9901550"/>
              <a:gd name="connsiteY749" fmla="*/ 1503730 h 5927527"/>
              <a:gd name="connsiteX750" fmla="*/ 7846913 w 9901550"/>
              <a:gd name="connsiteY750" fmla="*/ 1626328 h 5927527"/>
              <a:gd name="connsiteX751" fmla="*/ 7946404 w 9901550"/>
              <a:gd name="connsiteY751" fmla="*/ 1775243 h 5927527"/>
              <a:gd name="connsiteX752" fmla="*/ 8176837 w 9901550"/>
              <a:gd name="connsiteY752" fmla="*/ 1629537 h 5927527"/>
              <a:gd name="connsiteX753" fmla="*/ 8432302 w 9901550"/>
              <a:gd name="connsiteY753" fmla="*/ 1885003 h 5927527"/>
              <a:gd name="connsiteX754" fmla="*/ 8176837 w 9901550"/>
              <a:gd name="connsiteY754" fmla="*/ 2140469 h 5927527"/>
              <a:gd name="connsiteX755" fmla="*/ 7946404 w 9901550"/>
              <a:gd name="connsiteY755" fmla="*/ 1994764 h 5927527"/>
              <a:gd name="connsiteX756" fmla="*/ 7786577 w 9901550"/>
              <a:gd name="connsiteY756" fmla="*/ 2186684 h 5927527"/>
              <a:gd name="connsiteX757" fmla="*/ 7925222 w 9901550"/>
              <a:gd name="connsiteY757" fmla="*/ 2442150 h 5927527"/>
              <a:gd name="connsiteX758" fmla="*/ 7620331 w 9901550"/>
              <a:gd name="connsiteY758" fmla="*/ 2747041 h 5927527"/>
              <a:gd name="connsiteX759" fmla="*/ 7387331 w 9901550"/>
              <a:gd name="connsiteY759" fmla="*/ 2638564 h 5927527"/>
              <a:gd name="connsiteX760" fmla="*/ 7280780 w 9901550"/>
              <a:gd name="connsiteY760" fmla="*/ 2752175 h 5927527"/>
              <a:gd name="connsiteX761" fmla="*/ 7382838 w 9901550"/>
              <a:gd name="connsiteY761" fmla="*/ 2920347 h 5927527"/>
              <a:gd name="connsiteX762" fmla="*/ 7619690 w 9901550"/>
              <a:gd name="connsiteY762" fmla="*/ 2749608 h 5927527"/>
              <a:gd name="connsiteX763" fmla="*/ 7870021 w 9901550"/>
              <a:gd name="connsiteY763" fmla="*/ 2999939 h 5927527"/>
              <a:gd name="connsiteX764" fmla="*/ 7619690 w 9901550"/>
              <a:gd name="connsiteY764" fmla="*/ 3250270 h 5927527"/>
              <a:gd name="connsiteX765" fmla="*/ 7382838 w 9901550"/>
              <a:gd name="connsiteY765" fmla="*/ 3079531 h 5927527"/>
              <a:gd name="connsiteX766" fmla="*/ 7171019 w 9901550"/>
              <a:gd name="connsiteY766" fmla="*/ 3311890 h 5927527"/>
              <a:gd name="connsiteX767" fmla="*/ 7331488 w 9901550"/>
              <a:gd name="connsiteY767" fmla="*/ 3557728 h 5927527"/>
              <a:gd name="connsiteX768" fmla="*/ 7063185 w 9901550"/>
              <a:gd name="connsiteY768" fmla="*/ 3826031 h 5927527"/>
              <a:gd name="connsiteX769" fmla="*/ 6818631 w 9901550"/>
              <a:gd name="connsiteY769" fmla="*/ 3668130 h 5927527"/>
              <a:gd name="connsiteX770" fmla="*/ 6599751 w 9901550"/>
              <a:gd name="connsiteY770" fmla="*/ 3875455 h 5927527"/>
              <a:gd name="connsiteX771" fmla="*/ 6763429 w 9901550"/>
              <a:gd name="connsiteY771" fmla="*/ 4114233 h 5927527"/>
              <a:gd name="connsiteX772" fmla="*/ 6506680 w 9901550"/>
              <a:gd name="connsiteY772" fmla="*/ 4370982 h 5927527"/>
              <a:gd name="connsiteX773" fmla="*/ 6257633 w 9901550"/>
              <a:gd name="connsiteY773" fmla="*/ 4174569 h 5927527"/>
              <a:gd name="connsiteX774" fmla="*/ 5950176 w 9901550"/>
              <a:gd name="connsiteY774" fmla="*/ 4427467 h 5927527"/>
              <a:gd name="connsiteX775" fmla="*/ 5697918 w 9901550"/>
              <a:gd name="connsiteY775" fmla="*/ 4300376 h 5927527"/>
              <a:gd name="connsiteX776" fmla="*/ 5536166 w 9901550"/>
              <a:gd name="connsiteY776" fmla="*/ 4441589 h 5927527"/>
              <a:gd name="connsiteX777" fmla="*/ 5663899 w 9901550"/>
              <a:gd name="connsiteY777" fmla="*/ 4671380 h 5927527"/>
              <a:gd name="connsiteX778" fmla="*/ 5393671 w 9901550"/>
              <a:gd name="connsiteY778" fmla="*/ 4941609 h 5927527"/>
              <a:gd name="connsiteX779" fmla="*/ 5133711 w 9901550"/>
              <a:gd name="connsiteY779" fmla="*/ 4743911 h 5927527"/>
              <a:gd name="connsiteX780" fmla="*/ 4837165 w 9901550"/>
              <a:gd name="connsiteY780" fmla="*/ 4976270 h 5927527"/>
              <a:gd name="connsiteX781" fmla="*/ 4571430 w 9901550"/>
              <a:gd name="connsiteY781" fmla="*/ 4820936 h 5927527"/>
              <a:gd name="connsiteX782" fmla="*/ 4280660 w 9901550"/>
              <a:gd name="connsiteY782" fmla="*/ 4998093 h 5927527"/>
              <a:gd name="connsiteX783" fmla="*/ 4007863 w 9901550"/>
              <a:gd name="connsiteY783" fmla="*/ 4851105 h 5927527"/>
              <a:gd name="connsiteX784" fmla="*/ 3796045 w 9901550"/>
              <a:gd name="connsiteY784" fmla="*/ 4999377 h 5927527"/>
              <a:gd name="connsiteX785" fmla="*/ 3962932 w 9901550"/>
              <a:gd name="connsiteY785" fmla="*/ 5227885 h 5927527"/>
              <a:gd name="connsiteX786" fmla="*/ 3723513 w 9901550"/>
              <a:gd name="connsiteY786" fmla="*/ 5467304 h 5927527"/>
              <a:gd name="connsiteX787" fmla="*/ 3484094 w 9901550"/>
              <a:gd name="connsiteY787" fmla="*/ 5227885 h 5927527"/>
              <a:gd name="connsiteX788" fmla="*/ 3650981 w 9901550"/>
              <a:gd name="connsiteY788" fmla="*/ 4999377 h 5927527"/>
              <a:gd name="connsiteX789" fmla="*/ 3444939 w 9901550"/>
              <a:gd name="connsiteY789" fmla="*/ 4859449 h 5927527"/>
              <a:gd name="connsiteX790" fmla="*/ 3238898 w 9901550"/>
              <a:gd name="connsiteY790" fmla="*/ 4999377 h 5927527"/>
              <a:gd name="connsiteX791" fmla="*/ 3405785 w 9901550"/>
              <a:gd name="connsiteY791" fmla="*/ 5227885 h 5927527"/>
              <a:gd name="connsiteX792" fmla="*/ 3166366 w 9901550"/>
              <a:gd name="connsiteY792" fmla="*/ 5467304 h 5927527"/>
              <a:gd name="connsiteX793" fmla="*/ 2926947 w 9901550"/>
              <a:gd name="connsiteY793" fmla="*/ 5227885 h 5927527"/>
              <a:gd name="connsiteX794" fmla="*/ 3093834 w 9901550"/>
              <a:gd name="connsiteY794" fmla="*/ 4999377 h 5927527"/>
              <a:gd name="connsiteX795" fmla="*/ 2882016 w 9901550"/>
              <a:gd name="connsiteY795" fmla="*/ 4851105 h 5927527"/>
              <a:gd name="connsiteX796" fmla="*/ 2609219 w 9901550"/>
              <a:gd name="connsiteY796" fmla="*/ 4998093 h 5927527"/>
              <a:gd name="connsiteX797" fmla="*/ 2318450 w 9901550"/>
              <a:gd name="connsiteY797" fmla="*/ 4820936 h 5927527"/>
              <a:gd name="connsiteX798" fmla="*/ 2052714 w 9901550"/>
              <a:gd name="connsiteY798" fmla="*/ 4976270 h 5927527"/>
              <a:gd name="connsiteX799" fmla="*/ 1756168 w 9901550"/>
              <a:gd name="connsiteY799" fmla="*/ 4743911 h 5927527"/>
              <a:gd name="connsiteX800" fmla="*/ 1496209 w 9901550"/>
              <a:gd name="connsiteY800" fmla="*/ 4941609 h 5927527"/>
              <a:gd name="connsiteX801" fmla="*/ 1225980 w 9901550"/>
              <a:gd name="connsiteY801" fmla="*/ 4671380 h 5927527"/>
              <a:gd name="connsiteX802" fmla="*/ 1353713 w 9901550"/>
              <a:gd name="connsiteY802" fmla="*/ 4441589 h 5927527"/>
              <a:gd name="connsiteX803" fmla="*/ 1191961 w 9901550"/>
              <a:gd name="connsiteY803" fmla="*/ 4300376 h 5927527"/>
              <a:gd name="connsiteX804" fmla="*/ 939704 w 9901550"/>
              <a:gd name="connsiteY804" fmla="*/ 4427467 h 5927527"/>
              <a:gd name="connsiteX805" fmla="*/ 632246 w 9901550"/>
              <a:gd name="connsiteY805" fmla="*/ 4174569 h 5927527"/>
              <a:gd name="connsiteX806" fmla="*/ 383199 w 9901550"/>
              <a:gd name="connsiteY806" fmla="*/ 4370982 h 5927527"/>
              <a:gd name="connsiteX807" fmla="*/ 126449 w 9901550"/>
              <a:gd name="connsiteY807" fmla="*/ 4114233 h 5927527"/>
              <a:gd name="connsiteX808" fmla="*/ 290127 w 9901550"/>
              <a:gd name="connsiteY808" fmla="*/ 3875455 h 5927527"/>
              <a:gd name="connsiteX809" fmla="*/ 71890 w 9901550"/>
              <a:gd name="connsiteY809" fmla="*/ 3670698 h 5927527"/>
              <a:gd name="connsiteX810" fmla="*/ 0 w 9901550"/>
              <a:gd name="connsiteY810" fmla="*/ 3764411 h 5927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</a:cxnLst>
            <a:rect l="l" t="t" r="r" b="b"/>
            <a:pathLst>
              <a:path w="9901550" h="5927527">
                <a:moveTo>
                  <a:pt x="7063184" y="5754862"/>
                </a:moveTo>
                <a:cubicBezTo>
                  <a:pt x="7079231" y="5754862"/>
                  <a:pt x="7092710" y="5768341"/>
                  <a:pt x="7092710" y="5784388"/>
                </a:cubicBezTo>
                <a:lnTo>
                  <a:pt x="7092578" y="5784710"/>
                </a:lnTo>
                <a:lnTo>
                  <a:pt x="7092710" y="5785031"/>
                </a:lnTo>
                <a:cubicBezTo>
                  <a:pt x="7092710" y="5801078"/>
                  <a:pt x="7079231" y="5814557"/>
                  <a:pt x="7063184" y="5814557"/>
                </a:cubicBezTo>
                <a:cubicBezTo>
                  <a:pt x="7046495" y="5814557"/>
                  <a:pt x="7033658" y="5801078"/>
                  <a:pt x="7033658" y="5785031"/>
                </a:cubicBezTo>
                <a:lnTo>
                  <a:pt x="7033792" y="5784710"/>
                </a:lnTo>
                <a:lnTo>
                  <a:pt x="7033658" y="5784388"/>
                </a:lnTo>
                <a:cubicBezTo>
                  <a:pt x="7033658" y="5768341"/>
                  <a:pt x="7046495" y="5754862"/>
                  <a:pt x="7063184" y="5754862"/>
                </a:cubicBezTo>
                <a:close/>
                <a:moveTo>
                  <a:pt x="6506679" y="5734964"/>
                </a:moveTo>
                <a:cubicBezTo>
                  <a:pt x="6534280" y="5734964"/>
                  <a:pt x="6556104" y="5757430"/>
                  <a:pt x="6556104" y="5784388"/>
                </a:cubicBezTo>
                <a:cubicBezTo>
                  <a:pt x="6556104" y="5797868"/>
                  <a:pt x="6550648" y="5810224"/>
                  <a:pt x="6541742" y="5819210"/>
                </a:cubicBezTo>
                <a:lnTo>
                  <a:pt x="6541546" y="5819344"/>
                </a:lnTo>
                <a:lnTo>
                  <a:pt x="6541501" y="5819451"/>
                </a:lnTo>
                <a:lnTo>
                  <a:pt x="6534410" y="5824195"/>
                </a:lnTo>
                <a:lnTo>
                  <a:pt x="6526046" y="5829882"/>
                </a:lnTo>
                <a:lnTo>
                  <a:pt x="6525851" y="5829921"/>
                </a:lnTo>
                <a:lnTo>
                  <a:pt x="6525775" y="5829972"/>
                </a:lnTo>
                <a:cubicBezTo>
                  <a:pt x="6519877" y="5832449"/>
                  <a:pt x="6513418" y="5833813"/>
                  <a:pt x="6506679" y="5833813"/>
                </a:cubicBezTo>
                <a:cubicBezTo>
                  <a:pt x="6499939" y="5833813"/>
                  <a:pt x="6493481" y="5832449"/>
                  <a:pt x="6487583" y="5829972"/>
                </a:cubicBezTo>
                <a:lnTo>
                  <a:pt x="6487508" y="5829921"/>
                </a:lnTo>
                <a:lnTo>
                  <a:pt x="6487312" y="5829882"/>
                </a:lnTo>
                <a:lnTo>
                  <a:pt x="6478943" y="5824192"/>
                </a:lnTo>
                <a:lnTo>
                  <a:pt x="6471858" y="5819451"/>
                </a:lnTo>
                <a:lnTo>
                  <a:pt x="6471813" y="5819344"/>
                </a:lnTo>
                <a:lnTo>
                  <a:pt x="6471617" y="5819210"/>
                </a:lnTo>
                <a:cubicBezTo>
                  <a:pt x="6462711" y="5810224"/>
                  <a:pt x="6457255" y="5797868"/>
                  <a:pt x="6457255" y="5784388"/>
                </a:cubicBezTo>
                <a:cubicBezTo>
                  <a:pt x="6457255" y="5770909"/>
                  <a:pt x="6462711" y="5758553"/>
                  <a:pt x="6471617" y="5749567"/>
                </a:cubicBezTo>
                <a:lnTo>
                  <a:pt x="6471813" y="5749434"/>
                </a:lnTo>
                <a:lnTo>
                  <a:pt x="6471858" y="5749326"/>
                </a:lnTo>
                <a:lnTo>
                  <a:pt x="6478944" y="5744586"/>
                </a:lnTo>
                <a:lnTo>
                  <a:pt x="6487312" y="5738896"/>
                </a:lnTo>
                <a:lnTo>
                  <a:pt x="6487508" y="5738856"/>
                </a:lnTo>
                <a:lnTo>
                  <a:pt x="6487583" y="5738806"/>
                </a:lnTo>
                <a:cubicBezTo>
                  <a:pt x="6493481" y="5736328"/>
                  <a:pt x="6499939" y="5734964"/>
                  <a:pt x="6506679" y="5734964"/>
                </a:cubicBezTo>
                <a:close/>
                <a:moveTo>
                  <a:pt x="5949532" y="5712499"/>
                </a:moveTo>
                <a:cubicBezTo>
                  <a:pt x="5989328" y="5712499"/>
                  <a:pt x="6022064" y="5744593"/>
                  <a:pt x="6021422" y="5784389"/>
                </a:cubicBezTo>
                <a:lnTo>
                  <a:pt x="6021357" y="5784710"/>
                </a:lnTo>
                <a:lnTo>
                  <a:pt x="6021422" y="5785031"/>
                </a:lnTo>
                <a:cubicBezTo>
                  <a:pt x="6022064" y="5824186"/>
                  <a:pt x="5989328" y="5856921"/>
                  <a:pt x="5949532" y="5856921"/>
                </a:cubicBezTo>
                <a:cubicBezTo>
                  <a:pt x="5909736" y="5856921"/>
                  <a:pt x="5877643" y="5824827"/>
                  <a:pt x="5877643" y="5785031"/>
                </a:cubicBezTo>
                <a:lnTo>
                  <a:pt x="5877706" y="5784710"/>
                </a:lnTo>
                <a:lnTo>
                  <a:pt x="5877643" y="5784389"/>
                </a:lnTo>
                <a:cubicBezTo>
                  <a:pt x="5877643" y="5744593"/>
                  <a:pt x="5909736" y="5712499"/>
                  <a:pt x="5949532" y="5712499"/>
                </a:cubicBezTo>
                <a:close/>
                <a:moveTo>
                  <a:pt x="5393027" y="5688107"/>
                </a:moveTo>
                <a:cubicBezTo>
                  <a:pt x="5446303" y="5688107"/>
                  <a:pt x="5489308" y="5731113"/>
                  <a:pt x="5489308" y="5784388"/>
                </a:cubicBezTo>
                <a:cubicBezTo>
                  <a:pt x="5489308" y="5837664"/>
                  <a:pt x="5446303" y="5880669"/>
                  <a:pt x="5393027" y="5880669"/>
                </a:cubicBezTo>
                <a:cubicBezTo>
                  <a:pt x="5339752" y="5880669"/>
                  <a:pt x="5296746" y="5837664"/>
                  <a:pt x="5296746" y="5784388"/>
                </a:cubicBezTo>
                <a:cubicBezTo>
                  <a:pt x="5296746" y="5731113"/>
                  <a:pt x="5339752" y="5688107"/>
                  <a:pt x="5393027" y="5688107"/>
                </a:cubicBezTo>
                <a:close/>
                <a:moveTo>
                  <a:pt x="4836522" y="5666926"/>
                </a:moveTo>
                <a:cubicBezTo>
                  <a:pt x="4901351" y="5666926"/>
                  <a:pt x="4953985" y="5719559"/>
                  <a:pt x="4953985" y="5784389"/>
                </a:cubicBezTo>
                <a:cubicBezTo>
                  <a:pt x="4953985" y="5849218"/>
                  <a:pt x="4901351" y="5901852"/>
                  <a:pt x="4836522" y="5901852"/>
                </a:cubicBezTo>
                <a:cubicBezTo>
                  <a:pt x="4771693" y="5901852"/>
                  <a:pt x="4719059" y="5849218"/>
                  <a:pt x="4719059" y="5784389"/>
                </a:cubicBezTo>
                <a:cubicBezTo>
                  <a:pt x="4719059" y="5719559"/>
                  <a:pt x="4771693" y="5666926"/>
                  <a:pt x="4836522" y="5666926"/>
                </a:cubicBezTo>
                <a:close/>
                <a:moveTo>
                  <a:pt x="4280017" y="5651521"/>
                </a:moveTo>
                <a:cubicBezTo>
                  <a:pt x="4353191" y="5651521"/>
                  <a:pt x="4412885" y="5711216"/>
                  <a:pt x="4412885" y="5784389"/>
                </a:cubicBezTo>
                <a:lnTo>
                  <a:pt x="4412821" y="5784710"/>
                </a:lnTo>
                <a:lnTo>
                  <a:pt x="4412885" y="5785031"/>
                </a:lnTo>
                <a:cubicBezTo>
                  <a:pt x="4412885" y="5858204"/>
                  <a:pt x="4353191" y="5917899"/>
                  <a:pt x="4280017" y="5917899"/>
                </a:cubicBezTo>
                <a:cubicBezTo>
                  <a:pt x="4206202" y="5917899"/>
                  <a:pt x="4147172" y="5858204"/>
                  <a:pt x="4147172" y="5785031"/>
                </a:cubicBezTo>
                <a:lnTo>
                  <a:pt x="4147232" y="5784737"/>
                </a:lnTo>
                <a:lnTo>
                  <a:pt x="4147162" y="5784389"/>
                </a:lnTo>
                <a:cubicBezTo>
                  <a:pt x="4147162" y="5711216"/>
                  <a:pt x="4206202" y="5651521"/>
                  <a:pt x="4280017" y="5651521"/>
                </a:cubicBezTo>
                <a:close/>
                <a:moveTo>
                  <a:pt x="2609875" y="5651521"/>
                </a:moveTo>
                <a:cubicBezTo>
                  <a:pt x="2683050" y="5651521"/>
                  <a:pt x="2742743" y="5711216"/>
                  <a:pt x="2742743" y="5784389"/>
                </a:cubicBezTo>
                <a:lnTo>
                  <a:pt x="2742685" y="5784681"/>
                </a:lnTo>
                <a:lnTo>
                  <a:pt x="2742755" y="5785031"/>
                </a:lnTo>
                <a:cubicBezTo>
                  <a:pt x="2742755" y="5858204"/>
                  <a:pt x="2683062" y="5917899"/>
                  <a:pt x="2609887" y="5917899"/>
                </a:cubicBezTo>
                <a:cubicBezTo>
                  <a:pt x="2536713" y="5917899"/>
                  <a:pt x="2477018" y="5858204"/>
                  <a:pt x="2477018" y="5785031"/>
                </a:cubicBezTo>
                <a:lnTo>
                  <a:pt x="2477077" y="5784741"/>
                </a:lnTo>
                <a:lnTo>
                  <a:pt x="2477007" y="5784389"/>
                </a:lnTo>
                <a:cubicBezTo>
                  <a:pt x="2477007" y="5711216"/>
                  <a:pt x="2536701" y="5651521"/>
                  <a:pt x="2609875" y="5651521"/>
                </a:cubicBezTo>
                <a:close/>
                <a:moveTo>
                  <a:pt x="3722884" y="5641251"/>
                </a:moveTo>
                <a:lnTo>
                  <a:pt x="3722889" y="5641252"/>
                </a:lnTo>
                <a:lnTo>
                  <a:pt x="3722894" y="5641251"/>
                </a:lnTo>
                <a:cubicBezTo>
                  <a:pt x="3801844" y="5641251"/>
                  <a:pt x="3866031" y="5705438"/>
                  <a:pt x="3866031" y="5784388"/>
                </a:cubicBezTo>
                <a:cubicBezTo>
                  <a:pt x="3866031" y="5863339"/>
                  <a:pt x="3801844" y="5927527"/>
                  <a:pt x="3722894" y="5927527"/>
                </a:cubicBezTo>
                <a:lnTo>
                  <a:pt x="3722889" y="5927526"/>
                </a:lnTo>
                <a:lnTo>
                  <a:pt x="3722884" y="5927527"/>
                </a:lnTo>
                <a:cubicBezTo>
                  <a:pt x="3643933" y="5927527"/>
                  <a:pt x="3579747" y="5863339"/>
                  <a:pt x="3579747" y="5784388"/>
                </a:cubicBezTo>
                <a:cubicBezTo>
                  <a:pt x="3579747" y="5705438"/>
                  <a:pt x="3643933" y="5641251"/>
                  <a:pt x="3722884" y="5641251"/>
                </a:cubicBezTo>
                <a:close/>
                <a:moveTo>
                  <a:pt x="3166378" y="5641251"/>
                </a:moveTo>
                <a:lnTo>
                  <a:pt x="3166384" y="5641252"/>
                </a:lnTo>
                <a:lnTo>
                  <a:pt x="3166390" y="5641251"/>
                </a:lnTo>
                <a:cubicBezTo>
                  <a:pt x="3245339" y="5641251"/>
                  <a:pt x="3309527" y="5705438"/>
                  <a:pt x="3309527" y="5784388"/>
                </a:cubicBezTo>
                <a:cubicBezTo>
                  <a:pt x="3309527" y="5863339"/>
                  <a:pt x="3245339" y="5927527"/>
                  <a:pt x="3166390" y="5927527"/>
                </a:cubicBezTo>
                <a:lnTo>
                  <a:pt x="3166384" y="5927526"/>
                </a:lnTo>
                <a:lnTo>
                  <a:pt x="3166378" y="5927527"/>
                </a:lnTo>
                <a:cubicBezTo>
                  <a:pt x="3087428" y="5927527"/>
                  <a:pt x="3023241" y="5863339"/>
                  <a:pt x="3023241" y="5784388"/>
                </a:cubicBezTo>
                <a:cubicBezTo>
                  <a:pt x="3023241" y="5705438"/>
                  <a:pt x="3087428" y="5641251"/>
                  <a:pt x="3166378" y="5641251"/>
                </a:cubicBezTo>
                <a:close/>
                <a:moveTo>
                  <a:pt x="7619689" y="5190013"/>
                </a:moveTo>
                <a:cubicBezTo>
                  <a:pt x="7640871" y="5190013"/>
                  <a:pt x="7657559" y="5206702"/>
                  <a:pt x="7657559" y="5227884"/>
                </a:cubicBezTo>
                <a:cubicBezTo>
                  <a:pt x="7657559" y="5249066"/>
                  <a:pt x="7640871" y="5265754"/>
                  <a:pt x="7619689" y="5265754"/>
                </a:cubicBezTo>
                <a:cubicBezTo>
                  <a:pt x="7609419" y="5265754"/>
                  <a:pt x="7599951" y="5261582"/>
                  <a:pt x="7593051" y="5254763"/>
                </a:cubicBezTo>
                <a:lnTo>
                  <a:pt x="7592980" y="5254592"/>
                </a:lnTo>
                <a:lnTo>
                  <a:pt x="7592810" y="5254521"/>
                </a:lnTo>
                <a:cubicBezTo>
                  <a:pt x="7585990" y="5247621"/>
                  <a:pt x="7581818" y="5238154"/>
                  <a:pt x="7581818" y="5227884"/>
                </a:cubicBezTo>
                <a:cubicBezTo>
                  <a:pt x="7581818" y="5217614"/>
                  <a:pt x="7585990" y="5208147"/>
                  <a:pt x="7592810" y="5201246"/>
                </a:cubicBezTo>
                <a:lnTo>
                  <a:pt x="7592980" y="5201175"/>
                </a:lnTo>
                <a:lnTo>
                  <a:pt x="7593051" y="5201005"/>
                </a:lnTo>
                <a:cubicBezTo>
                  <a:pt x="7599951" y="5194186"/>
                  <a:pt x="7609419" y="5190013"/>
                  <a:pt x="7619689" y="5190013"/>
                </a:cubicBezTo>
                <a:close/>
                <a:moveTo>
                  <a:pt x="7063184" y="5162413"/>
                </a:moveTo>
                <a:cubicBezTo>
                  <a:pt x="7099128" y="5162413"/>
                  <a:pt x="7128655" y="5191939"/>
                  <a:pt x="7128655" y="5227884"/>
                </a:cubicBezTo>
                <a:cubicBezTo>
                  <a:pt x="7128655" y="5263829"/>
                  <a:pt x="7099128" y="5293355"/>
                  <a:pt x="7063184" y="5293355"/>
                </a:cubicBezTo>
                <a:cubicBezTo>
                  <a:pt x="7027239" y="5293355"/>
                  <a:pt x="6997712" y="5263829"/>
                  <a:pt x="6997712" y="5227884"/>
                </a:cubicBezTo>
                <a:cubicBezTo>
                  <a:pt x="6997712" y="5191939"/>
                  <a:pt x="7027239" y="5162413"/>
                  <a:pt x="7063184" y="5162413"/>
                </a:cubicBezTo>
                <a:close/>
                <a:moveTo>
                  <a:pt x="6506679" y="5129035"/>
                </a:moveTo>
                <a:cubicBezTo>
                  <a:pt x="6561238" y="5129035"/>
                  <a:pt x="6605527" y="5173324"/>
                  <a:pt x="6605527" y="5227884"/>
                </a:cubicBezTo>
                <a:cubicBezTo>
                  <a:pt x="6605527" y="5282443"/>
                  <a:pt x="6561238" y="5326733"/>
                  <a:pt x="6506679" y="5326733"/>
                </a:cubicBezTo>
                <a:cubicBezTo>
                  <a:pt x="6452119" y="5326733"/>
                  <a:pt x="6407830" y="5282443"/>
                  <a:pt x="6407830" y="5227884"/>
                </a:cubicBezTo>
                <a:cubicBezTo>
                  <a:pt x="6407830" y="5173324"/>
                  <a:pt x="6452119" y="5129035"/>
                  <a:pt x="6506679" y="5129035"/>
                </a:cubicBezTo>
                <a:close/>
                <a:moveTo>
                  <a:pt x="383206" y="5129035"/>
                </a:moveTo>
                <a:lnTo>
                  <a:pt x="383212" y="5129036"/>
                </a:lnTo>
                <a:lnTo>
                  <a:pt x="383217" y="5129035"/>
                </a:lnTo>
                <a:cubicBezTo>
                  <a:pt x="437809" y="5129035"/>
                  <a:pt x="482065" y="5173291"/>
                  <a:pt x="482065" y="5227884"/>
                </a:cubicBezTo>
                <a:cubicBezTo>
                  <a:pt x="482065" y="5282476"/>
                  <a:pt x="437809" y="5326732"/>
                  <a:pt x="383217" y="5326732"/>
                </a:cubicBezTo>
                <a:lnTo>
                  <a:pt x="383212" y="5326731"/>
                </a:lnTo>
                <a:lnTo>
                  <a:pt x="383206" y="5326732"/>
                </a:lnTo>
                <a:cubicBezTo>
                  <a:pt x="328613" y="5326732"/>
                  <a:pt x="284357" y="5282477"/>
                  <a:pt x="284357" y="5227884"/>
                </a:cubicBezTo>
                <a:cubicBezTo>
                  <a:pt x="284357" y="5173291"/>
                  <a:pt x="328613" y="5129035"/>
                  <a:pt x="383206" y="5129035"/>
                </a:cubicBezTo>
                <a:close/>
                <a:moveTo>
                  <a:pt x="5949532" y="5087955"/>
                </a:moveTo>
                <a:cubicBezTo>
                  <a:pt x="6027199" y="5087955"/>
                  <a:pt x="6089460" y="5150859"/>
                  <a:pt x="6089460" y="5227884"/>
                </a:cubicBezTo>
                <a:cubicBezTo>
                  <a:pt x="6089460" y="5304909"/>
                  <a:pt x="6027199" y="5367813"/>
                  <a:pt x="5949532" y="5367813"/>
                </a:cubicBezTo>
                <a:cubicBezTo>
                  <a:pt x="5872508" y="5367813"/>
                  <a:pt x="5809603" y="5304909"/>
                  <a:pt x="5809603" y="5227884"/>
                </a:cubicBezTo>
                <a:cubicBezTo>
                  <a:pt x="5809603" y="5150859"/>
                  <a:pt x="5872508" y="5087955"/>
                  <a:pt x="5949532" y="5087955"/>
                </a:cubicBezTo>
                <a:close/>
                <a:moveTo>
                  <a:pt x="939711" y="5087955"/>
                </a:moveTo>
                <a:lnTo>
                  <a:pt x="939716" y="5087956"/>
                </a:lnTo>
                <a:lnTo>
                  <a:pt x="939721" y="5087955"/>
                </a:lnTo>
                <a:lnTo>
                  <a:pt x="941664" y="5088350"/>
                </a:lnTo>
                <a:lnTo>
                  <a:pt x="994340" y="5098987"/>
                </a:lnTo>
                <a:cubicBezTo>
                  <a:pt x="1027858" y="5113189"/>
                  <a:pt x="1054596" y="5140068"/>
                  <a:pt x="1068697" y="5173525"/>
                </a:cubicBezTo>
                <a:lnTo>
                  <a:pt x="1078245" y="5220960"/>
                </a:lnTo>
                <a:lnTo>
                  <a:pt x="1079650" y="5227884"/>
                </a:lnTo>
                <a:cubicBezTo>
                  <a:pt x="1079650" y="5304909"/>
                  <a:pt x="1017387" y="5367813"/>
                  <a:pt x="939721" y="5367813"/>
                </a:cubicBezTo>
                <a:lnTo>
                  <a:pt x="939716" y="5367812"/>
                </a:lnTo>
                <a:lnTo>
                  <a:pt x="939711" y="5367813"/>
                </a:lnTo>
                <a:cubicBezTo>
                  <a:pt x="862686" y="5367813"/>
                  <a:pt x="799782" y="5304909"/>
                  <a:pt x="799782" y="5227884"/>
                </a:cubicBezTo>
                <a:cubicBezTo>
                  <a:pt x="799782" y="5150859"/>
                  <a:pt x="862686" y="5087955"/>
                  <a:pt x="939711" y="5087955"/>
                </a:cubicBezTo>
                <a:close/>
                <a:moveTo>
                  <a:pt x="1496217" y="5053294"/>
                </a:moveTo>
                <a:lnTo>
                  <a:pt x="1496222" y="5053295"/>
                </a:lnTo>
                <a:lnTo>
                  <a:pt x="1496229" y="5053294"/>
                </a:lnTo>
                <a:lnTo>
                  <a:pt x="1499202" y="5053896"/>
                </a:lnTo>
                <a:lnTo>
                  <a:pt x="1564386" y="5067034"/>
                </a:lnTo>
                <a:cubicBezTo>
                  <a:pt x="1606208" y="5084726"/>
                  <a:pt x="1639565" y="5118223"/>
                  <a:pt x="1657157" y="5159985"/>
                </a:cubicBezTo>
                <a:lnTo>
                  <a:pt x="1668969" y="5218743"/>
                </a:lnTo>
                <a:lnTo>
                  <a:pt x="1670819" y="5227883"/>
                </a:lnTo>
                <a:cubicBezTo>
                  <a:pt x="1670819" y="5324165"/>
                  <a:pt x="1593153" y="5402473"/>
                  <a:pt x="1496229" y="5402473"/>
                </a:cubicBezTo>
                <a:lnTo>
                  <a:pt x="1496222" y="5402472"/>
                </a:lnTo>
                <a:lnTo>
                  <a:pt x="1496217" y="5402473"/>
                </a:lnTo>
                <a:cubicBezTo>
                  <a:pt x="1399935" y="5402473"/>
                  <a:pt x="1321626" y="5324165"/>
                  <a:pt x="1321626" y="5227883"/>
                </a:cubicBezTo>
                <a:cubicBezTo>
                  <a:pt x="1321626" y="5131602"/>
                  <a:pt x="1399935" y="5053294"/>
                  <a:pt x="1496217" y="5053294"/>
                </a:cubicBezTo>
                <a:close/>
                <a:moveTo>
                  <a:pt x="5393028" y="5050727"/>
                </a:moveTo>
                <a:cubicBezTo>
                  <a:pt x="5490593" y="5050727"/>
                  <a:pt x="5570186" y="5129677"/>
                  <a:pt x="5570186" y="5227884"/>
                </a:cubicBezTo>
                <a:cubicBezTo>
                  <a:pt x="5570186" y="5326091"/>
                  <a:pt x="5490593" y="5405041"/>
                  <a:pt x="5393028" y="5405041"/>
                </a:cubicBezTo>
                <a:cubicBezTo>
                  <a:pt x="5368637" y="5405041"/>
                  <a:pt x="5345369" y="5400107"/>
                  <a:pt x="5324187" y="5391171"/>
                </a:cubicBezTo>
                <a:lnTo>
                  <a:pt x="5324111" y="5391120"/>
                </a:lnTo>
                <a:lnTo>
                  <a:pt x="5323916" y="5391081"/>
                </a:lnTo>
                <a:lnTo>
                  <a:pt x="5293618" y="5370612"/>
                </a:lnTo>
                <a:lnTo>
                  <a:pt x="5267862" y="5353290"/>
                </a:lnTo>
                <a:lnTo>
                  <a:pt x="5267765" y="5353147"/>
                </a:lnTo>
                <a:lnTo>
                  <a:pt x="5267621" y="5353050"/>
                </a:lnTo>
                <a:lnTo>
                  <a:pt x="5250298" y="5327292"/>
                </a:lnTo>
                <a:lnTo>
                  <a:pt x="5229831" y="5296996"/>
                </a:lnTo>
                <a:lnTo>
                  <a:pt x="5229791" y="5296801"/>
                </a:lnTo>
                <a:lnTo>
                  <a:pt x="5229740" y="5296725"/>
                </a:lnTo>
                <a:cubicBezTo>
                  <a:pt x="5220804" y="5275543"/>
                  <a:pt x="5215870" y="5252275"/>
                  <a:pt x="5215870" y="5227884"/>
                </a:cubicBezTo>
                <a:cubicBezTo>
                  <a:pt x="5215870" y="5203493"/>
                  <a:pt x="5220804" y="5180225"/>
                  <a:pt x="5229740" y="5159044"/>
                </a:cubicBezTo>
                <a:lnTo>
                  <a:pt x="5229791" y="5158968"/>
                </a:lnTo>
                <a:lnTo>
                  <a:pt x="5229831" y="5158772"/>
                </a:lnTo>
                <a:lnTo>
                  <a:pt x="5250355" y="5128394"/>
                </a:lnTo>
                <a:lnTo>
                  <a:pt x="5267621" y="5102719"/>
                </a:lnTo>
                <a:lnTo>
                  <a:pt x="5267764" y="5102622"/>
                </a:lnTo>
                <a:lnTo>
                  <a:pt x="5267862" y="5102478"/>
                </a:lnTo>
                <a:lnTo>
                  <a:pt x="5293704" y="5085099"/>
                </a:lnTo>
                <a:lnTo>
                  <a:pt x="5323916" y="5064688"/>
                </a:lnTo>
                <a:lnTo>
                  <a:pt x="5324111" y="5064649"/>
                </a:lnTo>
                <a:lnTo>
                  <a:pt x="5324187" y="5064598"/>
                </a:lnTo>
                <a:cubicBezTo>
                  <a:pt x="5345369" y="5055662"/>
                  <a:pt x="5368637" y="5050727"/>
                  <a:pt x="5393028" y="5050727"/>
                </a:cubicBezTo>
                <a:close/>
                <a:moveTo>
                  <a:pt x="2053365" y="5023126"/>
                </a:moveTo>
                <a:lnTo>
                  <a:pt x="2053370" y="5023127"/>
                </a:lnTo>
                <a:lnTo>
                  <a:pt x="2053377" y="5023126"/>
                </a:lnTo>
                <a:cubicBezTo>
                  <a:pt x="2166350" y="5023126"/>
                  <a:pt x="2258139" y="5114914"/>
                  <a:pt x="2258139" y="5227884"/>
                </a:cubicBezTo>
                <a:cubicBezTo>
                  <a:pt x="2258139" y="5340854"/>
                  <a:pt x="2166350" y="5432642"/>
                  <a:pt x="2053377" y="5432642"/>
                </a:cubicBezTo>
                <a:lnTo>
                  <a:pt x="2053370" y="5432642"/>
                </a:lnTo>
                <a:lnTo>
                  <a:pt x="2053365" y="5432642"/>
                </a:lnTo>
                <a:cubicBezTo>
                  <a:pt x="1940394" y="5432642"/>
                  <a:pt x="1848606" y="5340854"/>
                  <a:pt x="1848606" y="5227884"/>
                </a:cubicBezTo>
                <a:cubicBezTo>
                  <a:pt x="1848606" y="5114914"/>
                  <a:pt x="1940394" y="5023126"/>
                  <a:pt x="2053365" y="5023126"/>
                </a:cubicBezTo>
                <a:close/>
                <a:moveTo>
                  <a:pt x="4836522" y="5020558"/>
                </a:moveTo>
                <a:cubicBezTo>
                  <a:pt x="4950776" y="5020558"/>
                  <a:pt x="5043848" y="5113630"/>
                  <a:pt x="5043848" y="5227884"/>
                </a:cubicBezTo>
                <a:cubicBezTo>
                  <a:pt x="5043848" y="5342138"/>
                  <a:pt x="4950776" y="5435209"/>
                  <a:pt x="4836522" y="5435209"/>
                </a:cubicBezTo>
                <a:cubicBezTo>
                  <a:pt x="4722269" y="5435209"/>
                  <a:pt x="4629197" y="5342138"/>
                  <a:pt x="4629197" y="5227884"/>
                </a:cubicBezTo>
                <a:cubicBezTo>
                  <a:pt x="4629197" y="5113630"/>
                  <a:pt x="4722269" y="5020558"/>
                  <a:pt x="4836522" y="5020558"/>
                </a:cubicBezTo>
                <a:close/>
                <a:moveTo>
                  <a:pt x="4280017" y="4998735"/>
                </a:moveTo>
                <a:cubicBezTo>
                  <a:pt x="4406467" y="4998735"/>
                  <a:pt x="4509167" y="5101435"/>
                  <a:pt x="4509167" y="5227884"/>
                </a:cubicBezTo>
                <a:cubicBezTo>
                  <a:pt x="4509167" y="5354333"/>
                  <a:pt x="4406467" y="5457033"/>
                  <a:pt x="4280017" y="5457033"/>
                </a:cubicBezTo>
                <a:cubicBezTo>
                  <a:pt x="4153578" y="5457033"/>
                  <a:pt x="4050878" y="5354333"/>
                  <a:pt x="4050878" y="5227884"/>
                </a:cubicBezTo>
                <a:cubicBezTo>
                  <a:pt x="4050878" y="5101435"/>
                  <a:pt x="4153578" y="4998735"/>
                  <a:pt x="4280017" y="4998735"/>
                </a:cubicBezTo>
                <a:close/>
                <a:moveTo>
                  <a:pt x="2609873" y="4998735"/>
                </a:moveTo>
                <a:lnTo>
                  <a:pt x="2609880" y="4998736"/>
                </a:lnTo>
                <a:lnTo>
                  <a:pt x="2609887" y="4998735"/>
                </a:lnTo>
                <a:cubicBezTo>
                  <a:pt x="2736336" y="4998735"/>
                  <a:pt x="2839035" y="5101435"/>
                  <a:pt x="2839035" y="5227884"/>
                </a:cubicBezTo>
                <a:cubicBezTo>
                  <a:pt x="2839035" y="5354333"/>
                  <a:pt x="2736336" y="5457033"/>
                  <a:pt x="2609887" y="5457033"/>
                </a:cubicBezTo>
                <a:lnTo>
                  <a:pt x="2609880" y="5457033"/>
                </a:lnTo>
                <a:lnTo>
                  <a:pt x="2609873" y="5457033"/>
                </a:lnTo>
                <a:cubicBezTo>
                  <a:pt x="2483423" y="5457033"/>
                  <a:pt x="2380723" y="5354333"/>
                  <a:pt x="2380723" y="5227884"/>
                </a:cubicBezTo>
                <a:cubicBezTo>
                  <a:pt x="2380723" y="5101435"/>
                  <a:pt x="2483423" y="4998735"/>
                  <a:pt x="2609873" y="4998735"/>
                </a:cubicBezTo>
                <a:close/>
                <a:moveTo>
                  <a:pt x="8176195" y="4631582"/>
                </a:moveTo>
                <a:cubicBezTo>
                  <a:pt x="8198660" y="4631582"/>
                  <a:pt x="8215991" y="4648913"/>
                  <a:pt x="8215991" y="4671379"/>
                </a:cubicBezTo>
                <a:cubicBezTo>
                  <a:pt x="8215991" y="4693202"/>
                  <a:pt x="8198660" y="4711175"/>
                  <a:pt x="8176195" y="4711175"/>
                </a:cubicBezTo>
                <a:cubicBezTo>
                  <a:pt x="8154371" y="4711175"/>
                  <a:pt x="8136398" y="4693202"/>
                  <a:pt x="8136398" y="4671379"/>
                </a:cubicBezTo>
                <a:cubicBezTo>
                  <a:pt x="8136398" y="4649555"/>
                  <a:pt x="8154371" y="4631582"/>
                  <a:pt x="8176195" y="4631582"/>
                </a:cubicBezTo>
                <a:close/>
                <a:moveTo>
                  <a:pt x="7619689" y="4597563"/>
                </a:moveTo>
                <a:cubicBezTo>
                  <a:pt x="7660769" y="4597563"/>
                  <a:pt x="7693504" y="4630299"/>
                  <a:pt x="7693504" y="4671379"/>
                </a:cubicBezTo>
                <a:cubicBezTo>
                  <a:pt x="7693504" y="4681489"/>
                  <a:pt x="7691458" y="4691157"/>
                  <a:pt x="7687747" y="4699973"/>
                </a:cubicBezTo>
                <a:lnTo>
                  <a:pt x="7687696" y="4700048"/>
                </a:lnTo>
                <a:lnTo>
                  <a:pt x="7687657" y="4700243"/>
                </a:lnTo>
                <a:lnTo>
                  <a:pt x="7679174" y="4712756"/>
                </a:lnTo>
                <a:lnTo>
                  <a:pt x="7672001" y="4723451"/>
                </a:lnTo>
                <a:lnTo>
                  <a:pt x="7671857" y="4723549"/>
                </a:lnTo>
                <a:lnTo>
                  <a:pt x="7671760" y="4723691"/>
                </a:lnTo>
                <a:lnTo>
                  <a:pt x="7661143" y="4730812"/>
                </a:lnTo>
                <a:lnTo>
                  <a:pt x="7648553" y="4739347"/>
                </a:lnTo>
                <a:lnTo>
                  <a:pt x="7648358" y="4739387"/>
                </a:lnTo>
                <a:lnTo>
                  <a:pt x="7648282" y="4739437"/>
                </a:lnTo>
                <a:cubicBezTo>
                  <a:pt x="7639466" y="4743148"/>
                  <a:pt x="7629798" y="4745194"/>
                  <a:pt x="7619689" y="4745194"/>
                </a:cubicBezTo>
                <a:cubicBezTo>
                  <a:pt x="7609579" y="4745194"/>
                  <a:pt x="7599911" y="4743148"/>
                  <a:pt x="7591095" y="4739437"/>
                </a:cubicBezTo>
                <a:lnTo>
                  <a:pt x="7591020" y="4739387"/>
                </a:lnTo>
                <a:lnTo>
                  <a:pt x="7590824" y="4739347"/>
                </a:lnTo>
                <a:lnTo>
                  <a:pt x="7578202" y="4730790"/>
                </a:lnTo>
                <a:lnTo>
                  <a:pt x="7567616" y="4723691"/>
                </a:lnTo>
                <a:lnTo>
                  <a:pt x="7567520" y="4723549"/>
                </a:lnTo>
                <a:lnTo>
                  <a:pt x="7567375" y="4723451"/>
                </a:lnTo>
                <a:lnTo>
                  <a:pt x="7560183" y="4712726"/>
                </a:lnTo>
                <a:lnTo>
                  <a:pt x="7551720" y="4700243"/>
                </a:lnTo>
                <a:lnTo>
                  <a:pt x="7551681" y="4700049"/>
                </a:lnTo>
                <a:lnTo>
                  <a:pt x="7551629" y="4699973"/>
                </a:lnTo>
                <a:cubicBezTo>
                  <a:pt x="7547919" y="4691157"/>
                  <a:pt x="7545873" y="4681489"/>
                  <a:pt x="7545873" y="4671379"/>
                </a:cubicBezTo>
                <a:cubicBezTo>
                  <a:pt x="7545873" y="4661270"/>
                  <a:pt x="7547919" y="4651602"/>
                  <a:pt x="7551629" y="4642786"/>
                </a:cubicBezTo>
                <a:lnTo>
                  <a:pt x="7551680" y="4642710"/>
                </a:lnTo>
                <a:lnTo>
                  <a:pt x="7551720" y="4642515"/>
                </a:lnTo>
                <a:lnTo>
                  <a:pt x="7560209" y="4629993"/>
                </a:lnTo>
                <a:lnTo>
                  <a:pt x="7567375" y="4619307"/>
                </a:lnTo>
                <a:lnTo>
                  <a:pt x="7567520" y="4619209"/>
                </a:lnTo>
                <a:lnTo>
                  <a:pt x="7567616" y="4619066"/>
                </a:lnTo>
                <a:lnTo>
                  <a:pt x="7578237" y="4611944"/>
                </a:lnTo>
                <a:lnTo>
                  <a:pt x="7590824" y="4603410"/>
                </a:lnTo>
                <a:lnTo>
                  <a:pt x="7591020" y="4603371"/>
                </a:lnTo>
                <a:lnTo>
                  <a:pt x="7591095" y="4603320"/>
                </a:lnTo>
                <a:cubicBezTo>
                  <a:pt x="7599911" y="4599609"/>
                  <a:pt x="7609579" y="4597563"/>
                  <a:pt x="7619689" y="4597563"/>
                </a:cubicBezTo>
                <a:close/>
                <a:moveTo>
                  <a:pt x="7063184" y="4549423"/>
                </a:moveTo>
                <a:cubicBezTo>
                  <a:pt x="7130581" y="4549423"/>
                  <a:pt x="7185140" y="4603983"/>
                  <a:pt x="7185140" y="4671380"/>
                </a:cubicBezTo>
                <a:cubicBezTo>
                  <a:pt x="7185140" y="4738776"/>
                  <a:pt x="7130581" y="4793336"/>
                  <a:pt x="7063184" y="4793336"/>
                </a:cubicBezTo>
                <a:cubicBezTo>
                  <a:pt x="6995787" y="4793336"/>
                  <a:pt x="6941228" y="4738776"/>
                  <a:pt x="6941228" y="4671380"/>
                </a:cubicBezTo>
                <a:cubicBezTo>
                  <a:pt x="6941228" y="4603983"/>
                  <a:pt x="6995787" y="4549423"/>
                  <a:pt x="7063184" y="4549423"/>
                </a:cubicBezTo>
                <a:close/>
                <a:moveTo>
                  <a:pt x="6506679" y="4496789"/>
                </a:moveTo>
                <a:cubicBezTo>
                  <a:pt x="6602318" y="4496789"/>
                  <a:pt x="6679985" y="4574456"/>
                  <a:pt x="6679985" y="4670737"/>
                </a:cubicBezTo>
                <a:lnTo>
                  <a:pt x="6679920" y="4671058"/>
                </a:lnTo>
                <a:lnTo>
                  <a:pt x="6679985" y="4671379"/>
                </a:lnTo>
                <a:cubicBezTo>
                  <a:pt x="6679985" y="4767660"/>
                  <a:pt x="6602318" y="4845327"/>
                  <a:pt x="6506679" y="4845327"/>
                </a:cubicBezTo>
                <a:cubicBezTo>
                  <a:pt x="6410398" y="4845327"/>
                  <a:pt x="6332731" y="4767018"/>
                  <a:pt x="6332731" y="4671379"/>
                </a:cubicBezTo>
                <a:lnTo>
                  <a:pt x="6332796" y="4671058"/>
                </a:lnTo>
                <a:lnTo>
                  <a:pt x="6332731" y="4670737"/>
                </a:lnTo>
                <a:cubicBezTo>
                  <a:pt x="6332731" y="4575098"/>
                  <a:pt x="6410398" y="4496789"/>
                  <a:pt x="6506679" y="4496789"/>
                </a:cubicBezTo>
                <a:close/>
                <a:moveTo>
                  <a:pt x="383217" y="4496789"/>
                </a:moveTo>
                <a:cubicBezTo>
                  <a:pt x="478856" y="4496789"/>
                  <a:pt x="557164" y="4574456"/>
                  <a:pt x="557164" y="4670737"/>
                </a:cubicBezTo>
                <a:lnTo>
                  <a:pt x="557093" y="4671084"/>
                </a:lnTo>
                <a:lnTo>
                  <a:pt x="557154" y="4671379"/>
                </a:lnTo>
                <a:cubicBezTo>
                  <a:pt x="557154" y="4767660"/>
                  <a:pt x="478845" y="4845327"/>
                  <a:pt x="383206" y="4845327"/>
                </a:cubicBezTo>
                <a:cubicBezTo>
                  <a:pt x="286925" y="4845327"/>
                  <a:pt x="209258" y="4767018"/>
                  <a:pt x="209258" y="4671379"/>
                </a:cubicBezTo>
                <a:lnTo>
                  <a:pt x="209328" y="4671031"/>
                </a:lnTo>
                <a:lnTo>
                  <a:pt x="209269" y="4670737"/>
                </a:lnTo>
                <a:cubicBezTo>
                  <a:pt x="209269" y="4575098"/>
                  <a:pt x="286936" y="4496789"/>
                  <a:pt x="383217" y="4496789"/>
                </a:cubicBezTo>
                <a:close/>
                <a:moveTo>
                  <a:pt x="5958673" y="4447478"/>
                </a:moveTo>
                <a:cubicBezTo>
                  <a:pt x="5973085" y="4448063"/>
                  <a:pt x="5987390" y="4450032"/>
                  <a:pt x="6001379" y="4453336"/>
                </a:cubicBezTo>
                <a:lnTo>
                  <a:pt x="6007264" y="4455334"/>
                </a:lnTo>
                <a:lnTo>
                  <a:pt x="6011809" y="4456069"/>
                </a:lnTo>
                <a:lnTo>
                  <a:pt x="6021623" y="4460212"/>
                </a:lnTo>
                <a:lnTo>
                  <a:pt x="6042195" y="4467199"/>
                </a:lnTo>
                <a:lnTo>
                  <a:pt x="6053473" y="4473656"/>
                </a:lnTo>
                <a:lnTo>
                  <a:pt x="6061505" y="4477047"/>
                </a:lnTo>
                <a:lnTo>
                  <a:pt x="6068378" y="4482190"/>
                </a:lnTo>
                <a:lnTo>
                  <a:pt x="6079877" y="4488774"/>
                </a:lnTo>
                <a:lnTo>
                  <a:pt x="6086208" y="4495533"/>
                </a:lnTo>
                <a:lnTo>
                  <a:pt x="6105334" y="4509845"/>
                </a:lnTo>
                <a:lnTo>
                  <a:pt x="6140831" y="4553846"/>
                </a:lnTo>
                <a:lnTo>
                  <a:pt x="6140866" y="4553883"/>
                </a:lnTo>
                <a:cubicBezTo>
                  <a:pt x="6157173" y="4580271"/>
                  <a:pt x="6167359" y="4608714"/>
                  <a:pt x="6171818" y="4637555"/>
                </a:cubicBezTo>
                <a:lnTo>
                  <a:pt x="6171818" y="4637560"/>
                </a:lnTo>
                <a:lnTo>
                  <a:pt x="6171818" y="4637561"/>
                </a:lnTo>
                <a:cubicBezTo>
                  <a:pt x="6185193" y="4724083"/>
                  <a:pt x="6147015" y="4814187"/>
                  <a:pt x="6067853" y="4863106"/>
                </a:cubicBezTo>
                <a:cubicBezTo>
                  <a:pt x="5962303" y="4928332"/>
                  <a:pt x="5823862" y="4895642"/>
                  <a:pt x="5758636" y="4790093"/>
                </a:cubicBezTo>
                <a:cubicBezTo>
                  <a:pt x="5742329" y="4763705"/>
                  <a:pt x="5732144" y="4735262"/>
                  <a:pt x="5727684" y="4706421"/>
                </a:cubicBezTo>
                <a:lnTo>
                  <a:pt x="5727684" y="4706416"/>
                </a:lnTo>
                <a:lnTo>
                  <a:pt x="5727684" y="4706415"/>
                </a:lnTo>
                <a:cubicBezTo>
                  <a:pt x="5714309" y="4619892"/>
                  <a:pt x="5752487" y="4529789"/>
                  <a:pt x="5831650" y="4480870"/>
                </a:cubicBezTo>
                <a:cubicBezTo>
                  <a:pt x="5844843" y="4472717"/>
                  <a:pt x="5858551" y="4466093"/>
                  <a:pt x="5872565" y="4460951"/>
                </a:cubicBezTo>
                <a:lnTo>
                  <a:pt x="5887123" y="4457194"/>
                </a:lnTo>
                <a:lnTo>
                  <a:pt x="5893791" y="4454348"/>
                </a:lnTo>
                <a:lnTo>
                  <a:pt x="5901185" y="4453566"/>
                </a:lnTo>
                <a:lnTo>
                  <a:pt x="5915321" y="4449918"/>
                </a:lnTo>
                <a:cubicBezTo>
                  <a:pt x="5929741" y="4447689"/>
                  <a:pt x="5944262" y="4446892"/>
                  <a:pt x="5958673" y="4447478"/>
                </a:cubicBezTo>
                <a:close/>
                <a:moveTo>
                  <a:pt x="939710" y="4446723"/>
                </a:moveTo>
                <a:lnTo>
                  <a:pt x="939715" y="4446724"/>
                </a:lnTo>
                <a:lnTo>
                  <a:pt x="939720" y="4446723"/>
                </a:lnTo>
                <a:cubicBezTo>
                  <a:pt x="1063795" y="4446723"/>
                  <a:pt x="1164377" y="4547305"/>
                  <a:pt x="1164377" y="4671379"/>
                </a:cubicBezTo>
                <a:cubicBezTo>
                  <a:pt x="1164377" y="4795453"/>
                  <a:pt x="1063795" y="4896035"/>
                  <a:pt x="939720" y="4896035"/>
                </a:cubicBezTo>
                <a:lnTo>
                  <a:pt x="939715" y="4896035"/>
                </a:lnTo>
                <a:lnTo>
                  <a:pt x="939710" y="4896035"/>
                </a:lnTo>
                <a:cubicBezTo>
                  <a:pt x="815636" y="4896035"/>
                  <a:pt x="715054" y="4795453"/>
                  <a:pt x="715054" y="4671379"/>
                </a:cubicBezTo>
                <a:cubicBezTo>
                  <a:pt x="715054" y="4547305"/>
                  <a:pt x="815636" y="4446723"/>
                  <a:pt x="939710" y="4446723"/>
                </a:cubicBezTo>
                <a:close/>
                <a:moveTo>
                  <a:pt x="8733341" y="4078287"/>
                </a:moveTo>
                <a:cubicBezTo>
                  <a:pt x="8753239" y="4078287"/>
                  <a:pt x="8769286" y="4094334"/>
                  <a:pt x="8769286" y="4114232"/>
                </a:cubicBezTo>
                <a:lnTo>
                  <a:pt x="8769147" y="4114553"/>
                </a:lnTo>
                <a:lnTo>
                  <a:pt x="8769286" y="4114874"/>
                </a:lnTo>
                <a:cubicBezTo>
                  <a:pt x="8769286" y="4134772"/>
                  <a:pt x="8753239" y="4150819"/>
                  <a:pt x="8733341" y="4150819"/>
                </a:cubicBezTo>
                <a:cubicBezTo>
                  <a:pt x="8713443" y="4150819"/>
                  <a:pt x="8697396" y="4134772"/>
                  <a:pt x="8697396" y="4114874"/>
                </a:cubicBezTo>
                <a:lnTo>
                  <a:pt x="8697529" y="4114553"/>
                </a:lnTo>
                <a:lnTo>
                  <a:pt x="8697396" y="4114232"/>
                </a:lnTo>
                <a:cubicBezTo>
                  <a:pt x="8697396" y="4094334"/>
                  <a:pt x="8713443" y="4078287"/>
                  <a:pt x="8733341" y="4078287"/>
                </a:cubicBezTo>
                <a:close/>
                <a:moveTo>
                  <a:pt x="8176194" y="4041058"/>
                </a:moveTo>
                <a:cubicBezTo>
                  <a:pt x="8216631" y="4041058"/>
                  <a:pt x="8250009" y="4073794"/>
                  <a:pt x="8249367" y="4114232"/>
                </a:cubicBezTo>
                <a:lnTo>
                  <a:pt x="8249302" y="4114553"/>
                </a:lnTo>
                <a:lnTo>
                  <a:pt x="8249367" y="4114873"/>
                </a:lnTo>
                <a:cubicBezTo>
                  <a:pt x="8250009" y="4155312"/>
                  <a:pt x="8216631" y="4188047"/>
                  <a:pt x="8176194" y="4188047"/>
                </a:cubicBezTo>
                <a:cubicBezTo>
                  <a:pt x="8135755" y="4188047"/>
                  <a:pt x="8103020" y="4155312"/>
                  <a:pt x="8103020" y="4114873"/>
                </a:cubicBezTo>
                <a:lnTo>
                  <a:pt x="8103084" y="4114553"/>
                </a:lnTo>
                <a:lnTo>
                  <a:pt x="8103020" y="4114232"/>
                </a:lnTo>
                <a:cubicBezTo>
                  <a:pt x="8103020" y="4073794"/>
                  <a:pt x="8135755" y="4041058"/>
                  <a:pt x="8176194" y="4041058"/>
                </a:cubicBezTo>
                <a:close/>
                <a:moveTo>
                  <a:pt x="0" y="4030788"/>
                </a:moveTo>
                <a:cubicBezTo>
                  <a:pt x="12196" y="4056463"/>
                  <a:pt x="19256" y="4084063"/>
                  <a:pt x="19256" y="4114232"/>
                </a:cubicBezTo>
                <a:cubicBezTo>
                  <a:pt x="19256" y="4144400"/>
                  <a:pt x="12196" y="4172642"/>
                  <a:pt x="0" y="4197675"/>
                </a:cubicBezTo>
                <a:close/>
                <a:moveTo>
                  <a:pt x="7619392" y="3987950"/>
                </a:moveTo>
                <a:cubicBezTo>
                  <a:pt x="7651753" y="3987950"/>
                  <a:pt x="7684114" y="4000296"/>
                  <a:pt x="7708804" y="4024986"/>
                </a:cubicBezTo>
                <a:cubicBezTo>
                  <a:pt x="7758185" y="4074367"/>
                  <a:pt x="7758185" y="4154429"/>
                  <a:pt x="7708805" y="4203810"/>
                </a:cubicBezTo>
                <a:cubicBezTo>
                  <a:pt x="7659423" y="4253191"/>
                  <a:pt x="7579361" y="4253191"/>
                  <a:pt x="7529980" y="4203810"/>
                </a:cubicBezTo>
                <a:cubicBezTo>
                  <a:pt x="7480599" y="4154429"/>
                  <a:pt x="7480599" y="4074367"/>
                  <a:pt x="7529980" y="4024985"/>
                </a:cubicBezTo>
                <a:cubicBezTo>
                  <a:pt x="7542325" y="4012640"/>
                  <a:pt x="7556588" y="4003381"/>
                  <a:pt x="7571810" y="3997209"/>
                </a:cubicBezTo>
                <a:cubicBezTo>
                  <a:pt x="7587031" y="3991036"/>
                  <a:pt x="7603212" y="3987950"/>
                  <a:pt x="7619392" y="3987950"/>
                </a:cubicBezTo>
                <a:close/>
                <a:moveTo>
                  <a:pt x="7063185" y="3924237"/>
                </a:moveTo>
                <a:cubicBezTo>
                  <a:pt x="7167810" y="3924237"/>
                  <a:pt x="7253179" y="4008964"/>
                  <a:pt x="7253179" y="4114232"/>
                </a:cubicBezTo>
                <a:lnTo>
                  <a:pt x="7253114" y="4114553"/>
                </a:lnTo>
                <a:lnTo>
                  <a:pt x="7253179" y="4114874"/>
                </a:lnTo>
                <a:cubicBezTo>
                  <a:pt x="7253179" y="4220141"/>
                  <a:pt x="7167810" y="4304869"/>
                  <a:pt x="7063185" y="4304869"/>
                </a:cubicBezTo>
                <a:cubicBezTo>
                  <a:pt x="6957917" y="4304869"/>
                  <a:pt x="6873190" y="4219499"/>
                  <a:pt x="6873190" y="4114874"/>
                </a:cubicBezTo>
                <a:lnTo>
                  <a:pt x="6873255" y="4114553"/>
                </a:lnTo>
                <a:lnTo>
                  <a:pt x="6873190" y="4114232"/>
                </a:lnTo>
                <a:cubicBezTo>
                  <a:pt x="6873190" y="4009606"/>
                  <a:pt x="6957917" y="3924237"/>
                  <a:pt x="7063185" y="3924237"/>
                </a:cubicBezTo>
                <a:close/>
                <a:moveTo>
                  <a:pt x="8733341" y="3496749"/>
                </a:moveTo>
                <a:cubicBezTo>
                  <a:pt x="8766719" y="3496749"/>
                  <a:pt x="8794319" y="3523708"/>
                  <a:pt x="8794319" y="3557727"/>
                </a:cubicBezTo>
                <a:lnTo>
                  <a:pt x="8794250" y="3558046"/>
                </a:lnTo>
                <a:lnTo>
                  <a:pt x="8794319" y="3558369"/>
                </a:lnTo>
                <a:cubicBezTo>
                  <a:pt x="8794319" y="3592388"/>
                  <a:pt x="8766719" y="3619347"/>
                  <a:pt x="8733341" y="3619347"/>
                </a:cubicBezTo>
                <a:cubicBezTo>
                  <a:pt x="8699322" y="3619347"/>
                  <a:pt x="8672363" y="3591746"/>
                  <a:pt x="8672363" y="3558369"/>
                </a:cubicBezTo>
                <a:lnTo>
                  <a:pt x="8672428" y="3558048"/>
                </a:lnTo>
                <a:lnTo>
                  <a:pt x="8672363" y="3557727"/>
                </a:lnTo>
                <a:cubicBezTo>
                  <a:pt x="8672363" y="3524350"/>
                  <a:pt x="8699322" y="3496749"/>
                  <a:pt x="8733341" y="3496749"/>
                </a:cubicBezTo>
                <a:close/>
                <a:moveTo>
                  <a:pt x="8176194" y="3440264"/>
                </a:moveTo>
                <a:cubicBezTo>
                  <a:pt x="8241023" y="3440264"/>
                  <a:pt x="8293657" y="3492898"/>
                  <a:pt x="8293657" y="3557727"/>
                </a:cubicBezTo>
                <a:cubicBezTo>
                  <a:pt x="8293657" y="3622556"/>
                  <a:pt x="8241023" y="3675190"/>
                  <a:pt x="8176194" y="3675190"/>
                </a:cubicBezTo>
                <a:cubicBezTo>
                  <a:pt x="8111364" y="3675190"/>
                  <a:pt x="8058731" y="3622556"/>
                  <a:pt x="8058731" y="3557727"/>
                </a:cubicBezTo>
                <a:cubicBezTo>
                  <a:pt x="8058731" y="3492898"/>
                  <a:pt x="8111364" y="3440264"/>
                  <a:pt x="8176194" y="3440264"/>
                </a:cubicBezTo>
                <a:close/>
                <a:moveTo>
                  <a:pt x="7619689" y="3372225"/>
                </a:moveTo>
                <a:cubicBezTo>
                  <a:pt x="7722389" y="3372225"/>
                  <a:pt x="7805191" y="3455027"/>
                  <a:pt x="7805191" y="3557726"/>
                </a:cubicBezTo>
                <a:cubicBezTo>
                  <a:pt x="7805191" y="3660426"/>
                  <a:pt x="7722389" y="3743228"/>
                  <a:pt x="7619689" y="3743228"/>
                </a:cubicBezTo>
                <a:cubicBezTo>
                  <a:pt x="7516989" y="3743228"/>
                  <a:pt x="7434187" y="3660426"/>
                  <a:pt x="7434187" y="3557726"/>
                </a:cubicBezTo>
                <a:cubicBezTo>
                  <a:pt x="7434187" y="3455027"/>
                  <a:pt x="7516989" y="3372225"/>
                  <a:pt x="7619689" y="3372225"/>
                </a:cubicBezTo>
                <a:close/>
                <a:moveTo>
                  <a:pt x="9289846" y="2954365"/>
                </a:moveTo>
                <a:cubicBezTo>
                  <a:pt x="9315521" y="2954365"/>
                  <a:pt x="9336702" y="2975547"/>
                  <a:pt x="9336702" y="3001222"/>
                </a:cubicBezTo>
                <a:cubicBezTo>
                  <a:pt x="9336702" y="3026897"/>
                  <a:pt x="9315521" y="3048079"/>
                  <a:pt x="9289846" y="3048079"/>
                </a:cubicBezTo>
                <a:cubicBezTo>
                  <a:pt x="9264171" y="3048079"/>
                  <a:pt x="9242989" y="3026897"/>
                  <a:pt x="9242989" y="3001222"/>
                </a:cubicBezTo>
                <a:cubicBezTo>
                  <a:pt x="9242989" y="2975547"/>
                  <a:pt x="9264171" y="2954365"/>
                  <a:pt x="9289846" y="2954365"/>
                </a:cubicBezTo>
                <a:close/>
                <a:moveTo>
                  <a:pt x="8733340" y="2907508"/>
                </a:moveTo>
                <a:cubicBezTo>
                  <a:pt x="8784690" y="2907508"/>
                  <a:pt x="8827054" y="2949230"/>
                  <a:pt x="8827054" y="3001221"/>
                </a:cubicBezTo>
                <a:cubicBezTo>
                  <a:pt x="8827054" y="3053214"/>
                  <a:pt x="8784690" y="3094935"/>
                  <a:pt x="8733340" y="3094935"/>
                </a:cubicBezTo>
                <a:cubicBezTo>
                  <a:pt x="8720503" y="3094935"/>
                  <a:pt x="8708227" y="3092328"/>
                  <a:pt x="8697034" y="3087604"/>
                </a:cubicBezTo>
                <a:lnTo>
                  <a:pt x="8696959" y="3087553"/>
                </a:lnTo>
                <a:lnTo>
                  <a:pt x="8696764" y="3087513"/>
                </a:lnTo>
                <a:lnTo>
                  <a:pt x="8680809" y="3076702"/>
                </a:lnTo>
                <a:lnTo>
                  <a:pt x="8667228" y="3067575"/>
                </a:lnTo>
                <a:lnTo>
                  <a:pt x="8667130" y="3067431"/>
                </a:lnTo>
                <a:lnTo>
                  <a:pt x="8666987" y="3067334"/>
                </a:lnTo>
                <a:lnTo>
                  <a:pt x="8657924" y="3053847"/>
                </a:lnTo>
                <a:lnTo>
                  <a:pt x="8647049" y="3037799"/>
                </a:lnTo>
                <a:lnTo>
                  <a:pt x="8647009" y="3037602"/>
                </a:lnTo>
                <a:lnTo>
                  <a:pt x="8646958" y="3037527"/>
                </a:lnTo>
                <a:cubicBezTo>
                  <a:pt x="8642235" y="3026335"/>
                  <a:pt x="8639627" y="3014059"/>
                  <a:pt x="8639627" y="3001221"/>
                </a:cubicBezTo>
                <a:cubicBezTo>
                  <a:pt x="8639627" y="2988384"/>
                  <a:pt x="8642235" y="2976108"/>
                  <a:pt x="8646958" y="2964916"/>
                </a:cubicBezTo>
                <a:lnTo>
                  <a:pt x="8647009" y="2964840"/>
                </a:lnTo>
                <a:lnTo>
                  <a:pt x="8647049" y="2964645"/>
                </a:lnTo>
                <a:lnTo>
                  <a:pt x="8657890" y="2948647"/>
                </a:lnTo>
                <a:lnTo>
                  <a:pt x="8666987" y="2935109"/>
                </a:lnTo>
                <a:lnTo>
                  <a:pt x="8667130" y="2935011"/>
                </a:lnTo>
                <a:lnTo>
                  <a:pt x="8667228" y="2934868"/>
                </a:lnTo>
                <a:lnTo>
                  <a:pt x="8680764" y="2925772"/>
                </a:lnTo>
                <a:lnTo>
                  <a:pt x="8696764" y="2914930"/>
                </a:lnTo>
                <a:lnTo>
                  <a:pt x="8696959" y="2914890"/>
                </a:lnTo>
                <a:lnTo>
                  <a:pt x="8697034" y="2914840"/>
                </a:lnTo>
                <a:cubicBezTo>
                  <a:pt x="8708227" y="2910116"/>
                  <a:pt x="8720503" y="2907508"/>
                  <a:pt x="8733340" y="2907508"/>
                </a:cubicBezTo>
                <a:close/>
                <a:moveTo>
                  <a:pt x="8176195" y="2838828"/>
                </a:moveTo>
                <a:cubicBezTo>
                  <a:pt x="8266057" y="2838828"/>
                  <a:pt x="8338588" y="2911360"/>
                  <a:pt x="8338588" y="3001222"/>
                </a:cubicBezTo>
                <a:cubicBezTo>
                  <a:pt x="8338588" y="3091085"/>
                  <a:pt x="8266057" y="3163617"/>
                  <a:pt x="8176195" y="3163617"/>
                </a:cubicBezTo>
                <a:cubicBezTo>
                  <a:pt x="8086332" y="3163617"/>
                  <a:pt x="8013800" y="3091085"/>
                  <a:pt x="8013800" y="3001222"/>
                </a:cubicBezTo>
                <a:cubicBezTo>
                  <a:pt x="8013800" y="2911360"/>
                  <a:pt x="8086332" y="2838828"/>
                  <a:pt x="8176195" y="2838828"/>
                </a:cubicBezTo>
                <a:close/>
                <a:moveTo>
                  <a:pt x="9289846" y="2378604"/>
                </a:moveTo>
                <a:cubicBezTo>
                  <a:pt x="9326433" y="2378604"/>
                  <a:pt x="9355959" y="2408130"/>
                  <a:pt x="9355959" y="2444075"/>
                </a:cubicBezTo>
                <a:cubicBezTo>
                  <a:pt x="9355959" y="2480662"/>
                  <a:pt x="9326433" y="2510188"/>
                  <a:pt x="9289846" y="2510188"/>
                </a:cubicBezTo>
                <a:cubicBezTo>
                  <a:pt x="9253259" y="2510188"/>
                  <a:pt x="9223733" y="2480662"/>
                  <a:pt x="9223733" y="2444075"/>
                </a:cubicBezTo>
                <a:cubicBezTo>
                  <a:pt x="9223733" y="2407488"/>
                  <a:pt x="9253259" y="2378604"/>
                  <a:pt x="9289846" y="2378604"/>
                </a:cubicBezTo>
                <a:close/>
                <a:moveTo>
                  <a:pt x="8733341" y="2316342"/>
                </a:moveTo>
                <a:cubicBezTo>
                  <a:pt x="8750993" y="2316342"/>
                  <a:pt x="8767842" y="2319913"/>
                  <a:pt x="8783186" y="2326382"/>
                </a:cubicBezTo>
                <a:lnTo>
                  <a:pt x="8783262" y="2326432"/>
                </a:lnTo>
                <a:lnTo>
                  <a:pt x="8783457" y="2326472"/>
                </a:lnTo>
                <a:lnTo>
                  <a:pt x="8805377" y="2341293"/>
                </a:lnTo>
                <a:lnTo>
                  <a:pt x="8824006" y="2353812"/>
                </a:lnTo>
                <a:lnTo>
                  <a:pt x="8824103" y="2353955"/>
                </a:lnTo>
                <a:lnTo>
                  <a:pt x="8824247" y="2354052"/>
                </a:lnTo>
                <a:lnTo>
                  <a:pt x="8836766" y="2372684"/>
                </a:lnTo>
                <a:lnTo>
                  <a:pt x="8851586" y="2394601"/>
                </a:lnTo>
                <a:lnTo>
                  <a:pt x="8851626" y="2394796"/>
                </a:lnTo>
                <a:lnTo>
                  <a:pt x="8851677" y="2394872"/>
                </a:lnTo>
                <a:cubicBezTo>
                  <a:pt x="8858146" y="2410216"/>
                  <a:pt x="8861716" y="2427066"/>
                  <a:pt x="8861716" y="2444717"/>
                </a:cubicBezTo>
                <a:cubicBezTo>
                  <a:pt x="8861716" y="2515323"/>
                  <a:pt x="8804589" y="2573092"/>
                  <a:pt x="8733341" y="2573092"/>
                </a:cubicBezTo>
                <a:cubicBezTo>
                  <a:pt x="8715689" y="2573092"/>
                  <a:pt x="8698840" y="2569522"/>
                  <a:pt x="8683496" y="2563053"/>
                </a:cubicBezTo>
                <a:lnTo>
                  <a:pt x="8683420" y="2563002"/>
                </a:lnTo>
                <a:lnTo>
                  <a:pt x="8683225" y="2562963"/>
                </a:lnTo>
                <a:lnTo>
                  <a:pt x="8661295" y="2548134"/>
                </a:lnTo>
                <a:lnTo>
                  <a:pt x="8642676" y="2535623"/>
                </a:lnTo>
                <a:lnTo>
                  <a:pt x="8642579" y="2535479"/>
                </a:lnTo>
                <a:lnTo>
                  <a:pt x="8642436" y="2535382"/>
                </a:lnTo>
                <a:lnTo>
                  <a:pt x="8629916" y="2516751"/>
                </a:lnTo>
                <a:lnTo>
                  <a:pt x="8615096" y="2494834"/>
                </a:lnTo>
                <a:lnTo>
                  <a:pt x="8615056" y="2494638"/>
                </a:lnTo>
                <a:lnTo>
                  <a:pt x="8615005" y="2494563"/>
                </a:lnTo>
                <a:cubicBezTo>
                  <a:pt x="8608536" y="2479218"/>
                  <a:pt x="8604966" y="2462369"/>
                  <a:pt x="8604966" y="2444717"/>
                </a:cubicBezTo>
                <a:cubicBezTo>
                  <a:pt x="8604966" y="2427066"/>
                  <a:pt x="8608536" y="2410216"/>
                  <a:pt x="8615005" y="2394872"/>
                </a:cubicBezTo>
                <a:lnTo>
                  <a:pt x="8615056" y="2394796"/>
                </a:lnTo>
                <a:lnTo>
                  <a:pt x="8615096" y="2394601"/>
                </a:lnTo>
                <a:lnTo>
                  <a:pt x="8629916" y="2372683"/>
                </a:lnTo>
                <a:lnTo>
                  <a:pt x="8642436" y="2354052"/>
                </a:lnTo>
                <a:lnTo>
                  <a:pt x="8642579" y="2353955"/>
                </a:lnTo>
                <a:lnTo>
                  <a:pt x="8642676" y="2353812"/>
                </a:lnTo>
                <a:lnTo>
                  <a:pt x="8661295" y="2341300"/>
                </a:lnTo>
                <a:lnTo>
                  <a:pt x="8683225" y="2326472"/>
                </a:lnTo>
                <a:lnTo>
                  <a:pt x="8683420" y="2326432"/>
                </a:lnTo>
                <a:lnTo>
                  <a:pt x="8683496" y="2326382"/>
                </a:lnTo>
                <a:cubicBezTo>
                  <a:pt x="8698840" y="2319913"/>
                  <a:pt x="8715689" y="2316342"/>
                  <a:pt x="8733341" y="2316342"/>
                </a:cubicBezTo>
                <a:close/>
                <a:moveTo>
                  <a:pt x="8176194" y="2230973"/>
                </a:moveTo>
                <a:cubicBezTo>
                  <a:pt x="8294299" y="2230973"/>
                  <a:pt x="8390580" y="2326612"/>
                  <a:pt x="8389938" y="2444717"/>
                </a:cubicBezTo>
                <a:cubicBezTo>
                  <a:pt x="8390580" y="2562822"/>
                  <a:pt x="8294299" y="2658462"/>
                  <a:pt x="8176194" y="2658462"/>
                </a:cubicBezTo>
                <a:cubicBezTo>
                  <a:pt x="8058089" y="2658462"/>
                  <a:pt x="7962450" y="2562822"/>
                  <a:pt x="7962450" y="2444717"/>
                </a:cubicBezTo>
                <a:cubicBezTo>
                  <a:pt x="7962450" y="2326612"/>
                  <a:pt x="8058089" y="2230973"/>
                  <a:pt x="8176194" y="2230973"/>
                </a:cubicBezTo>
                <a:close/>
                <a:moveTo>
                  <a:pt x="9846351" y="1849709"/>
                </a:moveTo>
                <a:cubicBezTo>
                  <a:pt x="9866890" y="1849709"/>
                  <a:pt x="9884221" y="1866398"/>
                  <a:pt x="9884221" y="1887579"/>
                </a:cubicBezTo>
                <a:lnTo>
                  <a:pt x="9884088" y="1887897"/>
                </a:lnTo>
                <a:lnTo>
                  <a:pt x="9884221" y="1888215"/>
                </a:lnTo>
                <a:cubicBezTo>
                  <a:pt x="9884221" y="1909397"/>
                  <a:pt x="9866890" y="1926085"/>
                  <a:pt x="9846351" y="1926085"/>
                </a:cubicBezTo>
                <a:cubicBezTo>
                  <a:pt x="9825169" y="1926085"/>
                  <a:pt x="9808480" y="1908755"/>
                  <a:pt x="9808480" y="1888215"/>
                </a:cubicBezTo>
                <a:lnTo>
                  <a:pt x="9808613" y="1887897"/>
                </a:lnTo>
                <a:lnTo>
                  <a:pt x="9808480" y="1887579"/>
                </a:lnTo>
                <a:cubicBezTo>
                  <a:pt x="9808480" y="1867040"/>
                  <a:pt x="9825169" y="1849709"/>
                  <a:pt x="9846351" y="1849709"/>
                </a:cubicBezTo>
                <a:close/>
                <a:moveTo>
                  <a:pt x="9289846" y="1802846"/>
                </a:moveTo>
                <a:cubicBezTo>
                  <a:pt x="9336702" y="1802846"/>
                  <a:pt x="9374573" y="1840716"/>
                  <a:pt x="9374573" y="1887573"/>
                </a:cubicBezTo>
                <a:lnTo>
                  <a:pt x="9374508" y="1887897"/>
                </a:lnTo>
                <a:lnTo>
                  <a:pt x="9374573" y="1888221"/>
                </a:lnTo>
                <a:cubicBezTo>
                  <a:pt x="9374573" y="1935078"/>
                  <a:pt x="9336702" y="1972949"/>
                  <a:pt x="9289846" y="1972949"/>
                </a:cubicBezTo>
                <a:cubicBezTo>
                  <a:pt x="9242989" y="1972949"/>
                  <a:pt x="9205118" y="1935078"/>
                  <a:pt x="9205118" y="1888221"/>
                </a:cubicBezTo>
                <a:lnTo>
                  <a:pt x="9205183" y="1887897"/>
                </a:lnTo>
                <a:lnTo>
                  <a:pt x="9205118" y="1887573"/>
                </a:lnTo>
                <a:cubicBezTo>
                  <a:pt x="9205118" y="1840716"/>
                  <a:pt x="9242989" y="1802846"/>
                  <a:pt x="9289846" y="1802846"/>
                </a:cubicBezTo>
                <a:close/>
                <a:moveTo>
                  <a:pt x="8733341" y="1725828"/>
                </a:moveTo>
                <a:cubicBezTo>
                  <a:pt x="8822562" y="1725828"/>
                  <a:pt x="8895094" y="1798360"/>
                  <a:pt x="8895094" y="1887580"/>
                </a:cubicBezTo>
                <a:lnTo>
                  <a:pt x="8895028" y="1887898"/>
                </a:lnTo>
                <a:lnTo>
                  <a:pt x="8895094" y="1888215"/>
                </a:lnTo>
                <a:cubicBezTo>
                  <a:pt x="8895094" y="1977436"/>
                  <a:pt x="8822562" y="2049968"/>
                  <a:pt x="8733341" y="2049968"/>
                </a:cubicBezTo>
                <a:cubicBezTo>
                  <a:pt x="8644120" y="2049968"/>
                  <a:pt x="8571589" y="1977436"/>
                  <a:pt x="8571589" y="1888215"/>
                </a:cubicBezTo>
                <a:lnTo>
                  <a:pt x="8571653" y="1887898"/>
                </a:lnTo>
                <a:lnTo>
                  <a:pt x="8571589" y="1887580"/>
                </a:lnTo>
                <a:cubicBezTo>
                  <a:pt x="8571589" y="1798360"/>
                  <a:pt x="8644120" y="1725828"/>
                  <a:pt x="8733341" y="1725828"/>
                </a:cubicBezTo>
                <a:close/>
                <a:moveTo>
                  <a:pt x="9846351" y="1283568"/>
                </a:moveTo>
                <a:cubicBezTo>
                  <a:pt x="9872668" y="1283568"/>
                  <a:pt x="9893850" y="1304750"/>
                  <a:pt x="9893850" y="1331067"/>
                </a:cubicBezTo>
                <a:lnTo>
                  <a:pt x="9893849" y="1331071"/>
                </a:lnTo>
                <a:lnTo>
                  <a:pt x="9893850" y="1331074"/>
                </a:lnTo>
                <a:cubicBezTo>
                  <a:pt x="9893850" y="1357390"/>
                  <a:pt x="9872668" y="1378572"/>
                  <a:pt x="9846351" y="1378572"/>
                </a:cubicBezTo>
                <a:cubicBezTo>
                  <a:pt x="9820034" y="1378572"/>
                  <a:pt x="9798852" y="1357390"/>
                  <a:pt x="9798852" y="1331074"/>
                </a:cubicBezTo>
                <a:lnTo>
                  <a:pt x="9798853" y="1331071"/>
                </a:lnTo>
                <a:lnTo>
                  <a:pt x="9798852" y="1331067"/>
                </a:lnTo>
                <a:cubicBezTo>
                  <a:pt x="9798852" y="1304750"/>
                  <a:pt x="9820034" y="1283568"/>
                  <a:pt x="9846351" y="1283568"/>
                </a:cubicBezTo>
                <a:close/>
                <a:moveTo>
                  <a:pt x="9289846" y="1227085"/>
                </a:moveTo>
                <a:cubicBezTo>
                  <a:pt x="9346972" y="1227085"/>
                  <a:pt x="9393829" y="1273942"/>
                  <a:pt x="9393829" y="1331069"/>
                </a:cubicBezTo>
                <a:lnTo>
                  <a:pt x="9393764" y="1331392"/>
                </a:lnTo>
                <a:lnTo>
                  <a:pt x="9393829" y="1331716"/>
                </a:lnTo>
                <a:cubicBezTo>
                  <a:pt x="9393829" y="1388843"/>
                  <a:pt x="9346972" y="1435699"/>
                  <a:pt x="9289846" y="1435699"/>
                </a:cubicBezTo>
                <a:cubicBezTo>
                  <a:pt x="9232077" y="1435699"/>
                  <a:pt x="9185862" y="1388843"/>
                  <a:pt x="9185862" y="1331716"/>
                </a:cubicBezTo>
                <a:lnTo>
                  <a:pt x="9185928" y="1331392"/>
                </a:lnTo>
                <a:lnTo>
                  <a:pt x="9185862" y="1331069"/>
                </a:lnTo>
                <a:cubicBezTo>
                  <a:pt x="9185862" y="1273942"/>
                  <a:pt x="9232077" y="1227085"/>
                  <a:pt x="9289846" y="1227085"/>
                </a:cubicBezTo>
                <a:close/>
                <a:moveTo>
                  <a:pt x="8733341" y="1144925"/>
                </a:moveTo>
                <a:cubicBezTo>
                  <a:pt x="8836040" y="1144925"/>
                  <a:pt x="8919484" y="1228369"/>
                  <a:pt x="8919484" y="1331069"/>
                </a:cubicBezTo>
                <a:lnTo>
                  <a:pt x="8919483" y="1331072"/>
                </a:lnTo>
                <a:lnTo>
                  <a:pt x="8919484" y="1331076"/>
                </a:lnTo>
                <a:cubicBezTo>
                  <a:pt x="8919484" y="1433776"/>
                  <a:pt x="8836040" y="1517219"/>
                  <a:pt x="8733341" y="1517219"/>
                </a:cubicBezTo>
                <a:cubicBezTo>
                  <a:pt x="8630641" y="1517219"/>
                  <a:pt x="8547197" y="1433776"/>
                  <a:pt x="8547197" y="1331076"/>
                </a:cubicBezTo>
                <a:lnTo>
                  <a:pt x="8547198" y="1331072"/>
                </a:lnTo>
                <a:lnTo>
                  <a:pt x="8547197" y="1331069"/>
                </a:lnTo>
                <a:cubicBezTo>
                  <a:pt x="8547197" y="1228369"/>
                  <a:pt x="8630641" y="1144925"/>
                  <a:pt x="8733341" y="1144925"/>
                </a:cubicBezTo>
                <a:close/>
                <a:moveTo>
                  <a:pt x="9846351" y="721287"/>
                </a:moveTo>
                <a:cubicBezTo>
                  <a:pt x="9875877" y="721287"/>
                  <a:pt x="9899627" y="745036"/>
                  <a:pt x="9899627" y="774563"/>
                </a:cubicBezTo>
                <a:lnTo>
                  <a:pt x="9899626" y="774566"/>
                </a:lnTo>
                <a:lnTo>
                  <a:pt x="9899627" y="774569"/>
                </a:lnTo>
                <a:cubicBezTo>
                  <a:pt x="9899627" y="804095"/>
                  <a:pt x="9875877" y="827844"/>
                  <a:pt x="9846351" y="827844"/>
                </a:cubicBezTo>
                <a:cubicBezTo>
                  <a:pt x="9816825" y="827844"/>
                  <a:pt x="9793075" y="804095"/>
                  <a:pt x="9793075" y="774569"/>
                </a:cubicBezTo>
                <a:lnTo>
                  <a:pt x="9793076" y="774566"/>
                </a:lnTo>
                <a:lnTo>
                  <a:pt x="9793075" y="774563"/>
                </a:lnTo>
                <a:cubicBezTo>
                  <a:pt x="9793075" y="745036"/>
                  <a:pt x="9816825" y="721287"/>
                  <a:pt x="9846351" y="721287"/>
                </a:cubicBezTo>
                <a:close/>
                <a:moveTo>
                  <a:pt x="9289847" y="657747"/>
                </a:moveTo>
                <a:cubicBezTo>
                  <a:pt x="9354034" y="657747"/>
                  <a:pt x="9406667" y="709739"/>
                  <a:pt x="9406667" y="774568"/>
                </a:cubicBezTo>
                <a:lnTo>
                  <a:pt x="9406601" y="774885"/>
                </a:lnTo>
                <a:lnTo>
                  <a:pt x="9406667" y="775204"/>
                </a:lnTo>
                <a:cubicBezTo>
                  <a:pt x="9406667" y="840033"/>
                  <a:pt x="9354034" y="892025"/>
                  <a:pt x="9289847" y="892025"/>
                </a:cubicBezTo>
                <a:cubicBezTo>
                  <a:pt x="9225017" y="892025"/>
                  <a:pt x="9173025" y="839391"/>
                  <a:pt x="9173025" y="775204"/>
                </a:cubicBezTo>
                <a:lnTo>
                  <a:pt x="9173089" y="774886"/>
                </a:lnTo>
                <a:lnTo>
                  <a:pt x="9173025" y="774568"/>
                </a:lnTo>
                <a:cubicBezTo>
                  <a:pt x="9173025" y="710381"/>
                  <a:pt x="9225017" y="657747"/>
                  <a:pt x="9289847" y="657747"/>
                </a:cubicBezTo>
                <a:close/>
                <a:moveTo>
                  <a:pt x="8733165" y="568394"/>
                </a:moveTo>
                <a:lnTo>
                  <a:pt x="8738850" y="568939"/>
                </a:lnTo>
                <a:lnTo>
                  <a:pt x="8739361" y="568866"/>
                </a:lnTo>
                <a:lnTo>
                  <a:pt x="8742720" y="569310"/>
                </a:lnTo>
                <a:lnTo>
                  <a:pt x="8772517" y="572166"/>
                </a:lnTo>
                <a:lnTo>
                  <a:pt x="8779110" y="574120"/>
                </a:lnTo>
                <a:lnTo>
                  <a:pt x="8780734" y="574335"/>
                </a:lnTo>
                <a:lnTo>
                  <a:pt x="8786198" y="576220"/>
                </a:lnTo>
                <a:lnTo>
                  <a:pt x="8810698" y="583481"/>
                </a:lnTo>
                <a:lnTo>
                  <a:pt x="8817299" y="586955"/>
                </a:lnTo>
                <a:lnTo>
                  <a:pt x="8820184" y="587951"/>
                </a:lnTo>
                <a:lnTo>
                  <a:pt x="8828406" y="592800"/>
                </a:lnTo>
                <a:lnTo>
                  <a:pt x="8846535" y="602340"/>
                </a:lnTo>
                <a:lnTo>
                  <a:pt x="8851608" y="606484"/>
                </a:lnTo>
                <a:lnTo>
                  <a:pt x="8855065" y="608523"/>
                </a:lnTo>
                <a:lnTo>
                  <a:pt x="8858018" y="611719"/>
                </a:lnTo>
                <a:lnTo>
                  <a:pt x="8878857" y="628742"/>
                </a:lnTo>
                <a:lnTo>
                  <a:pt x="8891949" y="648458"/>
                </a:lnTo>
                <a:lnTo>
                  <a:pt x="8908655" y="666546"/>
                </a:lnTo>
                <a:lnTo>
                  <a:pt x="8914857" y="682955"/>
                </a:lnTo>
                <a:lnTo>
                  <a:pt x="8924117" y="696901"/>
                </a:lnTo>
                <a:lnTo>
                  <a:pt x="8928352" y="718665"/>
                </a:lnTo>
                <a:lnTo>
                  <a:pt x="8936578" y="740430"/>
                </a:lnTo>
                <a:lnTo>
                  <a:pt x="8938781" y="772260"/>
                </a:lnTo>
                <a:lnTo>
                  <a:pt x="8939204" y="774434"/>
                </a:lnTo>
                <a:lnTo>
                  <a:pt x="8939003" y="775467"/>
                </a:lnTo>
                <a:lnTo>
                  <a:pt x="8939374" y="780829"/>
                </a:lnTo>
                <a:cubicBezTo>
                  <a:pt x="8938963" y="794513"/>
                  <a:pt x="8937175" y="808359"/>
                  <a:pt x="8933906" y="822202"/>
                </a:cubicBezTo>
                <a:lnTo>
                  <a:pt x="8926978" y="837265"/>
                </a:lnTo>
                <a:lnTo>
                  <a:pt x="8924117" y="851967"/>
                </a:lnTo>
                <a:lnTo>
                  <a:pt x="8911425" y="871080"/>
                </a:lnTo>
                <a:lnTo>
                  <a:pt x="8899718" y="896533"/>
                </a:lnTo>
                <a:lnTo>
                  <a:pt x="8886283" y="908942"/>
                </a:lnTo>
                <a:lnTo>
                  <a:pt x="8878856" y="920126"/>
                </a:lnTo>
                <a:cubicBezTo>
                  <a:pt x="8868798" y="930184"/>
                  <a:pt x="8857959" y="938984"/>
                  <a:pt x="8846534" y="946528"/>
                </a:cubicBezTo>
                <a:lnTo>
                  <a:pt x="8844334" y="947686"/>
                </a:lnTo>
                <a:lnTo>
                  <a:pt x="8841695" y="950123"/>
                </a:lnTo>
                <a:cubicBezTo>
                  <a:pt x="8819267" y="963982"/>
                  <a:pt x="8794196" y="973564"/>
                  <a:pt x="8767810" y="978046"/>
                </a:cubicBezTo>
                <a:lnTo>
                  <a:pt x="8734266" y="980368"/>
                </a:lnTo>
                <a:lnTo>
                  <a:pt x="8733165" y="980473"/>
                </a:lnTo>
                <a:lnTo>
                  <a:pt x="8732987" y="980456"/>
                </a:lnTo>
                <a:lnTo>
                  <a:pt x="8727412" y="980842"/>
                </a:lnTo>
                <a:lnTo>
                  <a:pt x="8702082" y="977494"/>
                </a:lnTo>
                <a:lnTo>
                  <a:pt x="8693812" y="976701"/>
                </a:lnTo>
                <a:lnTo>
                  <a:pt x="8691982" y="976159"/>
                </a:lnTo>
                <a:lnTo>
                  <a:pt x="8686038" y="975373"/>
                </a:lnTo>
                <a:lnTo>
                  <a:pt x="8666035" y="968469"/>
                </a:lnTo>
                <a:lnTo>
                  <a:pt x="8655632" y="965386"/>
                </a:lnTo>
                <a:lnTo>
                  <a:pt x="8652829" y="963911"/>
                </a:lnTo>
                <a:lnTo>
                  <a:pt x="8646588" y="961757"/>
                </a:lnTo>
                <a:lnTo>
                  <a:pt x="8628806" y="951270"/>
                </a:lnTo>
                <a:lnTo>
                  <a:pt x="8619795" y="946528"/>
                </a:lnTo>
                <a:lnTo>
                  <a:pt x="8617273" y="944468"/>
                </a:lnTo>
                <a:lnTo>
                  <a:pt x="8611707" y="941186"/>
                </a:lnTo>
                <a:lnTo>
                  <a:pt x="8606954" y="936039"/>
                </a:lnTo>
                <a:lnTo>
                  <a:pt x="8587473" y="920126"/>
                </a:lnTo>
                <a:lnTo>
                  <a:pt x="8575234" y="901695"/>
                </a:lnTo>
                <a:lnTo>
                  <a:pt x="8558117" y="883162"/>
                </a:lnTo>
                <a:lnTo>
                  <a:pt x="8551763" y="866350"/>
                </a:lnTo>
                <a:lnTo>
                  <a:pt x="8542212" y="851967"/>
                </a:lnTo>
                <a:lnTo>
                  <a:pt x="8537844" y="829519"/>
                </a:lnTo>
                <a:lnTo>
                  <a:pt x="8530194" y="809278"/>
                </a:lnTo>
                <a:lnTo>
                  <a:pt x="8528145" y="779677"/>
                </a:lnTo>
                <a:lnTo>
                  <a:pt x="8527125" y="774434"/>
                </a:lnTo>
                <a:lnTo>
                  <a:pt x="8527610" y="771942"/>
                </a:lnTo>
                <a:lnTo>
                  <a:pt x="8527398" y="768879"/>
                </a:lnTo>
                <a:cubicBezTo>
                  <a:pt x="8527809" y="755195"/>
                  <a:pt x="8529597" y="741349"/>
                  <a:pt x="8532866" y="727506"/>
                </a:cubicBezTo>
                <a:lnTo>
                  <a:pt x="8539052" y="713137"/>
                </a:lnTo>
                <a:lnTo>
                  <a:pt x="8542212" y="696901"/>
                </a:lnTo>
                <a:lnTo>
                  <a:pt x="8553108" y="680492"/>
                </a:lnTo>
                <a:lnTo>
                  <a:pt x="8561314" y="661433"/>
                </a:lnTo>
                <a:lnTo>
                  <a:pt x="8576600" y="645115"/>
                </a:lnTo>
                <a:lnTo>
                  <a:pt x="8587472" y="628742"/>
                </a:lnTo>
                <a:lnTo>
                  <a:pt x="8606485" y="613212"/>
                </a:lnTo>
                <a:lnTo>
                  <a:pt x="8608773" y="610769"/>
                </a:lnTo>
                <a:lnTo>
                  <a:pt x="8610724" y="609749"/>
                </a:lnTo>
                <a:lnTo>
                  <a:pt x="8619794" y="602340"/>
                </a:lnTo>
                <a:cubicBezTo>
                  <a:pt x="8631219" y="594797"/>
                  <a:pt x="8643230" y="588510"/>
                  <a:pt x="8655631" y="583481"/>
                </a:cubicBezTo>
                <a:lnTo>
                  <a:pt x="8667964" y="579826"/>
                </a:lnTo>
                <a:lnTo>
                  <a:pt x="8669903" y="578812"/>
                </a:lnTo>
                <a:lnTo>
                  <a:pt x="8672770" y="578402"/>
                </a:lnTo>
                <a:lnTo>
                  <a:pt x="8693812" y="572166"/>
                </a:lnTo>
                <a:cubicBezTo>
                  <a:pt x="8706799" y="569651"/>
                  <a:pt x="8719982" y="568394"/>
                  <a:pt x="8733165" y="568394"/>
                </a:cubicBezTo>
                <a:close/>
                <a:moveTo>
                  <a:pt x="9846351" y="162856"/>
                </a:moveTo>
                <a:cubicBezTo>
                  <a:pt x="9869459" y="162856"/>
                  <a:pt x="9888955" y="176576"/>
                  <a:pt x="9897259" y="196434"/>
                </a:cubicBezTo>
                <a:lnTo>
                  <a:pt x="9901550" y="218047"/>
                </a:lnTo>
                <a:lnTo>
                  <a:pt x="9901550" y="218073"/>
                </a:lnTo>
                <a:lnTo>
                  <a:pt x="9897259" y="239415"/>
                </a:lnTo>
                <a:cubicBezTo>
                  <a:pt x="9888955" y="259183"/>
                  <a:pt x="9869459" y="273264"/>
                  <a:pt x="9846351" y="273264"/>
                </a:cubicBezTo>
                <a:lnTo>
                  <a:pt x="9842370" y="272457"/>
                </a:lnTo>
                <a:lnTo>
                  <a:pt x="9824999" y="268965"/>
                </a:lnTo>
                <a:lnTo>
                  <a:pt x="9824937" y="268924"/>
                </a:lnTo>
                <a:lnTo>
                  <a:pt x="9824728" y="268881"/>
                </a:lnTo>
                <a:lnTo>
                  <a:pt x="9814698" y="262071"/>
                </a:lnTo>
                <a:lnTo>
                  <a:pt x="9807437" y="257211"/>
                </a:lnTo>
                <a:lnTo>
                  <a:pt x="9807348" y="257080"/>
                </a:lnTo>
                <a:lnTo>
                  <a:pt x="9807197" y="256977"/>
                </a:lnTo>
                <a:lnTo>
                  <a:pt x="9801574" y="248576"/>
                </a:lnTo>
                <a:lnTo>
                  <a:pt x="9795533" y="239680"/>
                </a:lnTo>
                <a:lnTo>
                  <a:pt x="9795495" y="239494"/>
                </a:lnTo>
                <a:lnTo>
                  <a:pt x="9795442" y="239415"/>
                </a:lnTo>
                <a:cubicBezTo>
                  <a:pt x="9792674" y="232826"/>
                  <a:pt x="9791150" y="225605"/>
                  <a:pt x="9791150" y="218063"/>
                </a:cubicBezTo>
                <a:lnTo>
                  <a:pt x="9791151" y="218060"/>
                </a:lnTo>
                <a:lnTo>
                  <a:pt x="9791150" y="218057"/>
                </a:lnTo>
                <a:cubicBezTo>
                  <a:pt x="9791150" y="210515"/>
                  <a:pt x="9792674" y="203294"/>
                  <a:pt x="9795442" y="196704"/>
                </a:cubicBezTo>
                <a:lnTo>
                  <a:pt x="9795495" y="196626"/>
                </a:lnTo>
                <a:lnTo>
                  <a:pt x="9795533" y="196440"/>
                </a:lnTo>
                <a:lnTo>
                  <a:pt x="9801568" y="187552"/>
                </a:lnTo>
                <a:lnTo>
                  <a:pt x="9807197" y="179143"/>
                </a:lnTo>
                <a:lnTo>
                  <a:pt x="9807349" y="179040"/>
                </a:lnTo>
                <a:lnTo>
                  <a:pt x="9807437" y="178909"/>
                </a:lnTo>
                <a:lnTo>
                  <a:pt x="9814685" y="174058"/>
                </a:lnTo>
                <a:lnTo>
                  <a:pt x="9824728" y="167238"/>
                </a:lnTo>
                <a:lnTo>
                  <a:pt x="9824937" y="167196"/>
                </a:lnTo>
                <a:lnTo>
                  <a:pt x="9824999" y="167155"/>
                </a:lnTo>
                <a:lnTo>
                  <a:pt x="9842295" y="163678"/>
                </a:lnTo>
                <a:close/>
                <a:moveTo>
                  <a:pt x="9289846" y="94817"/>
                </a:moveTo>
                <a:cubicBezTo>
                  <a:pt x="9357885" y="94817"/>
                  <a:pt x="9413086" y="150018"/>
                  <a:pt x="9413086" y="218057"/>
                </a:cubicBezTo>
                <a:lnTo>
                  <a:pt x="9413085" y="218060"/>
                </a:lnTo>
                <a:lnTo>
                  <a:pt x="9413086" y="218064"/>
                </a:lnTo>
                <a:cubicBezTo>
                  <a:pt x="9413086" y="286103"/>
                  <a:pt x="9357885" y="341304"/>
                  <a:pt x="9289846" y="341304"/>
                </a:cubicBezTo>
                <a:cubicBezTo>
                  <a:pt x="9221807" y="341304"/>
                  <a:pt x="9166606" y="286103"/>
                  <a:pt x="9166606" y="218064"/>
                </a:cubicBezTo>
                <a:lnTo>
                  <a:pt x="9166607" y="218060"/>
                </a:lnTo>
                <a:lnTo>
                  <a:pt x="9166606" y="218057"/>
                </a:lnTo>
                <a:cubicBezTo>
                  <a:pt x="9166606" y="150018"/>
                  <a:pt x="9221807" y="94817"/>
                  <a:pt x="9289846" y="94817"/>
                </a:cubicBezTo>
                <a:close/>
                <a:moveTo>
                  <a:pt x="8726879" y="5061"/>
                </a:moveTo>
                <a:lnTo>
                  <a:pt x="8732902" y="5478"/>
                </a:lnTo>
                <a:lnTo>
                  <a:pt x="8733282" y="5442"/>
                </a:lnTo>
                <a:lnTo>
                  <a:pt x="8735639" y="5668"/>
                </a:lnTo>
                <a:lnTo>
                  <a:pt x="8768536" y="7945"/>
                </a:lnTo>
                <a:lnTo>
                  <a:pt x="8773514" y="9298"/>
                </a:lnTo>
                <a:lnTo>
                  <a:pt x="8773860" y="9331"/>
                </a:lnTo>
                <a:lnTo>
                  <a:pt x="8776342" y="10066"/>
                </a:lnTo>
                <a:lnTo>
                  <a:pt x="8808159" y="18715"/>
                </a:lnTo>
                <a:lnTo>
                  <a:pt x="8812132" y="20673"/>
                </a:lnTo>
                <a:lnTo>
                  <a:pt x="8813230" y="20999"/>
                </a:lnTo>
                <a:lnTo>
                  <a:pt x="8819708" y="24407"/>
                </a:lnTo>
                <a:lnTo>
                  <a:pt x="8844722" y="36737"/>
                </a:lnTo>
                <a:lnTo>
                  <a:pt x="8846819" y="38674"/>
                </a:lnTo>
                <a:lnTo>
                  <a:pt x="8850184" y="40445"/>
                </a:lnTo>
                <a:cubicBezTo>
                  <a:pt x="8861964" y="48223"/>
                  <a:pt x="8873141" y="57298"/>
                  <a:pt x="8883512" y="67669"/>
                </a:cubicBezTo>
                <a:lnTo>
                  <a:pt x="8891917" y="80327"/>
                </a:lnTo>
                <a:lnTo>
                  <a:pt x="8904553" y="91997"/>
                </a:lnTo>
                <a:lnTo>
                  <a:pt x="8915563" y="115935"/>
                </a:lnTo>
                <a:lnTo>
                  <a:pt x="8930183" y="137952"/>
                </a:lnTo>
                <a:lnTo>
                  <a:pt x="8933479" y="154886"/>
                </a:lnTo>
                <a:lnTo>
                  <a:pt x="8939806" y="168642"/>
                </a:lnTo>
                <a:cubicBezTo>
                  <a:pt x="8943177" y="182917"/>
                  <a:pt x="8945021" y="197195"/>
                  <a:pt x="8945445" y="211305"/>
                </a:cubicBezTo>
                <a:lnTo>
                  <a:pt x="8945186" y="215047"/>
                </a:lnTo>
                <a:lnTo>
                  <a:pt x="8945741" y="217900"/>
                </a:lnTo>
                <a:lnTo>
                  <a:pt x="8944573" y="223902"/>
                </a:lnTo>
                <a:lnTo>
                  <a:pt x="8942561" y="252962"/>
                </a:lnTo>
                <a:lnTo>
                  <a:pt x="8935051" y="272834"/>
                </a:lnTo>
                <a:lnTo>
                  <a:pt x="8930184" y="297848"/>
                </a:lnTo>
                <a:lnTo>
                  <a:pt x="8919541" y="313876"/>
                </a:lnTo>
                <a:lnTo>
                  <a:pt x="8913769" y="329149"/>
                </a:lnTo>
                <a:lnTo>
                  <a:pt x="8898219" y="345985"/>
                </a:lnTo>
                <a:lnTo>
                  <a:pt x="8883513" y="368131"/>
                </a:lnTo>
                <a:lnTo>
                  <a:pt x="8860106" y="387251"/>
                </a:lnTo>
                <a:lnTo>
                  <a:pt x="8858509" y="388980"/>
                </a:lnTo>
                <a:lnTo>
                  <a:pt x="8856639" y="390083"/>
                </a:lnTo>
                <a:lnTo>
                  <a:pt x="8850184" y="395355"/>
                </a:lnTo>
                <a:lnTo>
                  <a:pt x="8827118" y="407493"/>
                </a:lnTo>
                <a:lnTo>
                  <a:pt x="8822541" y="410192"/>
                </a:lnTo>
                <a:lnTo>
                  <a:pt x="8820935" y="410747"/>
                </a:lnTo>
                <a:lnTo>
                  <a:pt x="8813231" y="414801"/>
                </a:lnTo>
                <a:lnTo>
                  <a:pt x="8784638" y="423275"/>
                </a:lnTo>
                <a:lnTo>
                  <a:pt x="8781862" y="424233"/>
                </a:lnTo>
                <a:lnTo>
                  <a:pt x="8781037" y="424342"/>
                </a:lnTo>
                <a:lnTo>
                  <a:pt x="8773861" y="426469"/>
                </a:lnTo>
                <a:lnTo>
                  <a:pt x="8741428" y="429577"/>
                </a:lnTo>
                <a:lnTo>
                  <a:pt x="8739200" y="429872"/>
                </a:lnTo>
                <a:lnTo>
                  <a:pt x="8738709" y="429838"/>
                </a:lnTo>
                <a:lnTo>
                  <a:pt x="8733283" y="430358"/>
                </a:lnTo>
                <a:lnTo>
                  <a:pt x="8699647" y="427134"/>
                </a:lnTo>
                <a:lnTo>
                  <a:pt x="8697543" y="426988"/>
                </a:lnTo>
                <a:lnTo>
                  <a:pt x="8697225" y="426902"/>
                </a:lnTo>
                <a:lnTo>
                  <a:pt x="8692704" y="426469"/>
                </a:lnTo>
                <a:lnTo>
                  <a:pt x="8660296" y="416864"/>
                </a:lnTo>
                <a:lnTo>
                  <a:pt x="8657920" y="416218"/>
                </a:lnTo>
                <a:lnTo>
                  <a:pt x="8657623" y="416072"/>
                </a:lnTo>
                <a:lnTo>
                  <a:pt x="8653334" y="414801"/>
                </a:lnTo>
                <a:lnTo>
                  <a:pt x="8628036" y="401488"/>
                </a:lnTo>
                <a:lnTo>
                  <a:pt x="8621357" y="398196"/>
                </a:lnTo>
                <a:lnTo>
                  <a:pt x="8620797" y="397678"/>
                </a:lnTo>
                <a:lnTo>
                  <a:pt x="8616381" y="395354"/>
                </a:lnTo>
                <a:cubicBezTo>
                  <a:pt x="8604600" y="387576"/>
                  <a:pt x="8593423" y="378501"/>
                  <a:pt x="8583052" y="368130"/>
                </a:cubicBezTo>
                <a:lnTo>
                  <a:pt x="8573928" y="354390"/>
                </a:lnTo>
                <a:lnTo>
                  <a:pt x="8561526" y="342936"/>
                </a:lnTo>
                <a:lnTo>
                  <a:pt x="8550719" y="319439"/>
                </a:lnTo>
                <a:lnTo>
                  <a:pt x="8536381" y="297848"/>
                </a:lnTo>
                <a:lnTo>
                  <a:pt x="8533150" y="281241"/>
                </a:lnTo>
                <a:lnTo>
                  <a:pt x="8526273" y="266289"/>
                </a:lnTo>
                <a:cubicBezTo>
                  <a:pt x="8522903" y="252015"/>
                  <a:pt x="8521058" y="237737"/>
                  <a:pt x="8520634" y="223627"/>
                </a:cubicBezTo>
                <a:lnTo>
                  <a:pt x="8520977" y="218681"/>
                </a:lnTo>
                <a:lnTo>
                  <a:pt x="8520825" y="217900"/>
                </a:lnTo>
                <a:lnTo>
                  <a:pt x="8521144" y="216256"/>
                </a:lnTo>
                <a:lnTo>
                  <a:pt x="8523518" y="181970"/>
                </a:lnTo>
                <a:lnTo>
                  <a:pt x="8532378" y="158525"/>
                </a:lnTo>
                <a:lnTo>
                  <a:pt x="8536381" y="137951"/>
                </a:lnTo>
                <a:lnTo>
                  <a:pt x="8545135" y="124769"/>
                </a:lnTo>
                <a:lnTo>
                  <a:pt x="8552310" y="105784"/>
                </a:lnTo>
                <a:lnTo>
                  <a:pt x="8571639" y="84856"/>
                </a:lnTo>
                <a:lnTo>
                  <a:pt x="8583052" y="67669"/>
                </a:lnTo>
                <a:lnTo>
                  <a:pt x="8601218" y="52830"/>
                </a:lnTo>
                <a:lnTo>
                  <a:pt x="8607570" y="45953"/>
                </a:lnTo>
                <a:lnTo>
                  <a:pt x="8615007" y="41567"/>
                </a:lnTo>
                <a:lnTo>
                  <a:pt x="8616381" y="40445"/>
                </a:lnTo>
                <a:lnTo>
                  <a:pt x="8621291" y="37861"/>
                </a:lnTo>
                <a:lnTo>
                  <a:pt x="8643537" y="24741"/>
                </a:lnTo>
                <a:lnTo>
                  <a:pt x="8651343" y="22046"/>
                </a:lnTo>
                <a:lnTo>
                  <a:pt x="8653334" y="20998"/>
                </a:lnTo>
                <a:lnTo>
                  <a:pt x="8660724" y="18809"/>
                </a:lnTo>
                <a:lnTo>
                  <a:pt x="8684216" y="10700"/>
                </a:lnTo>
                <a:lnTo>
                  <a:pt x="8691197" y="9777"/>
                </a:lnTo>
                <a:lnTo>
                  <a:pt x="8692704" y="9331"/>
                </a:lnTo>
                <a:lnTo>
                  <a:pt x="8699514" y="8678"/>
                </a:lnTo>
                <a:close/>
                <a:moveTo>
                  <a:pt x="0" y="0"/>
                </a:moveTo>
                <a:lnTo>
                  <a:pt x="8399148" y="0"/>
                </a:lnTo>
                <a:lnTo>
                  <a:pt x="8442653" y="52212"/>
                </a:lnTo>
                <a:cubicBezTo>
                  <a:pt x="8472741" y="100272"/>
                  <a:pt x="8490071" y="157078"/>
                  <a:pt x="8490071" y="218056"/>
                </a:cubicBezTo>
                <a:cubicBezTo>
                  <a:pt x="8490071" y="341296"/>
                  <a:pt x="8418823" y="447847"/>
                  <a:pt x="8315481" y="496629"/>
                </a:cubicBezTo>
                <a:cubicBezTo>
                  <a:pt x="8415613" y="547337"/>
                  <a:pt x="8484936" y="651321"/>
                  <a:pt x="8484936" y="771993"/>
                </a:cubicBezTo>
                <a:cubicBezTo>
                  <a:pt x="8484936" y="905503"/>
                  <a:pt x="8399567" y="1019115"/>
                  <a:pt x="8280820" y="1062120"/>
                </a:cubicBezTo>
                <a:cubicBezTo>
                  <a:pt x="8387371" y="1103842"/>
                  <a:pt x="8463112" y="1207184"/>
                  <a:pt x="8463112" y="1328498"/>
                </a:cubicBezTo>
                <a:cubicBezTo>
                  <a:pt x="8463112" y="1486399"/>
                  <a:pt x="8334738" y="1614774"/>
                  <a:pt x="8176837" y="1614774"/>
                </a:cubicBezTo>
                <a:cubicBezTo>
                  <a:pt x="8085048" y="1614774"/>
                  <a:pt x="8003531" y="1571127"/>
                  <a:pt x="7950897" y="1503730"/>
                </a:cubicBezTo>
                <a:cubicBezTo>
                  <a:pt x="7925222" y="1551870"/>
                  <a:pt x="7889918" y="1593592"/>
                  <a:pt x="7846913" y="1626328"/>
                </a:cubicBezTo>
                <a:cubicBezTo>
                  <a:pt x="7891844" y="1665482"/>
                  <a:pt x="7926506" y="1716832"/>
                  <a:pt x="7946404" y="1775243"/>
                </a:cubicBezTo>
                <a:cubicBezTo>
                  <a:pt x="7987484" y="1689232"/>
                  <a:pt x="8074779" y="1629537"/>
                  <a:pt x="8176837" y="1629537"/>
                </a:cubicBezTo>
                <a:cubicBezTo>
                  <a:pt x="8318049" y="1629537"/>
                  <a:pt x="8432302" y="1743791"/>
                  <a:pt x="8432302" y="1885003"/>
                </a:cubicBezTo>
                <a:cubicBezTo>
                  <a:pt x="8432302" y="2026216"/>
                  <a:pt x="8318049" y="2140469"/>
                  <a:pt x="8176837" y="2140469"/>
                </a:cubicBezTo>
                <a:cubicBezTo>
                  <a:pt x="8075420" y="2140469"/>
                  <a:pt x="7987484" y="2080775"/>
                  <a:pt x="7946404" y="1994764"/>
                </a:cubicBezTo>
                <a:cubicBezTo>
                  <a:pt x="7918803" y="2076923"/>
                  <a:pt x="7861034" y="2145604"/>
                  <a:pt x="7786577" y="2186684"/>
                </a:cubicBezTo>
                <a:cubicBezTo>
                  <a:pt x="7870021" y="2241244"/>
                  <a:pt x="7925222" y="2334957"/>
                  <a:pt x="7925222" y="2442150"/>
                </a:cubicBezTo>
                <a:cubicBezTo>
                  <a:pt x="7925222" y="2610963"/>
                  <a:pt x="7788503" y="2747041"/>
                  <a:pt x="7620331" y="2747041"/>
                </a:cubicBezTo>
                <a:cubicBezTo>
                  <a:pt x="7526618" y="2747041"/>
                  <a:pt x="7443174" y="2704677"/>
                  <a:pt x="7387331" y="2638564"/>
                </a:cubicBezTo>
                <a:cubicBezTo>
                  <a:pt x="7359730" y="2683495"/>
                  <a:pt x="7323786" y="2722007"/>
                  <a:pt x="7280780" y="2752175"/>
                </a:cubicBezTo>
                <a:cubicBezTo>
                  <a:pt x="7330204" y="2795823"/>
                  <a:pt x="7366791" y="2854234"/>
                  <a:pt x="7382838" y="2920347"/>
                </a:cubicBezTo>
                <a:cubicBezTo>
                  <a:pt x="7415574" y="2821498"/>
                  <a:pt x="7509288" y="2749608"/>
                  <a:pt x="7619690" y="2749608"/>
                </a:cubicBezTo>
                <a:cubicBezTo>
                  <a:pt x="7758334" y="2749608"/>
                  <a:pt x="7870021" y="2861936"/>
                  <a:pt x="7870021" y="2999939"/>
                </a:cubicBezTo>
                <a:cubicBezTo>
                  <a:pt x="7870021" y="3138584"/>
                  <a:pt x="7757693" y="3250270"/>
                  <a:pt x="7619690" y="3250270"/>
                </a:cubicBezTo>
                <a:cubicBezTo>
                  <a:pt x="7509288" y="3250270"/>
                  <a:pt x="7416216" y="3179022"/>
                  <a:pt x="7382838" y="3079531"/>
                </a:cubicBezTo>
                <a:cubicBezTo>
                  <a:pt x="7355879" y="3188650"/>
                  <a:pt x="7275645" y="3275945"/>
                  <a:pt x="7171019" y="3311890"/>
                </a:cubicBezTo>
                <a:cubicBezTo>
                  <a:pt x="7265375" y="3353612"/>
                  <a:pt x="7331488" y="3447967"/>
                  <a:pt x="7331488" y="3557728"/>
                </a:cubicBezTo>
                <a:cubicBezTo>
                  <a:pt x="7331488" y="3706001"/>
                  <a:pt x="7211458" y="3826031"/>
                  <a:pt x="7063185" y="3826031"/>
                </a:cubicBezTo>
                <a:cubicBezTo>
                  <a:pt x="6954066" y="3826031"/>
                  <a:pt x="6860994" y="3761202"/>
                  <a:pt x="6818631" y="3668130"/>
                </a:cubicBezTo>
                <a:cubicBezTo>
                  <a:pt x="6783328" y="3767621"/>
                  <a:pt x="6701809" y="3845287"/>
                  <a:pt x="6599751" y="3875455"/>
                </a:cubicBezTo>
                <a:cubicBezTo>
                  <a:pt x="6695391" y="3912684"/>
                  <a:pt x="6763429" y="4005114"/>
                  <a:pt x="6763429" y="4114233"/>
                </a:cubicBezTo>
                <a:cubicBezTo>
                  <a:pt x="6763429" y="4256087"/>
                  <a:pt x="6648534" y="4370982"/>
                  <a:pt x="6506680" y="4370982"/>
                </a:cubicBezTo>
                <a:cubicBezTo>
                  <a:pt x="6386008" y="4370982"/>
                  <a:pt x="6284591" y="4286897"/>
                  <a:pt x="6257633" y="4174569"/>
                </a:cubicBezTo>
                <a:cubicBezTo>
                  <a:pt x="6229390" y="4318991"/>
                  <a:pt x="6102299" y="4427467"/>
                  <a:pt x="5950176" y="4427467"/>
                </a:cubicBezTo>
                <a:cubicBezTo>
                  <a:pt x="5846833" y="4427467"/>
                  <a:pt x="5755045" y="4377401"/>
                  <a:pt x="5697918" y="4300376"/>
                </a:cubicBezTo>
                <a:cubicBezTo>
                  <a:pt x="5660047" y="4362638"/>
                  <a:pt x="5603563" y="4412063"/>
                  <a:pt x="5536166" y="4441589"/>
                </a:cubicBezTo>
                <a:cubicBezTo>
                  <a:pt x="5612549" y="4489729"/>
                  <a:pt x="5663899" y="4574457"/>
                  <a:pt x="5663899" y="4671380"/>
                </a:cubicBezTo>
                <a:cubicBezTo>
                  <a:pt x="5663899" y="4820294"/>
                  <a:pt x="5543226" y="4941609"/>
                  <a:pt x="5393671" y="4941609"/>
                </a:cubicBezTo>
                <a:cubicBezTo>
                  <a:pt x="5269788" y="4941609"/>
                  <a:pt x="5165804" y="4857523"/>
                  <a:pt x="5133711" y="4743911"/>
                </a:cubicBezTo>
                <a:cubicBezTo>
                  <a:pt x="5100975" y="4877421"/>
                  <a:pt x="4980303" y="4976270"/>
                  <a:pt x="4837165" y="4976270"/>
                </a:cubicBezTo>
                <a:cubicBezTo>
                  <a:pt x="4722911" y="4976270"/>
                  <a:pt x="4624063" y="4913366"/>
                  <a:pt x="4571430" y="4820936"/>
                </a:cubicBezTo>
                <a:cubicBezTo>
                  <a:pt x="4516871" y="4926204"/>
                  <a:pt x="4407109" y="4998093"/>
                  <a:pt x="4280660" y="4998093"/>
                </a:cubicBezTo>
                <a:cubicBezTo>
                  <a:pt x="4167048" y="4998093"/>
                  <a:pt x="4066274" y="4939683"/>
                  <a:pt x="4007863" y="4851105"/>
                </a:cubicBezTo>
                <a:cubicBezTo>
                  <a:pt x="3960364" y="4925562"/>
                  <a:pt x="3884623" y="4980121"/>
                  <a:pt x="3796045" y="4999377"/>
                </a:cubicBezTo>
                <a:cubicBezTo>
                  <a:pt x="3892968" y="5030187"/>
                  <a:pt x="3962932" y="5120692"/>
                  <a:pt x="3962932" y="5227885"/>
                </a:cubicBezTo>
                <a:cubicBezTo>
                  <a:pt x="3962932" y="5360111"/>
                  <a:pt x="3855739" y="5467304"/>
                  <a:pt x="3723513" y="5467304"/>
                </a:cubicBezTo>
                <a:cubicBezTo>
                  <a:pt x="3591287" y="5467304"/>
                  <a:pt x="3484094" y="5360111"/>
                  <a:pt x="3484094" y="5227885"/>
                </a:cubicBezTo>
                <a:cubicBezTo>
                  <a:pt x="3484094" y="5120692"/>
                  <a:pt x="3554058" y="5030187"/>
                  <a:pt x="3650981" y="4999377"/>
                </a:cubicBezTo>
                <a:cubicBezTo>
                  <a:pt x="3565612" y="4980763"/>
                  <a:pt x="3492438" y="4929413"/>
                  <a:pt x="3444939" y="4859449"/>
                </a:cubicBezTo>
                <a:cubicBezTo>
                  <a:pt x="3397441" y="4929413"/>
                  <a:pt x="3324267" y="4980763"/>
                  <a:pt x="3238898" y="4999377"/>
                </a:cubicBezTo>
                <a:cubicBezTo>
                  <a:pt x="3335821" y="5030187"/>
                  <a:pt x="3405785" y="5120692"/>
                  <a:pt x="3405785" y="5227885"/>
                </a:cubicBezTo>
                <a:cubicBezTo>
                  <a:pt x="3405785" y="5360111"/>
                  <a:pt x="3298592" y="5467304"/>
                  <a:pt x="3166366" y="5467304"/>
                </a:cubicBezTo>
                <a:cubicBezTo>
                  <a:pt x="3034140" y="5467304"/>
                  <a:pt x="2926947" y="5360111"/>
                  <a:pt x="2926947" y="5227885"/>
                </a:cubicBezTo>
                <a:cubicBezTo>
                  <a:pt x="2926947" y="5120692"/>
                  <a:pt x="2996911" y="5030187"/>
                  <a:pt x="3093834" y="4999377"/>
                </a:cubicBezTo>
                <a:cubicBezTo>
                  <a:pt x="3004614" y="4979480"/>
                  <a:pt x="2929514" y="4925562"/>
                  <a:pt x="2882016" y="4851105"/>
                </a:cubicBezTo>
                <a:cubicBezTo>
                  <a:pt x="2823605" y="4939683"/>
                  <a:pt x="2723473" y="4998093"/>
                  <a:pt x="2609219" y="4998093"/>
                </a:cubicBezTo>
                <a:cubicBezTo>
                  <a:pt x="2482770" y="4998093"/>
                  <a:pt x="2373009" y="4926204"/>
                  <a:pt x="2318450" y="4820936"/>
                </a:cubicBezTo>
                <a:cubicBezTo>
                  <a:pt x="2266458" y="4913366"/>
                  <a:pt x="2166968" y="4976270"/>
                  <a:pt x="2052714" y="4976270"/>
                </a:cubicBezTo>
                <a:cubicBezTo>
                  <a:pt x="1908934" y="4976270"/>
                  <a:pt x="1788904" y="4877421"/>
                  <a:pt x="1756168" y="4743911"/>
                </a:cubicBezTo>
                <a:cubicBezTo>
                  <a:pt x="1724716" y="4858165"/>
                  <a:pt x="1620091" y="4941609"/>
                  <a:pt x="1496209" y="4941609"/>
                </a:cubicBezTo>
                <a:cubicBezTo>
                  <a:pt x="1347294" y="4941609"/>
                  <a:pt x="1225980" y="4820936"/>
                  <a:pt x="1225980" y="4671380"/>
                </a:cubicBezTo>
                <a:cubicBezTo>
                  <a:pt x="1225980" y="4574457"/>
                  <a:pt x="1276688" y="4489087"/>
                  <a:pt x="1353713" y="4441589"/>
                </a:cubicBezTo>
                <a:cubicBezTo>
                  <a:pt x="1286316" y="4412063"/>
                  <a:pt x="1229831" y="4362638"/>
                  <a:pt x="1191961" y="4300376"/>
                </a:cubicBezTo>
                <a:cubicBezTo>
                  <a:pt x="1134834" y="4377401"/>
                  <a:pt x="1043046" y="4427467"/>
                  <a:pt x="939704" y="4427467"/>
                </a:cubicBezTo>
                <a:cubicBezTo>
                  <a:pt x="787580" y="4427467"/>
                  <a:pt x="660489" y="4318349"/>
                  <a:pt x="632246" y="4174569"/>
                </a:cubicBezTo>
                <a:cubicBezTo>
                  <a:pt x="605287" y="4287539"/>
                  <a:pt x="503871" y="4370982"/>
                  <a:pt x="383199" y="4370982"/>
                </a:cubicBezTo>
                <a:cubicBezTo>
                  <a:pt x="241345" y="4370982"/>
                  <a:pt x="126449" y="4256087"/>
                  <a:pt x="126449" y="4114233"/>
                </a:cubicBezTo>
                <a:cubicBezTo>
                  <a:pt x="126449" y="4005756"/>
                  <a:pt x="194488" y="3912684"/>
                  <a:pt x="290127" y="3875455"/>
                </a:cubicBezTo>
                <a:cubicBezTo>
                  <a:pt x="188711" y="3845929"/>
                  <a:pt x="107835" y="3769546"/>
                  <a:pt x="71890" y="3670698"/>
                </a:cubicBezTo>
                <a:cubicBezTo>
                  <a:pt x="55201" y="3706643"/>
                  <a:pt x="30168" y="3738736"/>
                  <a:pt x="0" y="3764411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340" name="Slide Number Placeholder 339">
            <a:extLst>
              <a:ext uri="{FF2B5EF4-FFF2-40B4-BE49-F238E27FC236}">
                <a16:creationId xmlns:a16="http://schemas.microsoft.com/office/drawing/2014/main" id="{05CED6C7-9660-41DF-B0AE-203005F87BB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C671CAD-EFA0-4FF6-B475-A267CC785C76}"/>
              </a:ext>
            </a:extLst>
          </p:cNvPr>
          <p:cNvCxnSpPr>
            <a:cxnSpLocks/>
          </p:cNvCxnSpPr>
          <p:nvPr userDrawn="1"/>
        </p:nvCxnSpPr>
        <p:spPr>
          <a:xfrm>
            <a:off x="10099675" y="470271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1991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1323" userDrawn="1">
          <p15:clr>
            <a:srgbClr val="FF96FF"/>
          </p15:clr>
        </p15:guide>
        <p15:guide id="7" pos="1453" userDrawn="1">
          <p15:clr>
            <a:srgbClr val="FF96FF"/>
          </p15:clr>
        </p15:guide>
        <p15:guide id="8" pos="2547" userDrawn="1">
          <p15:clr>
            <a:srgbClr val="FF96FF"/>
          </p15:clr>
        </p15:guide>
        <p15:guide id="9" pos="2680" userDrawn="1">
          <p15:clr>
            <a:srgbClr val="FF96FF"/>
          </p15:clr>
        </p15:guide>
        <p15:guide id="10" pos="3795" userDrawn="1">
          <p15:clr>
            <a:srgbClr val="FF96FF"/>
          </p15:clr>
        </p15:guide>
        <p15:guide id="11" pos="3908" userDrawn="1">
          <p15:clr>
            <a:srgbClr val="FF96FF"/>
          </p15:clr>
        </p15:guide>
        <p15:guide id="12" pos="4999" userDrawn="1">
          <p15:clr>
            <a:srgbClr val="FF96FF"/>
          </p15:clr>
        </p15:guide>
        <p15:guide id="13" pos="5135" userDrawn="1">
          <p15:clr>
            <a:srgbClr val="FF96FF"/>
          </p15:clr>
        </p15:guide>
        <p15:guide id="14" pos="6226" userDrawn="1">
          <p15:clr>
            <a:srgbClr val="FF96FF"/>
          </p15:clr>
        </p15:guide>
        <p15:guide id="15" pos="6362" userDrawn="1">
          <p15:clr>
            <a:srgbClr val="FF96FF"/>
          </p15:clr>
        </p15:guide>
        <p15:guide id="16" pos="7453" userDrawn="1">
          <p15:clr>
            <a:srgbClr val="FF96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and Dot Scree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C854EB1-7CCC-45DE-AF0F-E195688CE36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575736" y="0"/>
            <a:ext cx="6616264" cy="6858000"/>
          </a:xfrm>
          <a:custGeom>
            <a:avLst/>
            <a:gdLst>
              <a:gd name="connsiteX0" fmla="*/ 56772 w 6616264"/>
              <a:gd name="connsiteY0" fmla="*/ 6855419 h 6858000"/>
              <a:gd name="connsiteX1" fmla="*/ 69029 w 6616264"/>
              <a:gd name="connsiteY1" fmla="*/ 6858000 h 6858000"/>
              <a:gd name="connsiteX2" fmla="*/ 44514 w 6616264"/>
              <a:gd name="connsiteY2" fmla="*/ 6858000 h 6858000"/>
              <a:gd name="connsiteX3" fmla="*/ 56772 w 6616264"/>
              <a:gd name="connsiteY3" fmla="*/ 6855419 h 6858000"/>
              <a:gd name="connsiteX4" fmla="*/ 629011 w 6616264"/>
              <a:gd name="connsiteY4" fmla="*/ 6807680 h 6858000"/>
              <a:gd name="connsiteX5" fmla="*/ 703848 w 6616264"/>
              <a:gd name="connsiteY5" fmla="*/ 6858000 h 6858000"/>
              <a:gd name="connsiteX6" fmla="*/ 554820 w 6616264"/>
              <a:gd name="connsiteY6" fmla="*/ 6858000 h 6858000"/>
              <a:gd name="connsiteX7" fmla="*/ 629011 w 6616264"/>
              <a:gd name="connsiteY7" fmla="*/ 6807680 h 6858000"/>
              <a:gd name="connsiteX8" fmla="*/ 1201250 w 6616264"/>
              <a:gd name="connsiteY8" fmla="*/ 6737359 h 6858000"/>
              <a:gd name="connsiteX9" fmla="*/ 1348988 w 6616264"/>
              <a:gd name="connsiteY9" fmla="*/ 6858000 h 6858000"/>
              <a:gd name="connsiteX10" fmla="*/ 1053513 w 6616264"/>
              <a:gd name="connsiteY10" fmla="*/ 6858000 h 6858000"/>
              <a:gd name="connsiteX11" fmla="*/ 1201250 w 6616264"/>
              <a:gd name="connsiteY11" fmla="*/ 6737359 h 6858000"/>
              <a:gd name="connsiteX12" fmla="*/ 56772 w 6616264"/>
              <a:gd name="connsiteY12" fmla="*/ 6273504 h 6858000"/>
              <a:gd name="connsiteX13" fmla="*/ 99350 w 6616264"/>
              <a:gd name="connsiteY13" fmla="*/ 6316083 h 6858000"/>
              <a:gd name="connsiteX14" fmla="*/ 56772 w 6616264"/>
              <a:gd name="connsiteY14" fmla="*/ 6358662 h 6858000"/>
              <a:gd name="connsiteX15" fmla="*/ 14192 w 6616264"/>
              <a:gd name="connsiteY15" fmla="*/ 6316083 h 6858000"/>
              <a:gd name="connsiteX16" fmla="*/ 56772 w 6616264"/>
              <a:gd name="connsiteY16" fmla="*/ 6273504 h 6858000"/>
              <a:gd name="connsiteX17" fmla="*/ 629011 w 6616264"/>
              <a:gd name="connsiteY17" fmla="*/ 6216086 h 6858000"/>
              <a:gd name="connsiteX18" fmla="*/ 729008 w 6616264"/>
              <a:gd name="connsiteY18" fmla="*/ 6316082 h 6858000"/>
              <a:gd name="connsiteX19" fmla="*/ 629011 w 6616264"/>
              <a:gd name="connsiteY19" fmla="*/ 6416080 h 6858000"/>
              <a:gd name="connsiteX20" fmla="*/ 529015 w 6616264"/>
              <a:gd name="connsiteY20" fmla="*/ 6316082 h 6858000"/>
              <a:gd name="connsiteX21" fmla="*/ 629011 w 6616264"/>
              <a:gd name="connsiteY21" fmla="*/ 6216086 h 6858000"/>
              <a:gd name="connsiteX22" fmla="*/ 1201251 w 6616264"/>
              <a:gd name="connsiteY22" fmla="*/ 6134799 h 6858000"/>
              <a:gd name="connsiteX23" fmla="*/ 1382536 w 6616264"/>
              <a:gd name="connsiteY23" fmla="*/ 6316083 h 6858000"/>
              <a:gd name="connsiteX24" fmla="*/ 1201251 w 6616264"/>
              <a:gd name="connsiteY24" fmla="*/ 6497367 h 6858000"/>
              <a:gd name="connsiteX25" fmla="*/ 1019967 w 6616264"/>
              <a:gd name="connsiteY25" fmla="*/ 6316083 h 6858000"/>
              <a:gd name="connsiteX26" fmla="*/ 1201251 w 6616264"/>
              <a:gd name="connsiteY26" fmla="*/ 6134799 h 6858000"/>
              <a:gd name="connsiteX27" fmla="*/ 56773 w 6616264"/>
              <a:gd name="connsiteY27" fmla="*/ 5692878 h 6858000"/>
              <a:gd name="connsiteX28" fmla="*/ 107738 w 6616264"/>
              <a:gd name="connsiteY28" fmla="*/ 5743844 h 6858000"/>
              <a:gd name="connsiteX29" fmla="*/ 56773 w 6616264"/>
              <a:gd name="connsiteY29" fmla="*/ 5794810 h 6858000"/>
              <a:gd name="connsiteX30" fmla="*/ 5806 w 6616264"/>
              <a:gd name="connsiteY30" fmla="*/ 5743844 h 6858000"/>
              <a:gd name="connsiteX31" fmla="*/ 56773 w 6616264"/>
              <a:gd name="connsiteY31" fmla="*/ 5692878 h 6858000"/>
              <a:gd name="connsiteX32" fmla="*/ 629011 w 6616264"/>
              <a:gd name="connsiteY32" fmla="*/ 5627718 h 6858000"/>
              <a:gd name="connsiteX33" fmla="*/ 744491 w 6616264"/>
              <a:gd name="connsiteY33" fmla="*/ 5743198 h 6858000"/>
              <a:gd name="connsiteX34" fmla="*/ 629011 w 6616264"/>
              <a:gd name="connsiteY34" fmla="*/ 5858678 h 6858000"/>
              <a:gd name="connsiteX35" fmla="*/ 513532 w 6616264"/>
              <a:gd name="connsiteY35" fmla="*/ 5743198 h 6858000"/>
              <a:gd name="connsiteX36" fmla="*/ 629011 w 6616264"/>
              <a:gd name="connsiteY36" fmla="*/ 5627718 h 6858000"/>
              <a:gd name="connsiteX37" fmla="*/ 1201250 w 6616264"/>
              <a:gd name="connsiteY37" fmla="*/ 5539979 h 6858000"/>
              <a:gd name="connsiteX38" fmla="*/ 1404470 w 6616264"/>
              <a:gd name="connsiteY38" fmla="*/ 5743198 h 6858000"/>
              <a:gd name="connsiteX39" fmla="*/ 1201250 w 6616264"/>
              <a:gd name="connsiteY39" fmla="*/ 5946418 h 6858000"/>
              <a:gd name="connsiteX40" fmla="*/ 998031 w 6616264"/>
              <a:gd name="connsiteY40" fmla="*/ 5743198 h 6858000"/>
              <a:gd name="connsiteX41" fmla="*/ 1201250 w 6616264"/>
              <a:gd name="connsiteY41" fmla="*/ 5539979 h 6858000"/>
              <a:gd name="connsiteX42" fmla="*/ 56772 w 6616264"/>
              <a:gd name="connsiteY42" fmla="*/ 5114187 h 6858000"/>
              <a:gd name="connsiteX43" fmla="*/ 113543 w 6616264"/>
              <a:gd name="connsiteY43" fmla="*/ 5170959 h 6858000"/>
              <a:gd name="connsiteX44" fmla="*/ 56772 w 6616264"/>
              <a:gd name="connsiteY44" fmla="*/ 5227731 h 6858000"/>
              <a:gd name="connsiteX45" fmla="*/ 0 w 6616264"/>
              <a:gd name="connsiteY45" fmla="*/ 5170959 h 6858000"/>
              <a:gd name="connsiteX46" fmla="*/ 56772 w 6616264"/>
              <a:gd name="connsiteY46" fmla="*/ 5114187 h 6858000"/>
              <a:gd name="connsiteX47" fmla="*/ 629011 w 6616264"/>
              <a:gd name="connsiteY47" fmla="*/ 5045802 h 6858000"/>
              <a:gd name="connsiteX48" fmla="*/ 754168 w 6616264"/>
              <a:gd name="connsiteY48" fmla="*/ 5170959 h 6858000"/>
              <a:gd name="connsiteX49" fmla="*/ 629011 w 6616264"/>
              <a:gd name="connsiteY49" fmla="*/ 5296116 h 6858000"/>
              <a:gd name="connsiteX50" fmla="*/ 503854 w 6616264"/>
              <a:gd name="connsiteY50" fmla="*/ 5170959 h 6858000"/>
              <a:gd name="connsiteX51" fmla="*/ 629011 w 6616264"/>
              <a:gd name="connsiteY51" fmla="*/ 5045802 h 6858000"/>
              <a:gd name="connsiteX52" fmla="*/ 1201250 w 6616264"/>
              <a:gd name="connsiteY52" fmla="*/ 4954191 h 6858000"/>
              <a:gd name="connsiteX53" fmla="*/ 1401022 w 6616264"/>
              <a:gd name="connsiteY53" fmla="*/ 5086465 h 6858000"/>
              <a:gd name="connsiteX54" fmla="*/ 1410074 w 6616264"/>
              <a:gd name="connsiteY54" fmla="*/ 5131469 h 6858000"/>
              <a:gd name="connsiteX55" fmla="*/ 1406404 w 6616264"/>
              <a:gd name="connsiteY55" fmla="*/ 5157373 h 6858000"/>
              <a:gd name="connsiteX56" fmla="*/ 1412511 w 6616264"/>
              <a:gd name="connsiteY56" fmla="*/ 5198248 h 6858000"/>
              <a:gd name="connsiteX57" fmla="*/ 1401022 w 6616264"/>
              <a:gd name="connsiteY57" fmla="*/ 5255179 h 6858000"/>
              <a:gd name="connsiteX58" fmla="*/ 1201250 w 6616264"/>
              <a:gd name="connsiteY58" fmla="*/ 5387726 h 6858000"/>
              <a:gd name="connsiteX59" fmla="*/ 984484 w 6616264"/>
              <a:gd name="connsiteY59" fmla="*/ 5170958 h 6858000"/>
              <a:gd name="connsiteX60" fmla="*/ 1201250 w 6616264"/>
              <a:gd name="connsiteY60" fmla="*/ 4954191 h 6858000"/>
              <a:gd name="connsiteX61" fmla="*/ 56772 w 6616264"/>
              <a:gd name="connsiteY61" fmla="*/ 4541947 h 6858000"/>
              <a:gd name="connsiteX62" fmla="*/ 113543 w 6616264"/>
              <a:gd name="connsiteY62" fmla="*/ 4598719 h 6858000"/>
              <a:gd name="connsiteX63" fmla="*/ 56772 w 6616264"/>
              <a:gd name="connsiteY63" fmla="*/ 4655491 h 6858000"/>
              <a:gd name="connsiteX64" fmla="*/ 0 w 6616264"/>
              <a:gd name="connsiteY64" fmla="*/ 4598719 h 6858000"/>
              <a:gd name="connsiteX65" fmla="*/ 56772 w 6616264"/>
              <a:gd name="connsiteY65" fmla="*/ 4541947 h 6858000"/>
              <a:gd name="connsiteX66" fmla="*/ 629011 w 6616264"/>
              <a:gd name="connsiteY66" fmla="*/ 4471627 h 6858000"/>
              <a:gd name="connsiteX67" fmla="*/ 756105 w 6616264"/>
              <a:gd name="connsiteY67" fmla="*/ 4598719 h 6858000"/>
              <a:gd name="connsiteX68" fmla="*/ 629011 w 6616264"/>
              <a:gd name="connsiteY68" fmla="*/ 4725813 h 6858000"/>
              <a:gd name="connsiteX69" fmla="*/ 501919 w 6616264"/>
              <a:gd name="connsiteY69" fmla="*/ 4598719 h 6858000"/>
              <a:gd name="connsiteX70" fmla="*/ 629011 w 6616264"/>
              <a:gd name="connsiteY70" fmla="*/ 4471627 h 6858000"/>
              <a:gd name="connsiteX71" fmla="*/ 1201250 w 6616264"/>
              <a:gd name="connsiteY71" fmla="*/ 4380017 h 6858000"/>
              <a:gd name="connsiteX72" fmla="*/ 1402746 w 6616264"/>
              <a:gd name="connsiteY72" fmla="*/ 4513652 h 6858000"/>
              <a:gd name="connsiteX73" fmla="*/ 1409763 w 6616264"/>
              <a:gd name="connsiteY73" fmla="*/ 4548337 h 6858000"/>
              <a:gd name="connsiteX74" fmla="*/ 1404469 w 6616264"/>
              <a:gd name="connsiteY74" fmla="*/ 4585133 h 6858000"/>
              <a:gd name="connsiteX75" fmla="*/ 1411993 w 6616264"/>
              <a:gd name="connsiteY75" fmla="*/ 4638075 h 6858000"/>
              <a:gd name="connsiteX76" fmla="*/ 1402746 w 6616264"/>
              <a:gd name="connsiteY76" fmla="*/ 4683788 h 6858000"/>
              <a:gd name="connsiteX77" fmla="*/ 1201250 w 6616264"/>
              <a:gd name="connsiteY77" fmla="*/ 4817423 h 6858000"/>
              <a:gd name="connsiteX78" fmla="*/ 982548 w 6616264"/>
              <a:gd name="connsiteY78" fmla="*/ 4598719 h 6858000"/>
              <a:gd name="connsiteX79" fmla="*/ 1201250 w 6616264"/>
              <a:gd name="connsiteY79" fmla="*/ 4380017 h 6858000"/>
              <a:gd name="connsiteX80" fmla="*/ 56772 w 6616264"/>
              <a:gd name="connsiteY80" fmla="*/ 3971644 h 6858000"/>
              <a:gd name="connsiteX81" fmla="*/ 111609 w 6616264"/>
              <a:gd name="connsiteY81" fmla="*/ 4026481 h 6858000"/>
              <a:gd name="connsiteX82" fmla="*/ 56772 w 6616264"/>
              <a:gd name="connsiteY82" fmla="*/ 4081318 h 6858000"/>
              <a:gd name="connsiteX83" fmla="*/ 1935 w 6616264"/>
              <a:gd name="connsiteY83" fmla="*/ 4026481 h 6858000"/>
              <a:gd name="connsiteX84" fmla="*/ 56772 w 6616264"/>
              <a:gd name="connsiteY84" fmla="*/ 3971644 h 6858000"/>
              <a:gd name="connsiteX85" fmla="*/ 629011 w 6616264"/>
              <a:gd name="connsiteY85" fmla="*/ 3905839 h 6858000"/>
              <a:gd name="connsiteX86" fmla="*/ 749008 w 6616264"/>
              <a:gd name="connsiteY86" fmla="*/ 4025835 h 6858000"/>
              <a:gd name="connsiteX87" fmla="*/ 629011 w 6616264"/>
              <a:gd name="connsiteY87" fmla="*/ 4145832 h 6858000"/>
              <a:gd name="connsiteX88" fmla="*/ 509015 w 6616264"/>
              <a:gd name="connsiteY88" fmla="*/ 4025835 h 6858000"/>
              <a:gd name="connsiteX89" fmla="*/ 629011 w 6616264"/>
              <a:gd name="connsiteY89" fmla="*/ 3905839 h 6858000"/>
              <a:gd name="connsiteX90" fmla="*/ 1203892 w 6616264"/>
              <a:gd name="connsiteY90" fmla="*/ 3814492 h 6858000"/>
              <a:gd name="connsiteX91" fmla="*/ 1409012 w 6616264"/>
              <a:gd name="connsiteY91" fmla="*/ 3986118 h 6858000"/>
              <a:gd name="connsiteX92" fmla="*/ 1241229 w 6616264"/>
              <a:gd name="connsiteY92" fmla="*/ 4233929 h 6858000"/>
              <a:gd name="connsiteX93" fmla="*/ 993420 w 6616264"/>
              <a:gd name="connsiteY93" fmla="*/ 4066147 h 6858000"/>
              <a:gd name="connsiteX94" fmla="*/ 1161200 w 6616264"/>
              <a:gd name="connsiteY94" fmla="*/ 3818335 h 6858000"/>
              <a:gd name="connsiteX95" fmla="*/ 1203892 w 6616264"/>
              <a:gd name="connsiteY95" fmla="*/ 3814492 h 6858000"/>
              <a:gd name="connsiteX96" fmla="*/ 56773 w 6616264"/>
              <a:gd name="connsiteY96" fmla="*/ 3404566 h 6858000"/>
              <a:gd name="connsiteX97" fmla="*/ 105802 w 6616264"/>
              <a:gd name="connsiteY97" fmla="*/ 3453597 h 6858000"/>
              <a:gd name="connsiteX98" fmla="*/ 56773 w 6616264"/>
              <a:gd name="connsiteY98" fmla="*/ 3502626 h 6858000"/>
              <a:gd name="connsiteX99" fmla="*/ 7742 w 6616264"/>
              <a:gd name="connsiteY99" fmla="*/ 3453597 h 6858000"/>
              <a:gd name="connsiteX100" fmla="*/ 56773 w 6616264"/>
              <a:gd name="connsiteY100" fmla="*/ 3404566 h 6858000"/>
              <a:gd name="connsiteX101" fmla="*/ 629011 w 6616264"/>
              <a:gd name="connsiteY101" fmla="*/ 3346503 h 6858000"/>
              <a:gd name="connsiteX102" fmla="*/ 736105 w 6616264"/>
              <a:gd name="connsiteY102" fmla="*/ 3453597 h 6858000"/>
              <a:gd name="connsiteX103" fmla="*/ 629011 w 6616264"/>
              <a:gd name="connsiteY103" fmla="*/ 3560690 h 6858000"/>
              <a:gd name="connsiteX104" fmla="*/ 521918 w 6616264"/>
              <a:gd name="connsiteY104" fmla="*/ 3453597 h 6858000"/>
              <a:gd name="connsiteX105" fmla="*/ 629011 w 6616264"/>
              <a:gd name="connsiteY105" fmla="*/ 3346503 h 6858000"/>
              <a:gd name="connsiteX106" fmla="*/ 1202686 w 6616264"/>
              <a:gd name="connsiteY106" fmla="*/ 3262069 h 6858000"/>
              <a:gd name="connsiteX107" fmla="*/ 1378371 w 6616264"/>
              <a:gd name="connsiteY107" fmla="*/ 3380399 h 6858000"/>
              <a:gd name="connsiteX108" fmla="*/ 1274673 w 6616264"/>
              <a:gd name="connsiteY108" fmla="*/ 3630752 h 6858000"/>
              <a:gd name="connsiteX109" fmla="*/ 1024320 w 6616264"/>
              <a:gd name="connsiteY109" fmla="*/ 3527054 h 6858000"/>
              <a:gd name="connsiteX110" fmla="*/ 1128017 w 6616264"/>
              <a:gd name="connsiteY110" fmla="*/ 3276701 h 6858000"/>
              <a:gd name="connsiteX111" fmla="*/ 1202686 w 6616264"/>
              <a:gd name="connsiteY111" fmla="*/ 3262069 h 6858000"/>
              <a:gd name="connsiteX112" fmla="*/ 56772 w 6616264"/>
              <a:gd name="connsiteY112" fmla="*/ 2842649 h 6858000"/>
              <a:gd name="connsiteX113" fmla="*/ 95481 w 6616264"/>
              <a:gd name="connsiteY113" fmla="*/ 2881357 h 6858000"/>
              <a:gd name="connsiteX114" fmla="*/ 56772 w 6616264"/>
              <a:gd name="connsiteY114" fmla="*/ 2920066 h 6858000"/>
              <a:gd name="connsiteX115" fmla="*/ 18064 w 6616264"/>
              <a:gd name="connsiteY115" fmla="*/ 2881357 h 6858000"/>
              <a:gd name="connsiteX116" fmla="*/ 56772 w 6616264"/>
              <a:gd name="connsiteY116" fmla="*/ 2842649 h 6858000"/>
              <a:gd name="connsiteX117" fmla="*/ 629011 w 6616264"/>
              <a:gd name="connsiteY117" fmla="*/ 2794263 h 6858000"/>
              <a:gd name="connsiteX118" fmla="*/ 716105 w 6616264"/>
              <a:gd name="connsiteY118" fmla="*/ 2881357 h 6858000"/>
              <a:gd name="connsiteX119" fmla="*/ 629011 w 6616264"/>
              <a:gd name="connsiteY119" fmla="*/ 2968450 h 6858000"/>
              <a:gd name="connsiteX120" fmla="*/ 541918 w 6616264"/>
              <a:gd name="connsiteY120" fmla="*/ 2881357 h 6858000"/>
              <a:gd name="connsiteX121" fmla="*/ 629011 w 6616264"/>
              <a:gd name="connsiteY121" fmla="*/ 2794263 h 6858000"/>
              <a:gd name="connsiteX122" fmla="*/ 1201251 w 6616264"/>
              <a:gd name="connsiteY122" fmla="*/ 2715555 h 6858000"/>
              <a:gd name="connsiteX123" fmla="*/ 1367053 w 6616264"/>
              <a:gd name="connsiteY123" fmla="*/ 2881357 h 6858000"/>
              <a:gd name="connsiteX124" fmla="*/ 1201251 w 6616264"/>
              <a:gd name="connsiteY124" fmla="*/ 3047158 h 6858000"/>
              <a:gd name="connsiteX125" fmla="*/ 1035450 w 6616264"/>
              <a:gd name="connsiteY125" fmla="*/ 2881357 h 6858000"/>
              <a:gd name="connsiteX126" fmla="*/ 1201251 w 6616264"/>
              <a:gd name="connsiteY126" fmla="*/ 2715555 h 6858000"/>
              <a:gd name="connsiteX127" fmla="*/ 629011 w 6616264"/>
              <a:gd name="connsiteY127" fmla="*/ 2240732 h 6858000"/>
              <a:gd name="connsiteX128" fmla="*/ 696752 w 6616264"/>
              <a:gd name="connsiteY128" fmla="*/ 2308473 h 6858000"/>
              <a:gd name="connsiteX129" fmla="*/ 629011 w 6616264"/>
              <a:gd name="connsiteY129" fmla="*/ 2376214 h 6858000"/>
              <a:gd name="connsiteX130" fmla="*/ 561272 w 6616264"/>
              <a:gd name="connsiteY130" fmla="*/ 2308473 h 6858000"/>
              <a:gd name="connsiteX131" fmla="*/ 629011 w 6616264"/>
              <a:gd name="connsiteY131" fmla="*/ 2240732 h 6858000"/>
              <a:gd name="connsiteX132" fmla="*/ 1201250 w 6616264"/>
              <a:gd name="connsiteY132" fmla="*/ 2176227 h 6858000"/>
              <a:gd name="connsiteX133" fmla="*/ 1333504 w 6616264"/>
              <a:gd name="connsiteY133" fmla="*/ 2308479 h 6858000"/>
              <a:gd name="connsiteX134" fmla="*/ 1201250 w 6616264"/>
              <a:gd name="connsiteY134" fmla="*/ 2440726 h 6858000"/>
              <a:gd name="connsiteX135" fmla="*/ 1068997 w 6616264"/>
              <a:gd name="connsiteY135" fmla="*/ 2308479 h 6858000"/>
              <a:gd name="connsiteX136" fmla="*/ 1201250 w 6616264"/>
              <a:gd name="connsiteY136" fmla="*/ 2176227 h 6858000"/>
              <a:gd name="connsiteX137" fmla="*/ 1773490 w 6616264"/>
              <a:gd name="connsiteY137" fmla="*/ 2088481 h 6858000"/>
              <a:gd name="connsiteX138" fmla="*/ 1976166 w 6616264"/>
              <a:gd name="connsiteY138" fmla="*/ 2222935 h 6858000"/>
              <a:gd name="connsiteX139" fmla="*/ 1987399 w 6616264"/>
              <a:gd name="connsiteY139" fmla="*/ 2278426 h 6858000"/>
              <a:gd name="connsiteX140" fmla="*/ 1985740 w 6616264"/>
              <a:gd name="connsiteY140" fmla="*/ 2294890 h 6858000"/>
              <a:gd name="connsiteX141" fmla="*/ 1989817 w 6616264"/>
              <a:gd name="connsiteY141" fmla="*/ 2326586 h 6858000"/>
              <a:gd name="connsiteX142" fmla="*/ 1976166 w 6616264"/>
              <a:gd name="connsiteY142" fmla="*/ 2394018 h 6858000"/>
              <a:gd name="connsiteX143" fmla="*/ 1773490 w 6616264"/>
              <a:gd name="connsiteY143" fmla="*/ 2528464 h 6858000"/>
              <a:gd name="connsiteX144" fmla="*/ 1553498 w 6616264"/>
              <a:gd name="connsiteY144" fmla="*/ 2308473 h 6858000"/>
              <a:gd name="connsiteX145" fmla="*/ 1773490 w 6616264"/>
              <a:gd name="connsiteY145" fmla="*/ 2088481 h 6858000"/>
              <a:gd name="connsiteX146" fmla="*/ 629011 w 6616264"/>
              <a:gd name="connsiteY146" fmla="*/ 1688493 h 6858000"/>
              <a:gd name="connsiteX147" fmla="*/ 676752 w 6616264"/>
              <a:gd name="connsiteY147" fmla="*/ 1736234 h 6858000"/>
              <a:gd name="connsiteX148" fmla="*/ 629011 w 6616264"/>
              <a:gd name="connsiteY148" fmla="*/ 1783975 h 6858000"/>
              <a:gd name="connsiteX149" fmla="*/ 581271 w 6616264"/>
              <a:gd name="connsiteY149" fmla="*/ 1736234 h 6858000"/>
              <a:gd name="connsiteX150" fmla="*/ 629011 w 6616264"/>
              <a:gd name="connsiteY150" fmla="*/ 1688493 h 6858000"/>
              <a:gd name="connsiteX151" fmla="*/ 1201250 w 6616264"/>
              <a:gd name="connsiteY151" fmla="*/ 1639465 h 6858000"/>
              <a:gd name="connsiteX152" fmla="*/ 1298022 w 6616264"/>
              <a:gd name="connsiteY152" fmla="*/ 1736237 h 6858000"/>
              <a:gd name="connsiteX153" fmla="*/ 1201250 w 6616264"/>
              <a:gd name="connsiteY153" fmla="*/ 1833008 h 6858000"/>
              <a:gd name="connsiteX154" fmla="*/ 1104480 w 6616264"/>
              <a:gd name="connsiteY154" fmla="*/ 1736237 h 6858000"/>
              <a:gd name="connsiteX155" fmla="*/ 1201250 w 6616264"/>
              <a:gd name="connsiteY155" fmla="*/ 1639465 h 6858000"/>
              <a:gd name="connsiteX156" fmla="*/ 1741933 w 6616264"/>
              <a:gd name="connsiteY156" fmla="*/ 1572389 h 6858000"/>
              <a:gd name="connsiteX157" fmla="*/ 1937614 w 6616264"/>
              <a:gd name="connsiteY157" fmla="*/ 1704875 h 6858000"/>
              <a:gd name="connsiteX158" fmla="*/ 1805127 w 6616264"/>
              <a:gd name="connsiteY158" fmla="*/ 1900555 h 6858000"/>
              <a:gd name="connsiteX159" fmla="*/ 1609447 w 6616264"/>
              <a:gd name="connsiteY159" fmla="*/ 1768068 h 6858000"/>
              <a:gd name="connsiteX160" fmla="*/ 1741933 w 6616264"/>
              <a:gd name="connsiteY160" fmla="*/ 1572389 h 6858000"/>
              <a:gd name="connsiteX161" fmla="*/ 1189474 w 6616264"/>
              <a:gd name="connsiteY161" fmla="*/ 1102707 h 6858000"/>
              <a:gd name="connsiteX162" fmla="*/ 1262761 w 6616264"/>
              <a:gd name="connsiteY162" fmla="*/ 1152327 h 6858000"/>
              <a:gd name="connsiteX163" fmla="*/ 1213141 w 6616264"/>
              <a:gd name="connsiteY163" fmla="*/ 1225613 h 6858000"/>
              <a:gd name="connsiteX164" fmla="*/ 1139856 w 6616264"/>
              <a:gd name="connsiteY164" fmla="*/ 1175994 h 6858000"/>
              <a:gd name="connsiteX165" fmla="*/ 1189474 w 6616264"/>
              <a:gd name="connsiteY165" fmla="*/ 1102707 h 6858000"/>
              <a:gd name="connsiteX166" fmla="*/ 1773490 w 6616264"/>
              <a:gd name="connsiteY166" fmla="*/ 1043355 h 6858000"/>
              <a:gd name="connsiteX167" fmla="*/ 1894132 w 6616264"/>
              <a:gd name="connsiteY167" fmla="*/ 1163996 h 6858000"/>
              <a:gd name="connsiteX168" fmla="*/ 1773490 w 6616264"/>
              <a:gd name="connsiteY168" fmla="*/ 1284638 h 6858000"/>
              <a:gd name="connsiteX169" fmla="*/ 1652849 w 6616264"/>
              <a:gd name="connsiteY169" fmla="*/ 1163996 h 6858000"/>
              <a:gd name="connsiteX170" fmla="*/ 1773490 w 6616264"/>
              <a:gd name="connsiteY170" fmla="*/ 1043355 h 6858000"/>
              <a:gd name="connsiteX171" fmla="*/ 2346375 w 6616264"/>
              <a:gd name="connsiteY171" fmla="*/ 973034 h 6858000"/>
              <a:gd name="connsiteX172" fmla="*/ 2537335 w 6616264"/>
              <a:gd name="connsiteY172" fmla="*/ 1163996 h 6858000"/>
              <a:gd name="connsiteX173" fmla="*/ 2346375 w 6616264"/>
              <a:gd name="connsiteY173" fmla="*/ 1354957 h 6858000"/>
              <a:gd name="connsiteX174" fmla="*/ 2155413 w 6616264"/>
              <a:gd name="connsiteY174" fmla="*/ 1163996 h 6858000"/>
              <a:gd name="connsiteX175" fmla="*/ 2346375 w 6616264"/>
              <a:gd name="connsiteY175" fmla="*/ 973034 h 6858000"/>
              <a:gd name="connsiteX176" fmla="*/ 1201251 w 6616264"/>
              <a:gd name="connsiteY176" fmla="*/ 554986 h 6858000"/>
              <a:gd name="connsiteX177" fmla="*/ 1238024 w 6616264"/>
              <a:gd name="connsiteY177" fmla="*/ 591758 h 6858000"/>
              <a:gd name="connsiteX178" fmla="*/ 1201251 w 6616264"/>
              <a:gd name="connsiteY178" fmla="*/ 628531 h 6858000"/>
              <a:gd name="connsiteX179" fmla="*/ 1164478 w 6616264"/>
              <a:gd name="connsiteY179" fmla="*/ 591758 h 6858000"/>
              <a:gd name="connsiteX180" fmla="*/ 1201251 w 6616264"/>
              <a:gd name="connsiteY180" fmla="*/ 554986 h 6858000"/>
              <a:gd name="connsiteX181" fmla="*/ 1773490 w 6616264"/>
              <a:gd name="connsiteY181" fmla="*/ 516275 h 6858000"/>
              <a:gd name="connsiteX182" fmla="*/ 1848972 w 6616264"/>
              <a:gd name="connsiteY182" fmla="*/ 591757 h 6858000"/>
              <a:gd name="connsiteX183" fmla="*/ 1773490 w 6616264"/>
              <a:gd name="connsiteY183" fmla="*/ 667238 h 6858000"/>
              <a:gd name="connsiteX184" fmla="*/ 1698009 w 6616264"/>
              <a:gd name="connsiteY184" fmla="*/ 591757 h 6858000"/>
              <a:gd name="connsiteX185" fmla="*/ 1773490 w 6616264"/>
              <a:gd name="connsiteY185" fmla="*/ 516275 h 6858000"/>
              <a:gd name="connsiteX186" fmla="*/ 2346375 w 6616264"/>
              <a:gd name="connsiteY186" fmla="*/ 462084 h 6858000"/>
              <a:gd name="connsiteX187" fmla="*/ 2476048 w 6616264"/>
              <a:gd name="connsiteY187" fmla="*/ 591757 h 6858000"/>
              <a:gd name="connsiteX188" fmla="*/ 2346375 w 6616264"/>
              <a:gd name="connsiteY188" fmla="*/ 721429 h 6858000"/>
              <a:gd name="connsiteX189" fmla="*/ 2216701 w 6616264"/>
              <a:gd name="connsiteY189" fmla="*/ 591757 h 6858000"/>
              <a:gd name="connsiteX190" fmla="*/ 2346375 w 6616264"/>
              <a:gd name="connsiteY190" fmla="*/ 462084 h 6858000"/>
              <a:gd name="connsiteX191" fmla="*/ 2918614 w 6616264"/>
              <a:gd name="connsiteY191" fmla="*/ 395638 h 6858000"/>
              <a:gd name="connsiteX192" fmla="*/ 3114092 w 6616264"/>
              <a:gd name="connsiteY192" fmla="*/ 591115 h 6858000"/>
              <a:gd name="connsiteX193" fmla="*/ 2918614 w 6616264"/>
              <a:gd name="connsiteY193" fmla="*/ 786593 h 6858000"/>
              <a:gd name="connsiteX194" fmla="*/ 2723137 w 6616264"/>
              <a:gd name="connsiteY194" fmla="*/ 591115 h 6858000"/>
              <a:gd name="connsiteX195" fmla="*/ 2918614 w 6616264"/>
              <a:gd name="connsiteY195" fmla="*/ 395638 h 6858000"/>
              <a:gd name="connsiteX196" fmla="*/ 4310582 w 6616264"/>
              <a:gd name="connsiteY196" fmla="*/ 0 h 6858000"/>
              <a:gd name="connsiteX197" fmla="*/ 6616264 w 6616264"/>
              <a:gd name="connsiteY197" fmla="*/ 0 h 6858000"/>
              <a:gd name="connsiteX198" fmla="*/ 6616264 w 6616264"/>
              <a:gd name="connsiteY198" fmla="*/ 6845058 h 6858000"/>
              <a:gd name="connsiteX199" fmla="*/ 1487047 w 6616264"/>
              <a:gd name="connsiteY199" fmla="*/ 6845058 h 6858000"/>
              <a:gd name="connsiteX200" fmla="*/ 1727039 w 6616264"/>
              <a:gd name="connsiteY200" fmla="*/ 6632807 h 6858000"/>
              <a:gd name="connsiteX201" fmla="*/ 1965741 w 6616264"/>
              <a:gd name="connsiteY201" fmla="*/ 6834091 h 6858000"/>
              <a:gd name="connsiteX202" fmla="*/ 2090254 w 6616264"/>
              <a:gd name="connsiteY202" fmla="*/ 6611518 h 6858000"/>
              <a:gd name="connsiteX203" fmla="*/ 1960580 w 6616264"/>
              <a:gd name="connsiteY203" fmla="*/ 6459265 h 6858000"/>
              <a:gd name="connsiteX204" fmla="*/ 1727039 w 6616264"/>
              <a:gd name="connsiteY204" fmla="*/ 6583777 h 6858000"/>
              <a:gd name="connsiteX205" fmla="*/ 1445758 w 6616264"/>
              <a:gd name="connsiteY205" fmla="*/ 6302496 h 6858000"/>
              <a:gd name="connsiteX206" fmla="*/ 1658654 w 6616264"/>
              <a:gd name="connsiteY206" fmla="*/ 6029602 h 6858000"/>
              <a:gd name="connsiteX207" fmla="*/ 1419307 w 6616264"/>
              <a:gd name="connsiteY207" fmla="*/ 5729611 h 6858000"/>
              <a:gd name="connsiteX208" fmla="*/ 1598012 w 6616264"/>
              <a:gd name="connsiteY208" fmla="*/ 5450911 h 6858000"/>
              <a:gd name="connsiteX209" fmla="*/ 1420467 w 6616264"/>
              <a:gd name="connsiteY209" fmla="*/ 5251502 h 6858000"/>
              <a:gd name="connsiteX210" fmla="*/ 1412511 w 6616264"/>
              <a:gd name="connsiteY210" fmla="*/ 5198248 h 6858000"/>
              <a:gd name="connsiteX211" fmla="*/ 1418018 w 6616264"/>
              <a:gd name="connsiteY211" fmla="*/ 5170958 h 6858000"/>
              <a:gd name="connsiteX212" fmla="*/ 1410074 w 6616264"/>
              <a:gd name="connsiteY212" fmla="*/ 5131469 h 6858000"/>
              <a:gd name="connsiteX213" fmla="*/ 1419106 w 6616264"/>
              <a:gd name="connsiteY213" fmla="*/ 5067728 h 6858000"/>
              <a:gd name="connsiteX214" fmla="*/ 1580592 w 6616264"/>
              <a:gd name="connsiteY214" fmla="*/ 4872220 h 6858000"/>
              <a:gd name="connsiteX215" fmla="*/ 1417291 w 6616264"/>
              <a:gd name="connsiteY215" fmla="*/ 4675352 h 6858000"/>
              <a:gd name="connsiteX216" fmla="*/ 1411993 w 6616264"/>
              <a:gd name="connsiteY216" fmla="*/ 4638075 h 6858000"/>
              <a:gd name="connsiteX217" fmla="*/ 1419954 w 6616264"/>
              <a:gd name="connsiteY217" fmla="*/ 4598719 h 6858000"/>
              <a:gd name="connsiteX218" fmla="*/ 1409763 w 6616264"/>
              <a:gd name="connsiteY218" fmla="*/ 4548337 h 6858000"/>
              <a:gd name="connsiteX219" fmla="*/ 1417623 w 6616264"/>
              <a:gd name="connsiteY219" fmla="*/ 4493695 h 6858000"/>
              <a:gd name="connsiteX220" fmla="*/ 1584463 w 6616264"/>
              <a:gd name="connsiteY220" fmla="*/ 4295465 h 6858000"/>
              <a:gd name="connsiteX221" fmla="*/ 1410276 w 6616264"/>
              <a:gd name="connsiteY221" fmla="*/ 4012249 h 6858000"/>
              <a:gd name="connsiteX222" fmla="*/ 1619945 w 6616264"/>
              <a:gd name="connsiteY222" fmla="*/ 3714194 h 6858000"/>
              <a:gd name="connsiteX223" fmla="*/ 1432210 w 6616264"/>
              <a:gd name="connsiteY223" fmla="*/ 3440009 h 6858000"/>
              <a:gd name="connsiteX224" fmla="*/ 1727039 w 6616264"/>
              <a:gd name="connsiteY224" fmla="*/ 3145180 h 6858000"/>
              <a:gd name="connsiteX225" fmla="*/ 1959290 w 6616264"/>
              <a:gd name="connsiteY225" fmla="*/ 3259370 h 6858000"/>
              <a:gd name="connsiteX226" fmla="*/ 2066382 w 6616264"/>
              <a:gd name="connsiteY226" fmla="*/ 3133568 h 6858000"/>
              <a:gd name="connsiteX227" fmla="*/ 1963805 w 6616264"/>
              <a:gd name="connsiteY227" fmla="*/ 2980025 h 6858000"/>
              <a:gd name="connsiteX228" fmla="*/ 1726393 w 6616264"/>
              <a:gd name="connsiteY228" fmla="*/ 3129696 h 6858000"/>
              <a:gd name="connsiteX229" fmla="*/ 1463822 w 6616264"/>
              <a:gd name="connsiteY229" fmla="*/ 2867125 h 6858000"/>
              <a:gd name="connsiteX230" fmla="*/ 1726393 w 6616264"/>
              <a:gd name="connsiteY230" fmla="*/ 2604553 h 6858000"/>
              <a:gd name="connsiteX231" fmla="*/ 1963805 w 6616264"/>
              <a:gd name="connsiteY231" fmla="*/ 2754226 h 6858000"/>
              <a:gd name="connsiteX232" fmla="*/ 2128316 w 6616264"/>
              <a:gd name="connsiteY232" fmla="*/ 2557458 h 6858000"/>
              <a:gd name="connsiteX233" fmla="*/ 1995952 w 6616264"/>
              <a:gd name="connsiteY233" fmla="*/ 2374289 h 6858000"/>
              <a:gd name="connsiteX234" fmla="*/ 1989817 w 6616264"/>
              <a:gd name="connsiteY234" fmla="*/ 2326586 h 6858000"/>
              <a:gd name="connsiteX235" fmla="*/ 1993483 w 6616264"/>
              <a:gd name="connsiteY235" fmla="*/ 2308473 h 6858000"/>
              <a:gd name="connsiteX236" fmla="*/ 1987399 w 6616264"/>
              <a:gd name="connsiteY236" fmla="*/ 2278426 h 6858000"/>
              <a:gd name="connsiteX237" fmla="*/ 1992121 w 6616264"/>
              <a:gd name="connsiteY237" fmla="*/ 2231592 h 6858000"/>
              <a:gd name="connsiteX238" fmla="*/ 2299279 w 6616264"/>
              <a:gd name="connsiteY238" fmla="*/ 1981352 h 6858000"/>
              <a:gd name="connsiteX239" fmla="*/ 2538626 w 6616264"/>
              <a:gd name="connsiteY239" fmla="*/ 2092962 h 6858000"/>
              <a:gd name="connsiteX240" fmla="*/ 2647654 w 6616264"/>
              <a:gd name="connsiteY240" fmla="*/ 1976190 h 6858000"/>
              <a:gd name="connsiteX241" fmla="*/ 2542496 w 6616264"/>
              <a:gd name="connsiteY241" fmla="*/ 1803293 h 6858000"/>
              <a:gd name="connsiteX242" fmla="*/ 2298633 w 6616264"/>
              <a:gd name="connsiteY242" fmla="*/ 1979417 h 6858000"/>
              <a:gd name="connsiteX243" fmla="*/ 2041223 w 6616264"/>
              <a:gd name="connsiteY243" fmla="*/ 1722003 h 6858000"/>
              <a:gd name="connsiteX244" fmla="*/ 2298633 w 6616264"/>
              <a:gd name="connsiteY244" fmla="*/ 1464593 h 6858000"/>
              <a:gd name="connsiteX245" fmla="*/ 2542496 w 6616264"/>
              <a:gd name="connsiteY245" fmla="*/ 1640718 h 6858000"/>
              <a:gd name="connsiteX246" fmla="*/ 2760554 w 6616264"/>
              <a:gd name="connsiteY246" fmla="*/ 1402016 h 6858000"/>
              <a:gd name="connsiteX247" fmla="*/ 2595399 w 6616264"/>
              <a:gd name="connsiteY247" fmla="*/ 1149118 h 6858000"/>
              <a:gd name="connsiteX248" fmla="*/ 2871517 w 6616264"/>
              <a:gd name="connsiteY248" fmla="*/ 872997 h 6858000"/>
              <a:gd name="connsiteX249" fmla="*/ 3123122 w 6616264"/>
              <a:gd name="connsiteY249" fmla="*/ 1035574 h 6858000"/>
              <a:gd name="connsiteX250" fmla="*/ 3348276 w 6616264"/>
              <a:gd name="connsiteY250" fmla="*/ 822035 h 6858000"/>
              <a:gd name="connsiteX251" fmla="*/ 3179894 w 6616264"/>
              <a:gd name="connsiteY251" fmla="*/ 576235 h 6858000"/>
              <a:gd name="connsiteX252" fmla="*/ 3443756 w 6616264"/>
              <a:gd name="connsiteY252" fmla="*/ 312373 h 6858000"/>
              <a:gd name="connsiteX253" fmla="*/ 3699877 w 6616264"/>
              <a:gd name="connsiteY253" fmla="*/ 514303 h 6858000"/>
              <a:gd name="connsiteX254" fmla="*/ 4015996 w 6616264"/>
              <a:gd name="connsiteY254" fmla="*/ 254311 h 6858000"/>
              <a:gd name="connsiteX255" fmla="*/ 4275343 w 6616264"/>
              <a:gd name="connsiteY255" fmla="*/ 385274 h 6858000"/>
              <a:gd name="connsiteX256" fmla="*/ 4441788 w 6616264"/>
              <a:gd name="connsiteY256" fmla="*/ 240118 h 6858000"/>
              <a:gd name="connsiteX257" fmla="*/ 4310179 w 6616264"/>
              <a:gd name="connsiteY257" fmla="*/ 3997 h 6858000"/>
              <a:gd name="connsiteX258" fmla="*/ 3836709 w 6616264"/>
              <a:gd name="connsiteY258" fmla="*/ 0 h 6858000"/>
              <a:gd name="connsiteX259" fmla="*/ 4290765 w 6616264"/>
              <a:gd name="connsiteY259" fmla="*/ 0 h 6858000"/>
              <a:gd name="connsiteX260" fmla="*/ 4294697 w 6616264"/>
              <a:gd name="connsiteY260" fmla="*/ 19521 h 6858000"/>
              <a:gd name="connsiteX261" fmla="*/ 4063738 w 6616264"/>
              <a:gd name="connsiteY261" fmla="*/ 250481 h 6858000"/>
              <a:gd name="connsiteX262" fmla="*/ 3832777 w 6616264"/>
              <a:gd name="connsiteY262" fmla="*/ 19521 h 6858000"/>
              <a:gd name="connsiteX263" fmla="*/ 3315960 w 6616264"/>
              <a:gd name="connsiteY263" fmla="*/ 0 h 6858000"/>
              <a:gd name="connsiteX264" fmla="*/ 3665746 w 6616264"/>
              <a:gd name="connsiteY264" fmla="*/ 0 h 6858000"/>
              <a:gd name="connsiteX265" fmla="*/ 3669557 w 6616264"/>
              <a:gd name="connsiteY265" fmla="*/ 18877 h 6858000"/>
              <a:gd name="connsiteX266" fmla="*/ 3490853 w 6616264"/>
              <a:gd name="connsiteY266" fmla="*/ 197580 h 6858000"/>
              <a:gd name="connsiteX267" fmla="*/ 3312149 w 6616264"/>
              <a:gd name="connsiteY267" fmla="*/ 18877 h 6858000"/>
              <a:gd name="connsiteX268" fmla="*/ 2797406 w 6616264"/>
              <a:gd name="connsiteY268" fmla="*/ 0 h 6858000"/>
              <a:gd name="connsiteX269" fmla="*/ 3039822 w 6616264"/>
              <a:gd name="connsiteY269" fmla="*/ 0 h 6858000"/>
              <a:gd name="connsiteX270" fmla="*/ 3043771 w 6616264"/>
              <a:gd name="connsiteY270" fmla="*/ 19521 h 6858000"/>
              <a:gd name="connsiteX271" fmla="*/ 2918614 w 6616264"/>
              <a:gd name="connsiteY271" fmla="*/ 144678 h 6858000"/>
              <a:gd name="connsiteX272" fmla="*/ 2793456 w 6616264"/>
              <a:gd name="connsiteY272" fmla="*/ 19521 h 6858000"/>
              <a:gd name="connsiteX273" fmla="*/ 2274893 w 6616264"/>
              <a:gd name="connsiteY273" fmla="*/ 0 h 6858000"/>
              <a:gd name="connsiteX274" fmla="*/ 2417855 w 6616264"/>
              <a:gd name="connsiteY274" fmla="*/ 0 h 6858000"/>
              <a:gd name="connsiteX275" fmla="*/ 2421856 w 6616264"/>
              <a:gd name="connsiteY275" fmla="*/ 19518 h 6858000"/>
              <a:gd name="connsiteX276" fmla="*/ 2346375 w 6616264"/>
              <a:gd name="connsiteY276" fmla="*/ 94999 h 6858000"/>
              <a:gd name="connsiteX277" fmla="*/ 2270893 w 6616264"/>
              <a:gd name="connsiteY277" fmla="*/ 19518 h 6858000"/>
              <a:gd name="connsiteX278" fmla="*/ 1740884 w 6616264"/>
              <a:gd name="connsiteY278" fmla="*/ 0 h 6858000"/>
              <a:gd name="connsiteX279" fmla="*/ 1806098 w 6616264"/>
              <a:gd name="connsiteY279" fmla="*/ 0 h 6858000"/>
              <a:gd name="connsiteX280" fmla="*/ 1814136 w 6616264"/>
              <a:gd name="connsiteY280" fmla="*/ 19519 h 6858000"/>
              <a:gd name="connsiteX281" fmla="*/ 1773490 w 6616264"/>
              <a:gd name="connsiteY281" fmla="*/ 60163 h 6858000"/>
              <a:gd name="connsiteX282" fmla="*/ 1732847 w 6616264"/>
              <a:gd name="connsiteY282" fmla="*/ 1951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</a:cxnLst>
            <a:rect l="l" t="t" r="r" b="b"/>
            <a:pathLst>
              <a:path w="6616264" h="6858000">
                <a:moveTo>
                  <a:pt x="56772" y="6855419"/>
                </a:moveTo>
                <a:cubicBezTo>
                  <a:pt x="61288" y="6855419"/>
                  <a:pt x="65160" y="6856710"/>
                  <a:pt x="69029" y="6858000"/>
                </a:cubicBezTo>
                <a:lnTo>
                  <a:pt x="44514" y="6858000"/>
                </a:lnTo>
                <a:cubicBezTo>
                  <a:pt x="47740" y="6856710"/>
                  <a:pt x="52255" y="6856064"/>
                  <a:pt x="56772" y="6855419"/>
                </a:cubicBezTo>
                <a:close/>
                <a:moveTo>
                  <a:pt x="629011" y="6807680"/>
                </a:moveTo>
                <a:cubicBezTo>
                  <a:pt x="662559" y="6807680"/>
                  <a:pt x="691590" y="6828969"/>
                  <a:pt x="703848" y="6858000"/>
                </a:cubicBezTo>
                <a:lnTo>
                  <a:pt x="554820" y="6858000"/>
                </a:lnTo>
                <a:cubicBezTo>
                  <a:pt x="566433" y="6828324"/>
                  <a:pt x="595464" y="6807680"/>
                  <a:pt x="629011" y="6807680"/>
                </a:cubicBezTo>
                <a:close/>
                <a:moveTo>
                  <a:pt x="1201250" y="6737359"/>
                </a:moveTo>
                <a:cubicBezTo>
                  <a:pt x="1274151" y="6737359"/>
                  <a:pt x="1335439" y="6789614"/>
                  <a:pt x="1348988" y="6858000"/>
                </a:cubicBezTo>
                <a:lnTo>
                  <a:pt x="1053513" y="6858000"/>
                </a:lnTo>
                <a:cubicBezTo>
                  <a:pt x="1067706" y="6788970"/>
                  <a:pt x="1128349" y="6737359"/>
                  <a:pt x="1201250" y="6737359"/>
                </a:cubicBezTo>
                <a:close/>
                <a:moveTo>
                  <a:pt x="56772" y="6273504"/>
                </a:moveTo>
                <a:cubicBezTo>
                  <a:pt x="79998" y="6273504"/>
                  <a:pt x="99350" y="6292214"/>
                  <a:pt x="99350" y="6316083"/>
                </a:cubicBezTo>
                <a:cubicBezTo>
                  <a:pt x="99350" y="6339308"/>
                  <a:pt x="80642" y="6358662"/>
                  <a:pt x="56772" y="6358662"/>
                </a:cubicBezTo>
                <a:cubicBezTo>
                  <a:pt x="33547" y="6358662"/>
                  <a:pt x="14192" y="6339954"/>
                  <a:pt x="14192" y="6316083"/>
                </a:cubicBezTo>
                <a:cubicBezTo>
                  <a:pt x="14192" y="6292859"/>
                  <a:pt x="32902" y="6273504"/>
                  <a:pt x="56772" y="6273504"/>
                </a:cubicBezTo>
                <a:close/>
                <a:moveTo>
                  <a:pt x="629011" y="6216086"/>
                </a:moveTo>
                <a:cubicBezTo>
                  <a:pt x="684494" y="6216086"/>
                  <a:pt x="729008" y="6260600"/>
                  <a:pt x="729008" y="6316082"/>
                </a:cubicBezTo>
                <a:cubicBezTo>
                  <a:pt x="729008" y="6371564"/>
                  <a:pt x="684494" y="6416080"/>
                  <a:pt x="629011" y="6416080"/>
                </a:cubicBezTo>
                <a:cubicBezTo>
                  <a:pt x="573530" y="6416080"/>
                  <a:pt x="529015" y="6371564"/>
                  <a:pt x="529015" y="6316082"/>
                </a:cubicBezTo>
                <a:cubicBezTo>
                  <a:pt x="529015" y="6260600"/>
                  <a:pt x="573530" y="6216086"/>
                  <a:pt x="629011" y="6216086"/>
                </a:cubicBezTo>
                <a:close/>
                <a:moveTo>
                  <a:pt x="1201251" y="6134799"/>
                </a:moveTo>
                <a:cubicBezTo>
                  <a:pt x="1301248" y="6134799"/>
                  <a:pt x="1382536" y="6216086"/>
                  <a:pt x="1382536" y="6316083"/>
                </a:cubicBezTo>
                <a:cubicBezTo>
                  <a:pt x="1382536" y="6416080"/>
                  <a:pt x="1301248" y="6497367"/>
                  <a:pt x="1201251" y="6497367"/>
                </a:cubicBezTo>
                <a:cubicBezTo>
                  <a:pt x="1101255" y="6497367"/>
                  <a:pt x="1019967" y="6416080"/>
                  <a:pt x="1019967" y="6316083"/>
                </a:cubicBezTo>
                <a:cubicBezTo>
                  <a:pt x="1019967" y="6216086"/>
                  <a:pt x="1101255" y="6134799"/>
                  <a:pt x="1201251" y="6134799"/>
                </a:cubicBezTo>
                <a:close/>
                <a:moveTo>
                  <a:pt x="56773" y="5692878"/>
                </a:moveTo>
                <a:cubicBezTo>
                  <a:pt x="84514" y="5692878"/>
                  <a:pt x="107093" y="5715457"/>
                  <a:pt x="107738" y="5743844"/>
                </a:cubicBezTo>
                <a:cubicBezTo>
                  <a:pt x="107738" y="5772231"/>
                  <a:pt x="85159" y="5794810"/>
                  <a:pt x="56773" y="5794810"/>
                </a:cubicBezTo>
                <a:cubicBezTo>
                  <a:pt x="28385" y="5794810"/>
                  <a:pt x="5806" y="5772231"/>
                  <a:pt x="5806" y="5743844"/>
                </a:cubicBezTo>
                <a:cubicBezTo>
                  <a:pt x="5806" y="5715457"/>
                  <a:pt x="28385" y="5692878"/>
                  <a:pt x="56773" y="5692878"/>
                </a:cubicBezTo>
                <a:close/>
                <a:moveTo>
                  <a:pt x="629011" y="5627718"/>
                </a:moveTo>
                <a:cubicBezTo>
                  <a:pt x="692881" y="5627718"/>
                  <a:pt x="744491" y="5679330"/>
                  <a:pt x="744491" y="5743198"/>
                </a:cubicBezTo>
                <a:cubicBezTo>
                  <a:pt x="744491" y="5807067"/>
                  <a:pt x="692881" y="5858678"/>
                  <a:pt x="629011" y="5858678"/>
                </a:cubicBezTo>
                <a:cubicBezTo>
                  <a:pt x="565143" y="5858678"/>
                  <a:pt x="513532" y="5807067"/>
                  <a:pt x="513532" y="5743198"/>
                </a:cubicBezTo>
                <a:cubicBezTo>
                  <a:pt x="513532" y="5679330"/>
                  <a:pt x="565143" y="5627718"/>
                  <a:pt x="629011" y="5627718"/>
                </a:cubicBezTo>
                <a:close/>
                <a:moveTo>
                  <a:pt x="1201250" y="5539979"/>
                </a:moveTo>
                <a:cubicBezTo>
                  <a:pt x="1313506" y="5539979"/>
                  <a:pt x="1404470" y="5630944"/>
                  <a:pt x="1404470" y="5743198"/>
                </a:cubicBezTo>
                <a:cubicBezTo>
                  <a:pt x="1404470" y="5855452"/>
                  <a:pt x="1313506" y="5946418"/>
                  <a:pt x="1201250" y="5946418"/>
                </a:cubicBezTo>
                <a:cubicBezTo>
                  <a:pt x="1088996" y="5946418"/>
                  <a:pt x="998031" y="5855452"/>
                  <a:pt x="998031" y="5743198"/>
                </a:cubicBezTo>
                <a:cubicBezTo>
                  <a:pt x="998031" y="5630944"/>
                  <a:pt x="1088996" y="5539979"/>
                  <a:pt x="1201250" y="5539979"/>
                </a:cubicBezTo>
                <a:close/>
                <a:moveTo>
                  <a:pt x="56772" y="5114187"/>
                </a:moveTo>
                <a:cubicBezTo>
                  <a:pt x="87739" y="5114187"/>
                  <a:pt x="113543" y="5139347"/>
                  <a:pt x="113543" y="5170959"/>
                </a:cubicBezTo>
                <a:cubicBezTo>
                  <a:pt x="113543" y="5201926"/>
                  <a:pt x="88383" y="5227731"/>
                  <a:pt x="56772" y="5227731"/>
                </a:cubicBezTo>
                <a:cubicBezTo>
                  <a:pt x="25805" y="5227731"/>
                  <a:pt x="0" y="5202571"/>
                  <a:pt x="0" y="5170959"/>
                </a:cubicBezTo>
                <a:cubicBezTo>
                  <a:pt x="0" y="5139992"/>
                  <a:pt x="25160" y="5114187"/>
                  <a:pt x="56772" y="5114187"/>
                </a:cubicBezTo>
                <a:close/>
                <a:moveTo>
                  <a:pt x="629011" y="5045802"/>
                </a:moveTo>
                <a:cubicBezTo>
                  <a:pt x="698041" y="5045802"/>
                  <a:pt x="754168" y="5101930"/>
                  <a:pt x="754168" y="5170959"/>
                </a:cubicBezTo>
                <a:cubicBezTo>
                  <a:pt x="754168" y="5239989"/>
                  <a:pt x="698041" y="5296116"/>
                  <a:pt x="629011" y="5296116"/>
                </a:cubicBezTo>
                <a:cubicBezTo>
                  <a:pt x="559981" y="5296116"/>
                  <a:pt x="503854" y="5239989"/>
                  <a:pt x="503854" y="5170959"/>
                </a:cubicBezTo>
                <a:cubicBezTo>
                  <a:pt x="503854" y="5101930"/>
                  <a:pt x="559981" y="5045802"/>
                  <a:pt x="629011" y="5045802"/>
                </a:cubicBezTo>
                <a:close/>
                <a:moveTo>
                  <a:pt x="1201250" y="4954191"/>
                </a:moveTo>
                <a:cubicBezTo>
                  <a:pt x="1291247" y="4954191"/>
                  <a:pt x="1368181" y="5008626"/>
                  <a:pt x="1401022" y="5086465"/>
                </a:cubicBezTo>
                <a:lnTo>
                  <a:pt x="1410074" y="5131469"/>
                </a:lnTo>
                <a:lnTo>
                  <a:pt x="1406404" y="5157373"/>
                </a:lnTo>
                <a:lnTo>
                  <a:pt x="1412511" y="5198248"/>
                </a:lnTo>
                <a:lnTo>
                  <a:pt x="1401022" y="5255179"/>
                </a:lnTo>
                <a:cubicBezTo>
                  <a:pt x="1368181" y="5332930"/>
                  <a:pt x="1291247" y="5387726"/>
                  <a:pt x="1201250" y="5387726"/>
                </a:cubicBezTo>
                <a:cubicBezTo>
                  <a:pt x="1081899" y="5387726"/>
                  <a:pt x="984484" y="5290954"/>
                  <a:pt x="984484" y="5170958"/>
                </a:cubicBezTo>
                <a:cubicBezTo>
                  <a:pt x="984484" y="5051607"/>
                  <a:pt x="1081254" y="4954191"/>
                  <a:pt x="1201250" y="4954191"/>
                </a:cubicBezTo>
                <a:close/>
                <a:moveTo>
                  <a:pt x="56772" y="4541947"/>
                </a:moveTo>
                <a:cubicBezTo>
                  <a:pt x="87739" y="4541947"/>
                  <a:pt x="113543" y="4567107"/>
                  <a:pt x="113543" y="4598719"/>
                </a:cubicBezTo>
                <a:cubicBezTo>
                  <a:pt x="113543" y="4629686"/>
                  <a:pt x="88383" y="4655491"/>
                  <a:pt x="56772" y="4655491"/>
                </a:cubicBezTo>
                <a:cubicBezTo>
                  <a:pt x="25805" y="4655491"/>
                  <a:pt x="0" y="4630331"/>
                  <a:pt x="0" y="4598719"/>
                </a:cubicBezTo>
                <a:cubicBezTo>
                  <a:pt x="0" y="4567752"/>
                  <a:pt x="25160" y="4541947"/>
                  <a:pt x="56772" y="4541947"/>
                </a:cubicBezTo>
                <a:close/>
                <a:moveTo>
                  <a:pt x="629011" y="4471627"/>
                </a:moveTo>
                <a:cubicBezTo>
                  <a:pt x="698687" y="4471627"/>
                  <a:pt x="755461" y="4528399"/>
                  <a:pt x="756105" y="4598719"/>
                </a:cubicBezTo>
                <a:cubicBezTo>
                  <a:pt x="756105" y="4669041"/>
                  <a:pt x="699333" y="4725813"/>
                  <a:pt x="629011" y="4725813"/>
                </a:cubicBezTo>
                <a:cubicBezTo>
                  <a:pt x="558691" y="4725813"/>
                  <a:pt x="501919" y="4669041"/>
                  <a:pt x="501919" y="4598719"/>
                </a:cubicBezTo>
                <a:cubicBezTo>
                  <a:pt x="501919" y="4528399"/>
                  <a:pt x="558691" y="4471627"/>
                  <a:pt x="629011" y="4471627"/>
                </a:cubicBezTo>
                <a:close/>
                <a:moveTo>
                  <a:pt x="1201250" y="4380017"/>
                </a:moveTo>
                <a:cubicBezTo>
                  <a:pt x="1291731" y="4380017"/>
                  <a:pt x="1369511" y="4435177"/>
                  <a:pt x="1402746" y="4513652"/>
                </a:cubicBezTo>
                <a:lnTo>
                  <a:pt x="1409763" y="4548337"/>
                </a:lnTo>
                <a:lnTo>
                  <a:pt x="1404469" y="4585133"/>
                </a:lnTo>
                <a:lnTo>
                  <a:pt x="1411993" y="4638075"/>
                </a:lnTo>
                <a:lnTo>
                  <a:pt x="1402746" y="4683788"/>
                </a:lnTo>
                <a:cubicBezTo>
                  <a:pt x="1369511" y="4762263"/>
                  <a:pt x="1291731" y="4817423"/>
                  <a:pt x="1201250" y="4817423"/>
                </a:cubicBezTo>
                <a:cubicBezTo>
                  <a:pt x="1080609" y="4817423"/>
                  <a:pt x="982548" y="4719361"/>
                  <a:pt x="982548" y="4598719"/>
                </a:cubicBezTo>
                <a:cubicBezTo>
                  <a:pt x="982548" y="4478078"/>
                  <a:pt x="1080609" y="4380017"/>
                  <a:pt x="1201250" y="4380017"/>
                </a:cubicBezTo>
                <a:close/>
                <a:moveTo>
                  <a:pt x="56772" y="3971644"/>
                </a:moveTo>
                <a:cubicBezTo>
                  <a:pt x="87093" y="3971644"/>
                  <a:pt x="111609" y="3996159"/>
                  <a:pt x="111609" y="4026481"/>
                </a:cubicBezTo>
                <a:cubicBezTo>
                  <a:pt x="111609" y="4056802"/>
                  <a:pt x="87093" y="4081318"/>
                  <a:pt x="56772" y="4081318"/>
                </a:cubicBezTo>
                <a:cubicBezTo>
                  <a:pt x="26450" y="4081318"/>
                  <a:pt x="1935" y="4056802"/>
                  <a:pt x="1935" y="4026481"/>
                </a:cubicBezTo>
                <a:cubicBezTo>
                  <a:pt x="1935" y="3996159"/>
                  <a:pt x="26450" y="3971644"/>
                  <a:pt x="56772" y="3971644"/>
                </a:cubicBezTo>
                <a:close/>
                <a:moveTo>
                  <a:pt x="629011" y="3905839"/>
                </a:moveTo>
                <a:cubicBezTo>
                  <a:pt x="695461" y="3905839"/>
                  <a:pt x="749008" y="3959385"/>
                  <a:pt x="749008" y="4025835"/>
                </a:cubicBezTo>
                <a:cubicBezTo>
                  <a:pt x="749008" y="4092285"/>
                  <a:pt x="695461" y="4145832"/>
                  <a:pt x="629011" y="4145832"/>
                </a:cubicBezTo>
                <a:cubicBezTo>
                  <a:pt x="562561" y="4145832"/>
                  <a:pt x="509015" y="4092285"/>
                  <a:pt x="509015" y="4025835"/>
                </a:cubicBezTo>
                <a:cubicBezTo>
                  <a:pt x="509015" y="3959385"/>
                  <a:pt x="562561" y="3905839"/>
                  <a:pt x="629011" y="3905839"/>
                </a:cubicBezTo>
                <a:close/>
                <a:moveTo>
                  <a:pt x="1203892" y="3814492"/>
                </a:moveTo>
                <a:cubicBezTo>
                  <a:pt x="1302314" y="3815634"/>
                  <a:pt x="1389676" y="3885700"/>
                  <a:pt x="1409012" y="3986118"/>
                </a:cubicBezTo>
                <a:cubicBezTo>
                  <a:pt x="1431111" y="4100879"/>
                  <a:pt x="1355993" y="4211830"/>
                  <a:pt x="1241229" y="4233929"/>
                </a:cubicBezTo>
                <a:cubicBezTo>
                  <a:pt x="1126467" y="4256029"/>
                  <a:pt x="1015518" y="4180910"/>
                  <a:pt x="993420" y="4066147"/>
                </a:cubicBezTo>
                <a:cubicBezTo>
                  <a:pt x="971319" y="3951383"/>
                  <a:pt x="1046437" y="3840434"/>
                  <a:pt x="1161200" y="3818335"/>
                </a:cubicBezTo>
                <a:cubicBezTo>
                  <a:pt x="1175546" y="3815573"/>
                  <a:pt x="1189832" y="3814329"/>
                  <a:pt x="1203892" y="3814492"/>
                </a:cubicBezTo>
                <a:close/>
                <a:moveTo>
                  <a:pt x="56773" y="3404566"/>
                </a:moveTo>
                <a:cubicBezTo>
                  <a:pt x="83868" y="3404566"/>
                  <a:pt x="105802" y="3426501"/>
                  <a:pt x="105802" y="3453597"/>
                </a:cubicBezTo>
                <a:cubicBezTo>
                  <a:pt x="105802" y="3480692"/>
                  <a:pt x="83868" y="3502626"/>
                  <a:pt x="56773" y="3502626"/>
                </a:cubicBezTo>
                <a:cubicBezTo>
                  <a:pt x="29677" y="3502626"/>
                  <a:pt x="7742" y="3480692"/>
                  <a:pt x="7742" y="3453597"/>
                </a:cubicBezTo>
                <a:cubicBezTo>
                  <a:pt x="7742" y="3426501"/>
                  <a:pt x="29677" y="3404566"/>
                  <a:pt x="56773" y="3404566"/>
                </a:cubicBezTo>
                <a:close/>
                <a:moveTo>
                  <a:pt x="629011" y="3346503"/>
                </a:moveTo>
                <a:cubicBezTo>
                  <a:pt x="688364" y="3346503"/>
                  <a:pt x="736105" y="3394244"/>
                  <a:pt x="736105" y="3453597"/>
                </a:cubicBezTo>
                <a:cubicBezTo>
                  <a:pt x="736105" y="3512950"/>
                  <a:pt x="688364" y="3560690"/>
                  <a:pt x="629011" y="3560690"/>
                </a:cubicBezTo>
                <a:cubicBezTo>
                  <a:pt x="569658" y="3560690"/>
                  <a:pt x="521918" y="3512950"/>
                  <a:pt x="521918" y="3453597"/>
                </a:cubicBezTo>
                <a:cubicBezTo>
                  <a:pt x="521918" y="3394244"/>
                  <a:pt x="569658" y="3346503"/>
                  <a:pt x="629011" y="3346503"/>
                </a:cubicBezTo>
                <a:close/>
                <a:moveTo>
                  <a:pt x="1202686" y="3262069"/>
                </a:moveTo>
                <a:cubicBezTo>
                  <a:pt x="1277355" y="3262625"/>
                  <a:pt x="1347997" y="3307072"/>
                  <a:pt x="1378371" y="3380399"/>
                </a:cubicBezTo>
                <a:cubicBezTo>
                  <a:pt x="1418869" y="3478167"/>
                  <a:pt x="1372441" y="3590254"/>
                  <a:pt x="1274673" y="3630752"/>
                </a:cubicBezTo>
                <a:cubicBezTo>
                  <a:pt x="1176904" y="3671250"/>
                  <a:pt x="1064816" y="3624823"/>
                  <a:pt x="1024320" y="3527054"/>
                </a:cubicBezTo>
                <a:cubicBezTo>
                  <a:pt x="983821" y="3429286"/>
                  <a:pt x="1030249" y="3317198"/>
                  <a:pt x="1128017" y="3276701"/>
                </a:cubicBezTo>
                <a:cubicBezTo>
                  <a:pt x="1152459" y="3266577"/>
                  <a:pt x="1177796" y="3261885"/>
                  <a:pt x="1202686" y="3262069"/>
                </a:cubicBezTo>
                <a:close/>
                <a:moveTo>
                  <a:pt x="56772" y="2842649"/>
                </a:moveTo>
                <a:cubicBezTo>
                  <a:pt x="78062" y="2842649"/>
                  <a:pt x="95481" y="2860068"/>
                  <a:pt x="95481" y="2881357"/>
                </a:cubicBezTo>
                <a:cubicBezTo>
                  <a:pt x="95481" y="2902647"/>
                  <a:pt x="78062" y="2920066"/>
                  <a:pt x="56772" y="2920066"/>
                </a:cubicBezTo>
                <a:cubicBezTo>
                  <a:pt x="34837" y="2920066"/>
                  <a:pt x="18064" y="2902647"/>
                  <a:pt x="18064" y="2881357"/>
                </a:cubicBezTo>
                <a:cubicBezTo>
                  <a:pt x="18064" y="2860068"/>
                  <a:pt x="35482" y="2842649"/>
                  <a:pt x="56772" y="2842649"/>
                </a:cubicBezTo>
                <a:close/>
                <a:moveTo>
                  <a:pt x="629011" y="2794263"/>
                </a:moveTo>
                <a:cubicBezTo>
                  <a:pt x="676752" y="2794263"/>
                  <a:pt x="716105" y="2832971"/>
                  <a:pt x="716105" y="2881357"/>
                </a:cubicBezTo>
                <a:cubicBezTo>
                  <a:pt x="716105" y="2929097"/>
                  <a:pt x="677397" y="2968450"/>
                  <a:pt x="629011" y="2968450"/>
                </a:cubicBezTo>
                <a:cubicBezTo>
                  <a:pt x="580626" y="2968450"/>
                  <a:pt x="541273" y="2929743"/>
                  <a:pt x="541918" y="2881357"/>
                </a:cubicBezTo>
                <a:cubicBezTo>
                  <a:pt x="541918" y="2833616"/>
                  <a:pt x="580626" y="2794263"/>
                  <a:pt x="629011" y="2794263"/>
                </a:cubicBezTo>
                <a:close/>
                <a:moveTo>
                  <a:pt x="1201251" y="2715555"/>
                </a:moveTo>
                <a:cubicBezTo>
                  <a:pt x="1292862" y="2715555"/>
                  <a:pt x="1367053" y="2789747"/>
                  <a:pt x="1367053" y="2881357"/>
                </a:cubicBezTo>
                <a:cubicBezTo>
                  <a:pt x="1367053" y="2972967"/>
                  <a:pt x="1292862" y="3047158"/>
                  <a:pt x="1201251" y="3047158"/>
                </a:cubicBezTo>
                <a:cubicBezTo>
                  <a:pt x="1109641" y="3047158"/>
                  <a:pt x="1035450" y="2972967"/>
                  <a:pt x="1035450" y="2881357"/>
                </a:cubicBezTo>
                <a:cubicBezTo>
                  <a:pt x="1035450" y="2789747"/>
                  <a:pt x="1109641" y="2715555"/>
                  <a:pt x="1201251" y="2715555"/>
                </a:cubicBezTo>
                <a:close/>
                <a:moveTo>
                  <a:pt x="629011" y="2240732"/>
                </a:moveTo>
                <a:cubicBezTo>
                  <a:pt x="666430" y="2240732"/>
                  <a:pt x="696752" y="2271055"/>
                  <a:pt x="696752" y="2308473"/>
                </a:cubicBezTo>
                <a:cubicBezTo>
                  <a:pt x="696752" y="2345890"/>
                  <a:pt x="666430" y="2376214"/>
                  <a:pt x="629011" y="2376214"/>
                </a:cubicBezTo>
                <a:cubicBezTo>
                  <a:pt x="591594" y="2376214"/>
                  <a:pt x="561272" y="2345890"/>
                  <a:pt x="561272" y="2308473"/>
                </a:cubicBezTo>
                <a:cubicBezTo>
                  <a:pt x="561272" y="2271055"/>
                  <a:pt x="591594" y="2240732"/>
                  <a:pt x="629011" y="2240732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6"/>
                  <a:pt x="1333504" y="2308479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2"/>
                  <a:pt x="1068997" y="2308479"/>
                </a:cubicBezTo>
                <a:cubicBezTo>
                  <a:pt x="1068997" y="2235576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5"/>
                </a:cubicBezTo>
                <a:lnTo>
                  <a:pt x="1987399" y="2278426"/>
                </a:lnTo>
                <a:lnTo>
                  <a:pt x="1985740" y="2294890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5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5" y="1058530"/>
                  <a:pt x="2537335" y="1163996"/>
                </a:cubicBezTo>
                <a:cubicBezTo>
                  <a:pt x="2537335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4" y="395638"/>
                </a:moveTo>
                <a:cubicBezTo>
                  <a:pt x="3026353" y="395638"/>
                  <a:pt x="3114092" y="483377"/>
                  <a:pt x="3114092" y="591115"/>
                </a:cubicBezTo>
                <a:cubicBezTo>
                  <a:pt x="3114092" y="698853"/>
                  <a:pt x="3026353" y="786593"/>
                  <a:pt x="2918614" y="786593"/>
                </a:cubicBezTo>
                <a:cubicBezTo>
                  <a:pt x="2810875" y="786593"/>
                  <a:pt x="2723137" y="699498"/>
                  <a:pt x="2723137" y="591115"/>
                </a:cubicBezTo>
                <a:cubicBezTo>
                  <a:pt x="2723137" y="483377"/>
                  <a:pt x="2810875" y="395638"/>
                  <a:pt x="2918614" y="395638"/>
                </a:cubicBezTo>
                <a:close/>
                <a:moveTo>
                  <a:pt x="4310582" y="0"/>
                </a:moveTo>
                <a:lnTo>
                  <a:pt x="6616264" y="0"/>
                </a:lnTo>
                <a:lnTo>
                  <a:pt x="6616264" y="6845058"/>
                </a:lnTo>
                <a:lnTo>
                  <a:pt x="1487047" y="6845058"/>
                </a:lnTo>
                <a:cubicBezTo>
                  <a:pt x="1501885" y="6725707"/>
                  <a:pt x="1603173" y="6632807"/>
                  <a:pt x="1727039" y="6632807"/>
                </a:cubicBezTo>
                <a:cubicBezTo>
                  <a:pt x="1847035" y="6632807"/>
                  <a:pt x="1946387" y="6719901"/>
                  <a:pt x="1965741" y="6834091"/>
                </a:cubicBezTo>
                <a:cubicBezTo>
                  <a:pt x="1976709" y="6743772"/>
                  <a:pt x="2023158" y="6665064"/>
                  <a:pt x="2090254" y="6611518"/>
                </a:cubicBezTo>
                <a:cubicBezTo>
                  <a:pt x="2034126" y="6573454"/>
                  <a:pt x="1988966" y="6521199"/>
                  <a:pt x="1960580" y="6459265"/>
                </a:cubicBezTo>
                <a:cubicBezTo>
                  <a:pt x="1910259" y="6534101"/>
                  <a:pt x="1824455" y="6583777"/>
                  <a:pt x="1727039" y="6583777"/>
                </a:cubicBezTo>
                <a:cubicBezTo>
                  <a:pt x="1571560" y="6583777"/>
                  <a:pt x="1445758" y="6457975"/>
                  <a:pt x="1445758" y="6302496"/>
                </a:cubicBezTo>
                <a:cubicBezTo>
                  <a:pt x="1445758" y="6170243"/>
                  <a:pt x="1536078" y="6059923"/>
                  <a:pt x="1658654" y="6029602"/>
                </a:cubicBezTo>
                <a:cubicBezTo>
                  <a:pt x="1521884" y="5997990"/>
                  <a:pt x="1419307" y="5876059"/>
                  <a:pt x="1419307" y="5729611"/>
                </a:cubicBezTo>
                <a:cubicBezTo>
                  <a:pt x="1419307" y="5606390"/>
                  <a:pt x="1492853" y="5499942"/>
                  <a:pt x="1598012" y="5450911"/>
                </a:cubicBezTo>
                <a:cubicBezTo>
                  <a:pt x="1513337" y="5413654"/>
                  <a:pt x="1447894" y="5340834"/>
                  <a:pt x="1420467" y="5251502"/>
                </a:cubicBezTo>
                <a:lnTo>
                  <a:pt x="1412511" y="5198248"/>
                </a:lnTo>
                <a:lnTo>
                  <a:pt x="1418018" y="5170958"/>
                </a:lnTo>
                <a:lnTo>
                  <a:pt x="1410074" y="5131469"/>
                </a:lnTo>
                <a:lnTo>
                  <a:pt x="1419106" y="5067728"/>
                </a:lnTo>
                <a:cubicBezTo>
                  <a:pt x="1443902" y="4982419"/>
                  <a:pt x="1503175" y="4911897"/>
                  <a:pt x="1580592" y="4872220"/>
                </a:cubicBezTo>
                <a:cubicBezTo>
                  <a:pt x="1502208" y="4832545"/>
                  <a:pt x="1442330" y="4761297"/>
                  <a:pt x="1417291" y="4675352"/>
                </a:cubicBezTo>
                <a:lnTo>
                  <a:pt x="1411993" y="4638075"/>
                </a:lnTo>
                <a:lnTo>
                  <a:pt x="1419954" y="4598719"/>
                </a:lnTo>
                <a:lnTo>
                  <a:pt x="1409763" y="4548337"/>
                </a:lnTo>
                <a:lnTo>
                  <a:pt x="1417623" y="4493695"/>
                </a:lnTo>
                <a:cubicBezTo>
                  <a:pt x="1443297" y="4406752"/>
                  <a:pt x="1504626" y="4335142"/>
                  <a:pt x="1584463" y="4295465"/>
                </a:cubicBezTo>
                <a:cubicBezTo>
                  <a:pt x="1481241" y="4243208"/>
                  <a:pt x="1410276" y="4136115"/>
                  <a:pt x="1410276" y="4012249"/>
                </a:cubicBezTo>
                <a:cubicBezTo>
                  <a:pt x="1410276" y="3874833"/>
                  <a:pt x="1497370" y="3758063"/>
                  <a:pt x="1619945" y="3714194"/>
                </a:cubicBezTo>
                <a:cubicBezTo>
                  <a:pt x="1510272" y="3670970"/>
                  <a:pt x="1432210" y="3564521"/>
                  <a:pt x="1432210" y="3440009"/>
                </a:cubicBezTo>
                <a:cubicBezTo>
                  <a:pt x="1432210" y="3276789"/>
                  <a:pt x="1564463" y="3145180"/>
                  <a:pt x="1727039" y="3145180"/>
                </a:cubicBezTo>
                <a:cubicBezTo>
                  <a:pt x="1821230" y="3145180"/>
                  <a:pt x="1905097" y="3189694"/>
                  <a:pt x="1959290" y="3259370"/>
                </a:cubicBezTo>
                <a:cubicBezTo>
                  <a:pt x="1985740" y="3210339"/>
                  <a:pt x="2022513" y="3167115"/>
                  <a:pt x="2066382" y="3133568"/>
                </a:cubicBezTo>
                <a:cubicBezTo>
                  <a:pt x="2019932" y="3092924"/>
                  <a:pt x="1983805" y="3040022"/>
                  <a:pt x="1963805" y="2980025"/>
                </a:cubicBezTo>
                <a:cubicBezTo>
                  <a:pt x="1921226" y="3068408"/>
                  <a:pt x="1830907" y="3129696"/>
                  <a:pt x="1726393" y="3129696"/>
                </a:cubicBezTo>
                <a:cubicBezTo>
                  <a:pt x="1581237" y="3129696"/>
                  <a:pt x="1463822" y="3012281"/>
                  <a:pt x="1463822" y="2867125"/>
                </a:cubicBezTo>
                <a:cubicBezTo>
                  <a:pt x="1463822" y="2721968"/>
                  <a:pt x="1581237" y="2604553"/>
                  <a:pt x="1726393" y="2604553"/>
                </a:cubicBezTo>
                <a:cubicBezTo>
                  <a:pt x="1831551" y="2604553"/>
                  <a:pt x="1921871" y="2665842"/>
                  <a:pt x="1963805" y="2754226"/>
                </a:cubicBezTo>
                <a:cubicBezTo>
                  <a:pt x="1992191" y="2670357"/>
                  <a:pt x="2051544" y="2600037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7" y="2024578"/>
                  <a:pt x="2538626" y="2092962"/>
                </a:cubicBezTo>
                <a:cubicBezTo>
                  <a:pt x="2566367" y="2047155"/>
                  <a:pt x="2603784" y="2007158"/>
                  <a:pt x="2647654" y="1976190"/>
                </a:cubicBezTo>
                <a:cubicBezTo>
                  <a:pt x="2596688" y="1931031"/>
                  <a:pt x="2559269" y="1871032"/>
                  <a:pt x="2542496" y="1803293"/>
                </a:cubicBezTo>
                <a:cubicBezTo>
                  <a:pt x="2508304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4" y="1538784"/>
                  <a:pt x="2542496" y="1640718"/>
                </a:cubicBezTo>
                <a:cubicBezTo>
                  <a:pt x="2570239" y="1529109"/>
                  <a:pt x="2652815" y="1439433"/>
                  <a:pt x="2760554" y="1402016"/>
                </a:cubicBezTo>
                <a:cubicBezTo>
                  <a:pt x="2663137" y="1358789"/>
                  <a:pt x="2595399" y="1262019"/>
                  <a:pt x="2595399" y="1149118"/>
                </a:cubicBezTo>
                <a:cubicBezTo>
                  <a:pt x="2595399" y="996221"/>
                  <a:pt x="2719264" y="872997"/>
                  <a:pt x="2871517" y="872997"/>
                </a:cubicBezTo>
                <a:cubicBezTo>
                  <a:pt x="2983772" y="872997"/>
                  <a:pt x="3079897" y="939449"/>
                  <a:pt x="3123122" y="1035574"/>
                </a:cubicBezTo>
                <a:cubicBezTo>
                  <a:pt x="3159250" y="932997"/>
                  <a:pt x="3243118" y="853000"/>
                  <a:pt x="3348276" y="822035"/>
                </a:cubicBezTo>
                <a:cubicBezTo>
                  <a:pt x="3249570" y="783327"/>
                  <a:pt x="3179894" y="688491"/>
                  <a:pt x="3179894" y="576235"/>
                </a:cubicBezTo>
                <a:cubicBezTo>
                  <a:pt x="3179894" y="430434"/>
                  <a:pt x="3297955" y="312373"/>
                  <a:pt x="3443756" y="312373"/>
                </a:cubicBezTo>
                <a:cubicBezTo>
                  <a:pt x="3567623" y="312373"/>
                  <a:pt x="3672136" y="398822"/>
                  <a:pt x="3699877" y="514303"/>
                </a:cubicBezTo>
                <a:cubicBezTo>
                  <a:pt x="3728908" y="365921"/>
                  <a:pt x="3859227" y="254311"/>
                  <a:pt x="4015996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8" y="240118"/>
                </a:cubicBezTo>
                <a:cubicBezTo>
                  <a:pt x="4363082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5" y="250481"/>
                  <a:pt x="4063738" y="250481"/>
                </a:cubicBezTo>
                <a:cubicBezTo>
                  <a:pt x="3935999" y="250481"/>
                  <a:pt x="3832132" y="146614"/>
                  <a:pt x="3832777" y="19521"/>
                </a:cubicBezTo>
                <a:close/>
                <a:moveTo>
                  <a:pt x="3315960" y="0"/>
                </a:moveTo>
                <a:lnTo>
                  <a:pt x="3665746" y="0"/>
                </a:lnTo>
                <a:lnTo>
                  <a:pt x="3669557" y="18877"/>
                </a:lnTo>
                <a:cubicBezTo>
                  <a:pt x="3669557" y="117572"/>
                  <a:pt x="3589548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6" y="0"/>
                </a:moveTo>
                <a:lnTo>
                  <a:pt x="3039822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4" y="144678"/>
                </a:cubicBezTo>
                <a:cubicBezTo>
                  <a:pt x="2849583" y="144678"/>
                  <a:pt x="2793456" y="88551"/>
                  <a:pt x="2793456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E567CD6-3B78-4067-89C5-1D44BD3BA30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BAC30FE-1767-4175-A595-03CBD296F1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5" y="1798638"/>
            <a:ext cx="5068888" cy="496887"/>
          </a:xfrm>
        </p:spPr>
        <p:txBody>
          <a:bodyPr/>
          <a:lstStyle>
            <a:lvl1pPr marL="0" indent="0">
              <a:buNone/>
              <a:defRPr sz="3200"/>
            </a:lvl1pPr>
            <a:lvl2pPr marL="0" indent="0">
              <a:buNone/>
              <a:defRPr sz="32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E15BA4C-2851-4908-B582-A726DAB971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775" y="3641952"/>
            <a:ext cx="5068888" cy="2315936"/>
          </a:xfrm>
        </p:spPr>
        <p:txBody>
          <a:bodyPr/>
          <a:lstStyle>
            <a:lvl1pPr marL="0" indent="0">
              <a:buNone/>
              <a:defRPr sz="16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F838E057-8933-4F9A-98C2-E00BD0C8CC6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8775" y="2295525"/>
            <a:ext cx="5068888" cy="1133475"/>
          </a:xfrm>
        </p:spPr>
        <p:txBody>
          <a:bodyPr/>
          <a:lstStyle>
            <a:lvl1pPr marL="0" indent="0">
              <a:buNone/>
              <a:defRPr sz="3200">
                <a:latin typeface="+mn-lt"/>
              </a:defRPr>
            </a:lvl1pPr>
            <a:lvl2pPr marL="0" indent="0">
              <a:buNone/>
              <a:defRPr sz="32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2518412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1323" userDrawn="1">
          <p15:clr>
            <a:srgbClr val="FF96FF"/>
          </p15:clr>
        </p15:guide>
        <p15:guide id="7" pos="1453" userDrawn="1">
          <p15:clr>
            <a:srgbClr val="FF96FF"/>
          </p15:clr>
        </p15:guide>
        <p15:guide id="9" pos="2680" userDrawn="1">
          <p15:clr>
            <a:srgbClr val="FF96FF"/>
          </p15:clr>
        </p15:guide>
        <p15:guide id="10" pos="3795" userDrawn="1">
          <p15:clr>
            <a:srgbClr val="FF96FF"/>
          </p15:clr>
        </p15:guide>
        <p15:guide id="11" pos="3908" userDrawn="1">
          <p15:clr>
            <a:srgbClr val="FF96FF"/>
          </p15:clr>
        </p15:guide>
        <p15:guide id="12" pos="4999" userDrawn="1">
          <p15:clr>
            <a:srgbClr val="FF96FF"/>
          </p15:clr>
        </p15:guide>
        <p15:guide id="13" pos="5135" userDrawn="1">
          <p15:clr>
            <a:srgbClr val="FF96FF"/>
          </p15:clr>
        </p15:guide>
        <p15:guide id="14" pos="6226" userDrawn="1">
          <p15:clr>
            <a:srgbClr val="FF96FF"/>
          </p15:clr>
        </p15:guide>
        <p15:guide id="15" pos="6362" userDrawn="1">
          <p15:clr>
            <a:srgbClr val="FF96FF"/>
          </p15:clr>
        </p15:guide>
        <p15:guide id="16" pos="7453" userDrawn="1">
          <p15:clr>
            <a:srgbClr val="FF96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1B111059-DBC4-45AB-8F17-173A4FC2887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71DB77D-2F07-40F6-BC00-A91E707946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200663764" name="image" descr="{&quot;templafy&quot;:{&quot;id&quot;:&quot;4d9b3a11-fbfa-4d52-b923-56265da5eff0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858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2544" userDrawn="1">
          <p15:clr>
            <a:srgbClr val="FF96FF"/>
          </p15:clr>
        </p15:guide>
        <p15:guide id="7" pos="2680" userDrawn="1">
          <p15:clr>
            <a:srgbClr val="FF96FF"/>
          </p15:clr>
        </p15:guide>
        <p15:guide id="8" pos="4999" userDrawn="1">
          <p15:clr>
            <a:srgbClr val="FF96FF"/>
          </p15:clr>
        </p15:guide>
        <p15:guide id="9" pos="5135" userDrawn="1">
          <p15:clr>
            <a:srgbClr val="FF96FF"/>
          </p15:clr>
        </p15:guide>
        <p15:guide id="10" pos="7453" userDrawn="1">
          <p15:clr>
            <a:srgbClr val="FF96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F37376-B2FD-48AB-B025-33847E15C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7FE9DC-36B2-4EF6-81B3-FF56730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43519EE6-2DD5-48FE-8028-EC40E46E618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9DF3D7C-2012-4482-86D3-CFB853384A1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58775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0CB3A235-36BA-4A89-8632-E343C5C8638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5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3C81E87E-86C2-441F-8BC2-56BC77F462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9465" y="47627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9B284DEE-FBF9-4B12-8CAC-08EA5237D53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8086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0C3B1F89-2B51-4803-AA81-E770D55BE1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82053" y="47555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CDD4FF4-10BE-4B8A-BB7D-A9E41E108E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4641" y="47663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A4833988-7703-4670-BBA7-955D2D02005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24416" y="47663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87D64EBA-46E7-416E-858E-9E600D31BD6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1363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922F2B85-8898-4229-AFDB-5B818CE0DAB3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203951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C6AE4C92-FE95-4268-8D5A-398BDF4B9FA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9123726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7200D26E-A515-49EB-BE84-EF1A30D3E1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280674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D8A8956B-591F-4412-A18F-677993039BD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79985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E0003D8B-21E2-43CC-B944-A41DF737B75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03951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CE6FCABE-4211-42FB-A6B4-AC8F654572A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03262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688685DE-A8C4-4EA1-AC89-C40A5D9BB78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23726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D6C0EC03-56B7-49CF-8D18-ABCE69A2EA8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23037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C9D8454D-4B42-4517-9698-F08282F418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56EEF4CE-6E53-4B83-90D8-5B225E39A77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31B07D2-7539-421E-8DFA-87C982A9F9A6}"/>
              </a:ext>
            </a:extLst>
          </p:cNvPr>
          <p:cNvCxnSpPr>
            <a:cxnSpLocks/>
          </p:cNvCxnSpPr>
          <p:nvPr userDrawn="1"/>
        </p:nvCxnSpPr>
        <p:spPr>
          <a:xfrm>
            <a:off x="358775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CF00363-8198-4B06-9AF1-262D568EA998}"/>
              </a:ext>
            </a:extLst>
          </p:cNvPr>
          <p:cNvCxnSpPr>
            <a:cxnSpLocks/>
          </p:cNvCxnSpPr>
          <p:nvPr userDrawn="1"/>
        </p:nvCxnSpPr>
        <p:spPr>
          <a:xfrm>
            <a:off x="3281363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DBDF40C-650F-4898-9269-00A4419543B7}"/>
              </a:ext>
            </a:extLst>
          </p:cNvPr>
          <p:cNvCxnSpPr>
            <a:cxnSpLocks/>
          </p:cNvCxnSpPr>
          <p:nvPr userDrawn="1"/>
        </p:nvCxnSpPr>
        <p:spPr>
          <a:xfrm>
            <a:off x="6202362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9BF1F72-4BBD-46EF-AD1F-AB34CB1AEBE0}"/>
              </a:ext>
            </a:extLst>
          </p:cNvPr>
          <p:cNvCxnSpPr>
            <a:cxnSpLocks/>
          </p:cNvCxnSpPr>
          <p:nvPr userDrawn="1"/>
        </p:nvCxnSpPr>
        <p:spPr>
          <a:xfrm>
            <a:off x="9124950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C6CB9A9-E63F-44D3-83DE-6C5CA4610EDB}"/>
              </a:ext>
            </a:extLst>
          </p:cNvPr>
          <p:cNvCxnSpPr>
            <a:cxnSpLocks/>
          </p:cNvCxnSpPr>
          <p:nvPr userDrawn="1"/>
        </p:nvCxnSpPr>
        <p:spPr>
          <a:xfrm>
            <a:off x="358775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26FA096-86F2-4CD8-8F8E-40898485B0ED}"/>
              </a:ext>
            </a:extLst>
          </p:cNvPr>
          <p:cNvCxnSpPr>
            <a:cxnSpLocks/>
          </p:cNvCxnSpPr>
          <p:nvPr userDrawn="1"/>
        </p:nvCxnSpPr>
        <p:spPr>
          <a:xfrm>
            <a:off x="3281363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20BE58D-ED5F-4824-88AB-64D4A5D7FDE4}"/>
              </a:ext>
            </a:extLst>
          </p:cNvPr>
          <p:cNvCxnSpPr>
            <a:cxnSpLocks/>
          </p:cNvCxnSpPr>
          <p:nvPr userDrawn="1"/>
        </p:nvCxnSpPr>
        <p:spPr>
          <a:xfrm>
            <a:off x="6202362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9F8E370-4DEB-4E82-8B09-75A08C2C01A2}"/>
              </a:ext>
            </a:extLst>
          </p:cNvPr>
          <p:cNvCxnSpPr>
            <a:cxnSpLocks/>
          </p:cNvCxnSpPr>
          <p:nvPr userDrawn="1"/>
        </p:nvCxnSpPr>
        <p:spPr>
          <a:xfrm>
            <a:off x="9124950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9191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1931" userDrawn="1">
          <p15:clr>
            <a:srgbClr val="FF96FF"/>
          </p15:clr>
        </p15:guide>
        <p15:guide id="7" pos="2067" userDrawn="1">
          <p15:clr>
            <a:srgbClr val="FF96FF"/>
          </p15:clr>
        </p15:guide>
        <p15:guide id="8" pos="3771" userDrawn="1">
          <p15:clr>
            <a:srgbClr val="FF96FF"/>
          </p15:clr>
        </p15:guide>
        <p15:guide id="9" pos="3908" userDrawn="1">
          <p15:clr>
            <a:srgbClr val="FF96FF"/>
          </p15:clr>
        </p15:guide>
        <p15:guide id="10" pos="5612" userDrawn="1">
          <p15:clr>
            <a:srgbClr val="FF96FF"/>
          </p15:clr>
        </p15:guide>
        <p15:guide id="11" pos="5748" userDrawn="1">
          <p15:clr>
            <a:srgbClr val="FF96FF"/>
          </p15:clr>
        </p15:guide>
        <p15:guide id="12" pos="7453" userDrawn="1">
          <p15:clr>
            <a:srgbClr val="FF96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B18E97-E055-4F98-9C60-8B7FFD3F8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06638" y="1450975"/>
            <a:ext cx="7577137" cy="2497138"/>
          </a:xfrm>
        </p:spPr>
        <p:txBody>
          <a:bodyPr/>
          <a:lstStyle>
            <a:lvl1pPr marL="0" indent="0" algn="ctr">
              <a:buNone/>
              <a:defRPr sz="4800"/>
            </a:lvl1pPr>
            <a:lvl2pPr marL="0" indent="0" algn="ctr">
              <a:buNone/>
              <a:defRPr sz="3200">
                <a:latin typeface="+mj-lt"/>
              </a:defRPr>
            </a:lvl2pPr>
            <a:lvl3pPr marL="0" indent="0" algn="ctr">
              <a:buNone/>
              <a:defRPr sz="2400">
                <a:latin typeface="+mj-lt"/>
              </a:defRPr>
            </a:lvl3pPr>
            <a:lvl4pPr marL="0" indent="0" algn="ctr">
              <a:buNone/>
              <a:defRPr sz="20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Add Quote</a:t>
            </a:r>
          </a:p>
        </p:txBody>
      </p:sp>
      <p:sp>
        <p:nvSpPr>
          <p:cNvPr id="8" name="Guides" hidden="1">
            <a:extLst>
              <a:ext uri="{FF2B5EF4-FFF2-40B4-BE49-F238E27FC236}">
                <a16:creationId xmlns:a16="http://schemas.microsoft.com/office/drawing/2014/main" id="{24862E2E-D3BD-4369-A62D-BC73AC80014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6000" y="4619567"/>
            <a:ext cx="3679999" cy="133112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ource</a:t>
            </a:r>
          </a:p>
          <a:p>
            <a:pPr lvl="1"/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813EA91-65AB-4D32-8B12-19D2BEE96493}"/>
              </a:ext>
            </a:extLst>
          </p:cNvPr>
          <p:cNvCxnSpPr>
            <a:cxnSpLocks/>
          </p:cNvCxnSpPr>
          <p:nvPr userDrawn="1"/>
        </p:nvCxnSpPr>
        <p:spPr>
          <a:xfrm>
            <a:off x="4256000" y="4326675"/>
            <a:ext cx="3679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1977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1317" userDrawn="1">
          <p15:clr>
            <a:srgbClr val="FF96FF"/>
          </p15:clr>
        </p15:guide>
        <p15:guide id="7" pos="1453" userDrawn="1">
          <p15:clr>
            <a:srgbClr val="FF96FF"/>
          </p15:clr>
        </p15:guide>
        <p15:guide id="8" pos="2544" userDrawn="1">
          <p15:clr>
            <a:srgbClr val="FF96FF"/>
          </p15:clr>
        </p15:guide>
        <p15:guide id="9" pos="2680" userDrawn="1">
          <p15:clr>
            <a:srgbClr val="FF96FF"/>
          </p15:clr>
        </p15:guide>
        <p15:guide id="10" pos="3771" userDrawn="1">
          <p15:clr>
            <a:srgbClr val="FF96FF"/>
          </p15:clr>
        </p15:guide>
        <p15:guide id="11" pos="3908" userDrawn="1">
          <p15:clr>
            <a:srgbClr val="FF96FF"/>
          </p15:clr>
        </p15:guide>
        <p15:guide id="12" pos="4999" userDrawn="1">
          <p15:clr>
            <a:srgbClr val="FF96FF"/>
          </p15:clr>
        </p15:guide>
        <p15:guide id="13" pos="5135" userDrawn="1">
          <p15:clr>
            <a:srgbClr val="FF96FF"/>
          </p15:clr>
        </p15:guide>
        <p15:guide id="14" pos="6226" userDrawn="1">
          <p15:clr>
            <a:srgbClr val="FF96FF"/>
          </p15:clr>
        </p15:guide>
        <p15:guide id="15" pos="6362" userDrawn="1">
          <p15:clr>
            <a:srgbClr val="FF96FF"/>
          </p15:clr>
        </p15:guide>
        <p15:guide id="16" pos="7453" userDrawn="1">
          <p15:clr>
            <a:srgbClr val="FF96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C4065C1A-9875-427F-A08A-6281CACC8C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06638" y="1450975"/>
            <a:ext cx="7577137" cy="2497138"/>
          </a:xfrm>
        </p:spPr>
        <p:txBody>
          <a:bodyPr/>
          <a:lstStyle>
            <a:lvl1pPr marL="0" indent="0" algn="ctr">
              <a:buNone/>
              <a:defRPr sz="4800"/>
            </a:lvl1pPr>
            <a:lvl2pPr marL="0" indent="0" algn="ctr">
              <a:buNone/>
              <a:defRPr sz="3200">
                <a:latin typeface="+mj-lt"/>
              </a:defRPr>
            </a:lvl2pPr>
            <a:lvl3pPr marL="0" indent="0" algn="ctr">
              <a:buNone/>
              <a:defRPr sz="2400">
                <a:latin typeface="+mj-lt"/>
              </a:defRPr>
            </a:lvl3pPr>
            <a:lvl4pPr marL="0" indent="0" algn="ctr">
              <a:buNone/>
              <a:defRPr sz="20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Add Quote</a:t>
            </a:r>
          </a:p>
        </p:txBody>
      </p:sp>
      <p:sp>
        <p:nvSpPr>
          <p:cNvPr id="8" name="Guides" hidden="1">
            <a:extLst>
              <a:ext uri="{FF2B5EF4-FFF2-40B4-BE49-F238E27FC236}">
                <a16:creationId xmlns:a16="http://schemas.microsoft.com/office/drawing/2014/main" id="{24862E2E-D3BD-4369-A62D-BC73AC80014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6000" y="4619567"/>
            <a:ext cx="3679999" cy="133112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ource</a:t>
            </a:r>
          </a:p>
          <a:p>
            <a:pPr lvl="1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7A59D94-1A4B-4ADA-9DA1-168B73BC0C09}"/>
              </a:ext>
            </a:extLst>
          </p:cNvPr>
          <p:cNvCxnSpPr>
            <a:cxnSpLocks/>
          </p:cNvCxnSpPr>
          <p:nvPr userDrawn="1"/>
        </p:nvCxnSpPr>
        <p:spPr>
          <a:xfrm>
            <a:off x="4256000" y="4326675"/>
            <a:ext cx="3679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6090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1317" userDrawn="1">
          <p15:clr>
            <a:srgbClr val="FF96FF"/>
          </p15:clr>
        </p15:guide>
        <p15:guide id="7" pos="1453" userDrawn="1">
          <p15:clr>
            <a:srgbClr val="FF96FF"/>
          </p15:clr>
        </p15:guide>
        <p15:guide id="8" pos="2544" userDrawn="1">
          <p15:clr>
            <a:srgbClr val="FF96FF"/>
          </p15:clr>
        </p15:guide>
        <p15:guide id="9" pos="2680" userDrawn="1">
          <p15:clr>
            <a:srgbClr val="FF96FF"/>
          </p15:clr>
        </p15:guide>
        <p15:guide id="10" pos="3771" userDrawn="1">
          <p15:clr>
            <a:srgbClr val="FF96FF"/>
          </p15:clr>
        </p15:guide>
        <p15:guide id="11" pos="3908" userDrawn="1">
          <p15:clr>
            <a:srgbClr val="FF96FF"/>
          </p15:clr>
        </p15:guide>
        <p15:guide id="12" pos="4999" userDrawn="1">
          <p15:clr>
            <a:srgbClr val="FF96FF"/>
          </p15:clr>
        </p15:guide>
        <p15:guide id="13" pos="5135" userDrawn="1">
          <p15:clr>
            <a:srgbClr val="FF96FF"/>
          </p15:clr>
        </p15:guide>
        <p15:guide id="14" pos="6226" userDrawn="1">
          <p15:clr>
            <a:srgbClr val="FF96FF"/>
          </p15:clr>
        </p15:guide>
        <p15:guide id="15" pos="6362" userDrawn="1">
          <p15:clr>
            <a:srgbClr val="FF96FF"/>
          </p15:clr>
        </p15:guide>
        <p15:guide id="16" pos="7453" userDrawn="1">
          <p15:clr>
            <a:srgbClr val="FF96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8C366B9-0297-413E-8878-727A0837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03E37F-1C65-4A6B-BC1A-06099BEA66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4239502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1317" userDrawn="1">
          <p15:clr>
            <a:srgbClr val="FF96FF"/>
          </p15:clr>
        </p15:guide>
        <p15:guide id="7" pos="1453" userDrawn="1">
          <p15:clr>
            <a:srgbClr val="FF96FF"/>
          </p15:clr>
        </p15:guide>
        <p15:guide id="8" pos="2544" userDrawn="1">
          <p15:clr>
            <a:srgbClr val="FF96FF"/>
          </p15:clr>
        </p15:guide>
        <p15:guide id="9" pos="2680" userDrawn="1">
          <p15:clr>
            <a:srgbClr val="FF96FF"/>
          </p15:clr>
        </p15:guide>
        <p15:guide id="10" pos="3771" userDrawn="1">
          <p15:clr>
            <a:srgbClr val="FF96FF"/>
          </p15:clr>
        </p15:guide>
        <p15:guide id="11" pos="3908" userDrawn="1">
          <p15:clr>
            <a:srgbClr val="FF96FF"/>
          </p15:clr>
        </p15:guide>
        <p15:guide id="12" pos="4999" userDrawn="1">
          <p15:clr>
            <a:srgbClr val="FF96FF"/>
          </p15:clr>
        </p15:guide>
        <p15:guide id="13" pos="5135" userDrawn="1">
          <p15:clr>
            <a:srgbClr val="FF96FF"/>
          </p15:clr>
        </p15:guide>
        <p15:guide id="14" pos="6226" userDrawn="1">
          <p15:clr>
            <a:srgbClr val="FF96FF"/>
          </p15:clr>
        </p15:guide>
        <p15:guide id="15" pos="6362" userDrawn="1">
          <p15:clr>
            <a:srgbClr val="FF96FF"/>
          </p15:clr>
        </p15:guide>
        <p15:guide id="16" pos="7453" userDrawn="1">
          <p15:clr>
            <a:srgbClr val="FF96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024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1317" userDrawn="1">
          <p15:clr>
            <a:srgbClr val="FF96FF"/>
          </p15:clr>
        </p15:guide>
        <p15:guide id="7" pos="1453" userDrawn="1">
          <p15:clr>
            <a:srgbClr val="FF96FF"/>
          </p15:clr>
        </p15:guide>
        <p15:guide id="8" pos="2544" userDrawn="1">
          <p15:clr>
            <a:srgbClr val="FF96FF"/>
          </p15:clr>
        </p15:guide>
        <p15:guide id="9" pos="2680" userDrawn="1">
          <p15:clr>
            <a:srgbClr val="FF96FF"/>
          </p15:clr>
        </p15:guide>
        <p15:guide id="10" pos="3771" userDrawn="1">
          <p15:clr>
            <a:srgbClr val="FF96FF"/>
          </p15:clr>
        </p15:guide>
        <p15:guide id="11" pos="3908" userDrawn="1">
          <p15:clr>
            <a:srgbClr val="FF96FF"/>
          </p15:clr>
        </p15:guide>
        <p15:guide id="12" pos="4999" userDrawn="1">
          <p15:clr>
            <a:srgbClr val="FF96FF"/>
          </p15:clr>
        </p15:guide>
        <p15:guide id="13" pos="5135" userDrawn="1">
          <p15:clr>
            <a:srgbClr val="FF96FF"/>
          </p15:clr>
        </p15:guide>
        <p15:guide id="14" pos="6226" userDrawn="1">
          <p15:clr>
            <a:srgbClr val="FF96FF"/>
          </p15:clr>
        </p15:guide>
        <p15:guide id="15" pos="6362" userDrawn="1">
          <p15:clr>
            <a:srgbClr val="FF96FF"/>
          </p15:clr>
        </p15:guide>
        <p15:guide id="16" pos="7453" userDrawn="1">
          <p15:clr>
            <a:srgbClr val="FF96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FD63CC-A978-4C2B-99A8-7C2D950AF9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1557339"/>
            <a:ext cx="11474450" cy="1871662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225C59A-8675-4B03-ACEC-03DF1D570DD4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585559744" name="image" descr="{&quot;templafy&quot;:{&quot;id&quot;:&quot;e104d76c-22dc-4d75-b30b-7aa3b21ade2f&quot;}}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525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3" orient="horz" pos="981" userDrawn="1">
          <p15:clr>
            <a:srgbClr val="FF96FF"/>
          </p15:clr>
        </p15:guide>
        <p15:guide id="4" orient="horz" pos="354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  <p15:guide id="7" orient="horz" pos="4020" userDrawn="1">
          <p15:clr>
            <a:srgbClr val="FF96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B7B44933-F307-4411-8D48-0B57B30565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89ECC92-A128-4CDE-8B97-635C44BBB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1557338"/>
            <a:ext cx="11474450" cy="1728787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8C1E33-0E03-4092-A13C-B799FA398BC0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1630630075" name="image" descr="{&quot;templafy&quot;:{&quot;id&quot;:&quot;b5eb3e21-d681-4032-9a1c-d6ce183302dc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188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54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  <p15:guide id="7" orient="horz" pos="4020" userDrawn="1">
          <p15:clr>
            <a:srgbClr val="FF96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6"/>
            <a:ext cx="11474450" cy="1528762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B1CC8A8-179D-4E05-89A7-90C0DCAD90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99078997" name="image" descr="{&quot;templafy&quot;:{&quot;id&quot;:&quot;48488bad-a84e-49c0-9a02-616a35022e17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105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54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  <p15:guide id="7" orient="horz" pos="4020" userDrawn="1">
          <p15:clr>
            <a:srgbClr val="FF96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AEC42528-88D8-420D-AABE-2B141DA6D0F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6"/>
            <a:ext cx="11474450" cy="1528762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364887971" name="image" descr="{&quot;templafy&quot;:{&quot;id&quot;:&quot;8acd1dfe-ca90-47a8-8b5e-5901a125b25c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813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54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  <p15:guide id="7" orient="horz" pos="4020" userDrawn="1">
          <p15:clr>
            <a:srgbClr val="FF96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Express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1235D266-659B-40C3-8BD8-8A7B77EFFE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ACA73310-EDD7-4370-88AD-A94D36BEC3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7"/>
            <a:ext cx="11474450" cy="1528762"/>
          </a:xfrm>
        </p:spPr>
        <p:txBody>
          <a:bodyPr/>
          <a:lstStyle>
            <a:lvl1pPr marL="0" indent="0">
              <a:buNone/>
              <a:defRPr sz="88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DD4E985-E71F-463E-A5D2-7805115D9398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1750659922" name="image" descr="{&quot;templafy&quot;:{&quot;id&quot;:&quot;885f5805-58be-4ab0-a651-dab7ba2249a4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562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54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  <p15:guide id="7" orient="horz" pos="4020" userDrawn="1">
          <p15:clr>
            <a:srgbClr val="FF96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7DBFF792-994D-4763-9021-2FEF7589E6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597"/>
            <a:ext cx="12192000" cy="685680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6147904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998D014-E3E3-471F-8933-C27D84BED9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6147903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287932666" name="image" descr="{&quot;templafy&quot;:{&quot;id&quot;:&quot;3258589b-5309-4eb2-9b7d-be03ca973363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129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2544" userDrawn="1">
          <p15:clr>
            <a:srgbClr val="FF96FF"/>
          </p15:clr>
        </p15:guide>
        <p15:guide id="7" pos="2680" userDrawn="1">
          <p15:clr>
            <a:srgbClr val="FF96FF"/>
          </p15:clr>
        </p15:guide>
        <p15:guide id="8" pos="4999" userDrawn="1">
          <p15:clr>
            <a:srgbClr val="FF96FF"/>
          </p15:clr>
        </p15:guide>
        <p15:guide id="9" pos="5135" userDrawn="1">
          <p15:clr>
            <a:srgbClr val="FF96FF"/>
          </p15:clr>
        </p15:guide>
        <p15:guide id="10" pos="7453" userDrawn="1">
          <p15:clr>
            <a:srgbClr val="FF96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Event/Sessio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20000" y="274721"/>
            <a:ext cx="7511638" cy="1477444"/>
          </a:xfrm>
        </p:spPr>
        <p:txBody>
          <a:bodyPr anchor="t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session/event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CC5257-9E4F-4CA0-9178-9F39848BB31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798638"/>
            <a:ext cx="12192000" cy="5059362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pic>
        <p:nvPicPr>
          <p:cNvPr id="1026514240" name="image" descr="{&quot;templafy&quot;:{&quot;id&quot;:&quot;c23c06be-f3c9-449c-a78d-1fe3586db483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842" y="283850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006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Event/Session Dot Scree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7CCDCC5-8D49-4870-BD90-2BE867A06DCB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5561925" y="1"/>
            <a:ext cx="6630075" cy="6858000"/>
          </a:xfrm>
          <a:custGeom>
            <a:avLst/>
            <a:gdLst>
              <a:gd name="connsiteX0" fmla="*/ 629011 w 6616265"/>
              <a:gd name="connsiteY0" fmla="*/ 6807681 h 6843715"/>
              <a:gd name="connsiteX1" fmla="*/ 674414 w 6616265"/>
              <a:gd name="connsiteY1" fmla="*/ 6821955 h 6843715"/>
              <a:gd name="connsiteX2" fmla="*/ 692183 w 6616265"/>
              <a:gd name="connsiteY2" fmla="*/ 6843715 h 6843715"/>
              <a:gd name="connsiteX3" fmla="*/ 566186 w 6616265"/>
              <a:gd name="connsiteY3" fmla="*/ 6843715 h 6843715"/>
              <a:gd name="connsiteX4" fmla="*/ 583691 w 6616265"/>
              <a:gd name="connsiteY4" fmla="*/ 6821713 h 6843715"/>
              <a:gd name="connsiteX5" fmla="*/ 629011 w 6616265"/>
              <a:gd name="connsiteY5" fmla="*/ 6807681 h 6843715"/>
              <a:gd name="connsiteX6" fmla="*/ 1201250 w 6616265"/>
              <a:gd name="connsiteY6" fmla="*/ 6737360 h 6843715"/>
              <a:gd name="connsiteX7" fmla="*/ 1330440 w 6616265"/>
              <a:gd name="connsiteY7" fmla="*/ 6810301 h 6843715"/>
              <a:gd name="connsiteX8" fmla="*/ 1343433 w 6616265"/>
              <a:gd name="connsiteY8" fmla="*/ 6843715 h 6843715"/>
              <a:gd name="connsiteX9" fmla="*/ 1059118 w 6616265"/>
              <a:gd name="connsiteY9" fmla="*/ 6843715 h 6843715"/>
              <a:gd name="connsiteX10" fmla="*/ 1072333 w 6616265"/>
              <a:gd name="connsiteY10" fmla="*/ 6810029 h 6843715"/>
              <a:gd name="connsiteX11" fmla="*/ 1201250 w 6616265"/>
              <a:gd name="connsiteY11" fmla="*/ 6737360 h 6843715"/>
              <a:gd name="connsiteX12" fmla="*/ 56772 w 6616265"/>
              <a:gd name="connsiteY12" fmla="*/ 6273505 h 6843715"/>
              <a:gd name="connsiteX13" fmla="*/ 99350 w 6616265"/>
              <a:gd name="connsiteY13" fmla="*/ 6316084 h 6843715"/>
              <a:gd name="connsiteX14" fmla="*/ 56772 w 6616265"/>
              <a:gd name="connsiteY14" fmla="*/ 6358663 h 6843715"/>
              <a:gd name="connsiteX15" fmla="*/ 14192 w 6616265"/>
              <a:gd name="connsiteY15" fmla="*/ 6316084 h 6843715"/>
              <a:gd name="connsiteX16" fmla="*/ 56772 w 6616265"/>
              <a:gd name="connsiteY16" fmla="*/ 6273505 h 6843715"/>
              <a:gd name="connsiteX17" fmla="*/ 629011 w 6616265"/>
              <a:gd name="connsiteY17" fmla="*/ 6216087 h 6843715"/>
              <a:gd name="connsiteX18" fmla="*/ 729008 w 6616265"/>
              <a:gd name="connsiteY18" fmla="*/ 6316083 h 6843715"/>
              <a:gd name="connsiteX19" fmla="*/ 629011 w 6616265"/>
              <a:gd name="connsiteY19" fmla="*/ 6416081 h 6843715"/>
              <a:gd name="connsiteX20" fmla="*/ 529015 w 6616265"/>
              <a:gd name="connsiteY20" fmla="*/ 6316083 h 6843715"/>
              <a:gd name="connsiteX21" fmla="*/ 629011 w 6616265"/>
              <a:gd name="connsiteY21" fmla="*/ 6216087 h 6843715"/>
              <a:gd name="connsiteX22" fmla="*/ 1201251 w 6616265"/>
              <a:gd name="connsiteY22" fmla="*/ 6134800 h 6843715"/>
              <a:gd name="connsiteX23" fmla="*/ 1382536 w 6616265"/>
              <a:gd name="connsiteY23" fmla="*/ 6316084 h 6843715"/>
              <a:gd name="connsiteX24" fmla="*/ 1201251 w 6616265"/>
              <a:gd name="connsiteY24" fmla="*/ 6497368 h 6843715"/>
              <a:gd name="connsiteX25" fmla="*/ 1019967 w 6616265"/>
              <a:gd name="connsiteY25" fmla="*/ 6316084 h 6843715"/>
              <a:gd name="connsiteX26" fmla="*/ 1201251 w 6616265"/>
              <a:gd name="connsiteY26" fmla="*/ 6134800 h 6843715"/>
              <a:gd name="connsiteX27" fmla="*/ 56773 w 6616265"/>
              <a:gd name="connsiteY27" fmla="*/ 5692879 h 6843715"/>
              <a:gd name="connsiteX28" fmla="*/ 107738 w 6616265"/>
              <a:gd name="connsiteY28" fmla="*/ 5743845 h 6843715"/>
              <a:gd name="connsiteX29" fmla="*/ 56773 w 6616265"/>
              <a:gd name="connsiteY29" fmla="*/ 5794811 h 6843715"/>
              <a:gd name="connsiteX30" fmla="*/ 5806 w 6616265"/>
              <a:gd name="connsiteY30" fmla="*/ 5743845 h 6843715"/>
              <a:gd name="connsiteX31" fmla="*/ 56773 w 6616265"/>
              <a:gd name="connsiteY31" fmla="*/ 5692879 h 6843715"/>
              <a:gd name="connsiteX32" fmla="*/ 629011 w 6616265"/>
              <a:gd name="connsiteY32" fmla="*/ 5627719 h 6843715"/>
              <a:gd name="connsiteX33" fmla="*/ 744491 w 6616265"/>
              <a:gd name="connsiteY33" fmla="*/ 5743199 h 6843715"/>
              <a:gd name="connsiteX34" fmla="*/ 629011 w 6616265"/>
              <a:gd name="connsiteY34" fmla="*/ 5858679 h 6843715"/>
              <a:gd name="connsiteX35" fmla="*/ 513532 w 6616265"/>
              <a:gd name="connsiteY35" fmla="*/ 5743199 h 6843715"/>
              <a:gd name="connsiteX36" fmla="*/ 629011 w 6616265"/>
              <a:gd name="connsiteY36" fmla="*/ 5627719 h 6843715"/>
              <a:gd name="connsiteX37" fmla="*/ 1201250 w 6616265"/>
              <a:gd name="connsiteY37" fmla="*/ 5539980 h 6843715"/>
              <a:gd name="connsiteX38" fmla="*/ 1404470 w 6616265"/>
              <a:gd name="connsiteY38" fmla="*/ 5743199 h 6843715"/>
              <a:gd name="connsiteX39" fmla="*/ 1201250 w 6616265"/>
              <a:gd name="connsiteY39" fmla="*/ 5946419 h 6843715"/>
              <a:gd name="connsiteX40" fmla="*/ 998031 w 6616265"/>
              <a:gd name="connsiteY40" fmla="*/ 5743199 h 6843715"/>
              <a:gd name="connsiteX41" fmla="*/ 1201250 w 6616265"/>
              <a:gd name="connsiteY41" fmla="*/ 5539980 h 6843715"/>
              <a:gd name="connsiteX42" fmla="*/ 56772 w 6616265"/>
              <a:gd name="connsiteY42" fmla="*/ 5114188 h 6843715"/>
              <a:gd name="connsiteX43" fmla="*/ 113543 w 6616265"/>
              <a:gd name="connsiteY43" fmla="*/ 5170960 h 6843715"/>
              <a:gd name="connsiteX44" fmla="*/ 56772 w 6616265"/>
              <a:gd name="connsiteY44" fmla="*/ 5227732 h 6843715"/>
              <a:gd name="connsiteX45" fmla="*/ 0 w 6616265"/>
              <a:gd name="connsiteY45" fmla="*/ 5170960 h 6843715"/>
              <a:gd name="connsiteX46" fmla="*/ 56772 w 6616265"/>
              <a:gd name="connsiteY46" fmla="*/ 5114188 h 6843715"/>
              <a:gd name="connsiteX47" fmla="*/ 629011 w 6616265"/>
              <a:gd name="connsiteY47" fmla="*/ 5045803 h 6843715"/>
              <a:gd name="connsiteX48" fmla="*/ 754168 w 6616265"/>
              <a:gd name="connsiteY48" fmla="*/ 5170960 h 6843715"/>
              <a:gd name="connsiteX49" fmla="*/ 629011 w 6616265"/>
              <a:gd name="connsiteY49" fmla="*/ 5296117 h 6843715"/>
              <a:gd name="connsiteX50" fmla="*/ 503854 w 6616265"/>
              <a:gd name="connsiteY50" fmla="*/ 5170960 h 6843715"/>
              <a:gd name="connsiteX51" fmla="*/ 629011 w 6616265"/>
              <a:gd name="connsiteY51" fmla="*/ 5045803 h 6843715"/>
              <a:gd name="connsiteX52" fmla="*/ 1201250 w 6616265"/>
              <a:gd name="connsiteY52" fmla="*/ 4954192 h 6843715"/>
              <a:gd name="connsiteX53" fmla="*/ 1401022 w 6616265"/>
              <a:gd name="connsiteY53" fmla="*/ 5086466 h 6843715"/>
              <a:gd name="connsiteX54" fmla="*/ 1410074 w 6616265"/>
              <a:gd name="connsiteY54" fmla="*/ 5131470 h 6843715"/>
              <a:gd name="connsiteX55" fmla="*/ 1406404 w 6616265"/>
              <a:gd name="connsiteY55" fmla="*/ 5157374 h 6843715"/>
              <a:gd name="connsiteX56" fmla="*/ 1412511 w 6616265"/>
              <a:gd name="connsiteY56" fmla="*/ 5198249 h 6843715"/>
              <a:gd name="connsiteX57" fmla="*/ 1401022 w 6616265"/>
              <a:gd name="connsiteY57" fmla="*/ 5255180 h 6843715"/>
              <a:gd name="connsiteX58" fmla="*/ 1201250 w 6616265"/>
              <a:gd name="connsiteY58" fmla="*/ 5387727 h 6843715"/>
              <a:gd name="connsiteX59" fmla="*/ 984484 w 6616265"/>
              <a:gd name="connsiteY59" fmla="*/ 5170959 h 6843715"/>
              <a:gd name="connsiteX60" fmla="*/ 1201250 w 6616265"/>
              <a:gd name="connsiteY60" fmla="*/ 4954192 h 6843715"/>
              <a:gd name="connsiteX61" fmla="*/ 56772 w 6616265"/>
              <a:gd name="connsiteY61" fmla="*/ 4541948 h 6843715"/>
              <a:gd name="connsiteX62" fmla="*/ 113543 w 6616265"/>
              <a:gd name="connsiteY62" fmla="*/ 4598720 h 6843715"/>
              <a:gd name="connsiteX63" fmla="*/ 56772 w 6616265"/>
              <a:gd name="connsiteY63" fmla="*/ 4655492 h 6843715"/>
              <a:gd name="connsiteX64" fmla="*/ 0 w 6616265"/>
              <a:gd name="connsiteY64" fmla="*/ 4598720 h 6843715"/>
              <a:gd name="connsiteX65" fmla="*/ 56772 w 6616265"/>
              <a:gd name="connsiteY65" fmla="*/ 4541948 h 6843715"/>
              <a:gd name="connsiteX66" fmla="*/ 629011 w 6616265"/>
              <a:gd name="connsiteY66" fmla="*/ 4471628 h 6843715"/>
              <a:gd name="connsiteX67" fmla="*/ 756105 w 6616265"/>
              <a:gd name="connsiteY67" fmla="*/ 4598720 h 6843715"/>
              <a:gd name="connsiteX68" fmla="*/ 629011 w 6616265"/>
              <a:gd name="connsiteY68" fmla="*/ 4725814 h 6843715"/>
              <a:gd name="connsiteX69" fmla="*/ 501919 w 6616265"/>
              <a:gd name="connsiteY69" fmla="*/ 4598720 h 6843715"/>
              <a:gd name="connsiteX70" fmla="*/ 629011 w 6616265"/>
              <a:gd name="connsiteY70" fmla="*/ 4471628 h 6843715"/>
              <a:gd name="connsiteX71" fmla="*/ 1201250 w 6616265"/>
              <a:gd name="connsiteY71" fmla="*/ 4380018 h 6843715"/>
              <a:gd name="connsiteX72" fmla="*/ 1402746 w 6616265"/>
              <a:gd name="connsiteY72" fmla="*/ 4513653 h 6843715"/>
              <a:gd name="connsiteX73" fmla="*/ 1409763 w 6616265"/>
              <a:gd name="connsiteY73" fmla="*/ 4548338 h 6843715"/>
              <a:gd name="connsiteX74" fmla="*/ 1404469 w 6616265"/>
              <a:gd name="connsiteY74" fmla="*/ 4585134 h 6843715"/>
              <a:gd name="connsiteX75" fmla="*/ 1411993 w 6616265"/>
              <a:gd name="connsiteY75" fmla="*/ 4638076 h 6843715"/>
              <a:gd name="connsiteX76" fmla="*/ 1402746 w 6616265"/>
              <a:gd name="connsiteY76" fmla="*/ 4683789 h 6843715"/>
              <a:gd name="connsiteX77" fmla="*/ 1201250 w 6616265"/>
              <a:gd name="connsiteY77" fmla="*/ 4817424 h 6843715"/>
              <a:gd name="connsiteX78" fmla="*/ 982548 w 6616265"/>
              <a:gd name="connsiteY78" fmla="*/ 4598720 h 6843715"/>
              <a:gd name="connsiteX79" fmla="*/ 1201250 w 6616265"/>
              <a:gd name="connsiteY79" fmla="*/ 4380018 h 6843715"/>
              <a:gd name="connsiteX80" fmla="*/ 56772 w 6616265"/>
              <a:gd name="connsiteY80" fmla="*/ 3971645 h 6843715"/>
              <a:gd name="connsiteX81" fmla="*/ 111609 w 6616265"/>
              <a:gd name="connsiteY81" fmla="*/ 4026482 h 6843715"/>
              <a:gd name="connsiteX82" fmla="*/ 56772 w 6616265"/>
              <a:gd name="connsiteY82" fmla="*/ 4081319 h 6843715"/>
              <a:gd name="connsiteX83" fmla="*/ 1935 w 6616265"/>
              <a:gd name="connsiteY83" fmla="*/ 4026482 h 6843715"/>
              <a:gd name="connsiteX84" fmla="*/ 56772 w 6616265"/>
              <a:gd name="connsiteY84" fmla="*/ 3971645 h 6843715"/>
              <a:gd name="connsiteX85" fmla="*/ 629011 w 6616265"/>
              <a:gd name="connsiteY85" fmla="*/ 3905840 h 6843715"/>
              <a:gd name="connsiteX86" fmla="*/ 749008 w 6616265"/>
              <a:gd name="connsiteY86" fmla="*/ 4025836 h 6843715"/>
              <a:gd name="connsiteX87" fmla="*/ 629011 w 6616265"/>
              <a:gd name="connsiteY87" fmla="*/ 4145833 h 6843715"/>
              <a:gd name="connsiteX88" fmla="*/ 509015 w 6616265"/>
              <a:gd name="connsiteY88" fmla="*/ 4025836 h 6843715"/>
              <a:gd name="connsiteX89" fmla="*/ 629011 w 6616265"/>
              <a:gd name="connsiteY89" fmla="*/ 3905840 h 6843715"/>
              <a:gd name="connsiteX90" fmla="*/ 1203892 w 6616265"/>
              <a:gd name="connsiteY90" fmla="*/ 3814493 h 6843715"/>
              <a:gd name="connsiteX91" fmla="*/ 1409012 w 6616265"/>
              <a:gd name="connsiteY91" fmla="*/ 3986119 h 6843715"/>
              <a:gd name="connsiteX92" fmla="*/ 1410785 w 6616265"/>
              <a:gd name="connsiteY92" fmla="*/ 4005809 h 6843715"/>
              <a:gd name="connsiteX93" fmla="*/ 1410276 w 6616265"/>
              <a:gd name="connsiteY93" fmla="*/ 4012250 h 6843715"/>
              <a:gd name="connsiteX94" fmla="*/ 1412759 w 6616265"/>
              <a:gd name="connsiteY94" fmla="*/ 4029675 h 6843715"/>
              <a:gd name="connsiteX95" fmla="*/ 1408258 w 6616265"/>
              <a:gd name="connsiteY95" fmla="*/ 4070146 h 6843715"/>
              <a:gd name="connsiteX96" fmla="*/ 1241229 w 6616265"/>
              <a:gd name="connsiteY96" fmla="*/ 4233930 h 6843715"/>
              <a:gd name="connsiteX97" fmla="*/ 993420 w 6616265"/>
              <a:gd name="connsiteY97" fmla="*/ 4066148 h 6843715"/>
              <a:gd name="connsiteX98" fmla="*/ 1161200 w 6616265"/>
              <a:gd name="connsiteY98" fmla="*/ 3818336 h 6843715"/>
              <a:gd name="connsiteX99" fmla="*/ 1203892 w 6616265"/>
              <a:gd name="connsiteY99" fmla="*/ 3814493 h 6843715"/>
              <a:gd name="connsiteX100" fmla="*/ 56773 w 6616265"/>
              <a:gd name="connsiteY100" fmla="*/ 3404567 h 6843715"/>
              <a:gd name="connsiteX101" fmla="*/ 105802 w 6616265"/>
              <a:gd name="connsiteY101" fmla="*/ 3453598 h 6843715"/>
              <a:gd name="connsiteX102" fmla="*/ 56773 w 6616265"/>
              <a:gd name="connsiteY102" fmla="*/ 3502627 h 6843715"/>
              <a:gd name="connsiteX103" fmla="*/ 7742 w 6616265"/>
              <a:gd name="connsiteY103" fmla="*/ 3453598 h 6843715"/>
              <a:gd name="connsiteX104" fmla="*/ 56773 w 6616265"/>
              <a:gd name="connsiteY104" fmla="*/ 3404567 h 6843715"/>
              <a:gd name="connsiteX105" fmla="*/ 629011 w 6616265"/>
              <a:gd name="connsiteY105" fmla="*/ 3346504 h 6843715"/>
              <a:gd name="connsiteX106" fmla="*/ 736105 w 6616265"/>
              <a:gd name="connsiteY106" fmla="*/ 3453598 h 6843715"/>
              <a:gd name="connsiteX107" fmla="*/ 629011 w 6616265"/>
              <a:gd name="connsiteY107" fmla="*/ 3560691 h 6843715"/>
              <a:gd name="connsiteX108" fmla="*/ 521918 w 6616265"/>
              <a:gd name="connsiteY108" fmla="*/ 3453598 h 6843715"/>
              <a:gd name="connsiteX109" fmla="*/ 629011 w 6616265"/>
              <a:gd name="connsiteY109" fmla="*/ 3346504 h 6843715"/>
              <a:gd name="connsiteX110" fmla="*/ 1202686 w 6616265"/>
              <a:gd name="connsiteY110" fmla="*/ 3262070 h 6843715"/>
              <a:gd name="connsiteX111" fmla="*/ 1378371 w 6616265"/>
              <a:gd name="connsiteY111" fmla="*/ 3380400 h 6843715"/>
              <a:gd name="connsiteX112" fmla="*/ 1274673 w 6616265"/>
              <a:gd name="connsiteY112" fmla="*/ 3630753 h 6843715"/>
              <a:gd name="connsiteX113" fmla="*/ 1024320 w 6616265"/>
              <a:gd name="connsiteY113" fmla="*/ 3527055 h 6843715"/>
              <a:gd name="connsiteX114" fmla="*/ 1128017 w 6616265"/>
              <a:gd name="connsiteY114" fmla="*/ 3276702 h 6843715"/>
              <a:gd name="connsiteX115" fmla="*/ 1202686 w 6616265"/>
              <a:gd name="connsiteY115" fmla="*/ 3262070 h 6843715"/>
              <a:gd name="connsiteX116" fmla="*/ 56772 w 6616265"/>
              <a:gd name="connsiteY116" fmla="*/ 2842650 h 6843715"/>
              <a:gd name="connsiteX117" fmla="*/ 95481 w 6616265"/>
              <a:gd name="connsiteY117" fmla="*/ 2881358 h 6843715"/>
              <a:gd name="connsiteX118" fmla="*/ 56772 w 6616265"/>
              <a:gd name="connsiteY118" fmla="*/ 2920067 h 6843715"/>
              <a:gd name="connsiteX119" fmla="*/ 18064 w 6616265"/>
              <a:gd name="connsiteY119" fmla="*/ 2881358 h 6843715"/>
              <a:gd name="connsiteX120" fmla="*/ 56772 w 6616265"/>
              <a:gd name="connsiteY120" fmla="*/ 2842650 h 6843715"/>
              <a:gd name="connsiteX121" fmla="*/ 629011 w 6616265"/>
              <a:gd name="connsiteY121" fmla="*/ 2794264 h 6843715"/>
              <a:gd name="connsiteX122" fmla="*/ 716105 w 6616265"/>
              <a:gd name="connsiteY122" fmla="*/ 2881358 h 6843715"/>
              <a:gd name="connsiteX123" fmla="*/ 629011 w 6616265"/>
              <a:gd name="connsiteY123" fmla="*/ 2968451 h 6843715"/>
              <a:gd name="connsiteX124" fmla="*/ 541918 w 6616265"/>
              <a:gd name="connsiteY124" fmla="*/ 2881358 h 6843715"/>
              <a:gd name="connsiteX125" fmla="*/ 629011 w 6616265"/>
              <a:gd name="connsiteY125" fmla="*/ 2794264 h 6843715"/>
              <a:gd name="connsiteX126" fmla="*/ 1201251 w 6616265"/>
              <a:gd name="connsiteY126" fmla="*/ 2715556 h 6843715"/>
              <a:gd name="connsiteX127" fmla="*/ 1367053 w 6616265"/>
              <a:gd name="connsiteY127" fmla="*/ 2881358 h 6843715"/>
              <a:gd name="connsiteX128" fmla="*/ 1201251 w 6616265"/>
              <a:gd name="connsiteY128" fmla="*/ 3047159 h 6843715"/>
              <a:gd name="connsiteX129" fmla="*/ 1035450 w 6616265"/>
              <a:gd name="connsiteY129" fmla="*/ 2881358 h 6843715"/>
              <a:gd name="connsiteX130" fmla="*/ 1201251 w 6616265"/>
              <a:gd name="connsiteY130" fmla="*/ 2715556 h 6843715"/>
              <a:gd name="connsiteX131" fmla="*/ 629011 w 6616265"/>
              <a:gd name="connsiteY131" fmla="*/ 2240733 h 6843715"/>
              <a:gd name="connsiteX132" fmla="*/ 696752 w 6616265"/>
              <a:gd name="connsiteY132" fmla="*/ 2308473 h 6843715"/>
              <a:gd name="connsiteX133" fmla="*/ 629011 w 6616265"/>
              <a:gd name="connsiteY133" fmla="*/ 2376215 h 6843715"/>
              <a:gd name="connsiteX134" fmla="*/ 561272 w 6616265"/>
              <a:gd name="connsiteY134" fmla="*/ 2308473 h 6843715"/>
              <a:gd name="connsiteX135" fmla="*/ 629011 w 6616265"/>
              <a:gd name="connsiteY135" fmla="*/ 2240733 h 6843715"/>
              <a:gd name="connsiteX136" fmla="*/ 1201250 w 6616265"/>
              <a:gd name="connsiteY136" fmla="*/ 2176227 h 6843715"/>
              <a:gd name="connsiteX137" fmla="*/ 1333504 w 6616265"/>
              <a:gd name="connsiteY137" fmla="*/ 2308480 h 6843715"/>
              <a:gd name="connsiteX138" fmla="*/ 1201250 w 6616265"/>
              <a:gd name="connsiteY138" fmla="*/ 2440726 h 6843715"/>
              <a:gd name="connsiteX139" fmla="*/ 1068997 w 6616265"/>
              <a:gd name="connsiteY139" fmla="*/ 2308480 h 6843715"/>
              <a:gd name="connsiteX140" fmla="*/ 1201250 w 6616265"/>
              <a:gd name="connsiteY140" fmla="*/ 2176227 h 6843715"/>
              <a:gd name="connsiteX141" fmla="*/ 1773490 w 6616265"/>
              <a:gd name="connsiteY141" fmla="*/ 2088481 h 6843715"/>
              <a:gd name="connsiteX142" fmla="*/ 1976166 w 6616265"/>
              <a:gd name="connsiteY142" fmla="*/ 2222936 h 6843715"/>
              <a:gd name="connsiteX143" fmla="*/ 1987399 w 6616265"/>
              <a:gd name="connsiteY143" fmla="*/ 2278426 h 6843715"/>
              <a:gd name="connsiteX144" fmla="*/ 1985740 w 6616265"/>
              <a:gd name="connsiteY144" fmla="*/ 2294891 h 6843715"/>
              <a:gd name="connsiteX145" fmla="*/ 1989817 w 6616265"/>
              <a:gd name="connsiteY145" fmla="*/ 2326586 h 6843715"/>
              <a:gd name="connsiteX146" fmla="*/ 1976166 w 6616265"/>
              <a:gd name="connsiteY146" fmla="*/ 2394018 h 6843715"/>
              <a:gd name="connsiteX147" fmla="*/ 1773490 w 6616265"/>
              <a:gd name="connsiteY147" fmla="*/ 2528464 h 6843715"/>
              <a:gd name="connsiteX148" fmla="*/ 1553498 w 6616265"/>
              <a:gd name="connsiteY148" fmla="*/ 2308473 h 6843715"/>
              <a:gd name="connsiteX149" fmla="*/ 1773490 w 6616265"/>
              <a:gd name="connsiteY149" fmla="*/ 2088481 h 6843715"/>
              <a:gd name="connsiteX150" fmla="*/ 629011 w 6616265"/>
              <a:gd name="connsiteY150" fmla="*/ 1688493 h 6843715"/>
              <a:gd name="connsiteX151" fmla="*/ 676752 w 6616265"/>
              <a:gd name="connsiteY151" fmla="*/ 1736234 h 6843715"/>
              <a:gd name="connsiteX152" fmla="*/ 629011 w 6616265"/>
              <a:gd name="connsiteY152" fmla="*/ 1783975 h 6843715"/>
              <a:gd name="connsiteX153" fmla="*/ 581271 w 6616265"/>
              <a:gd name="connsiteY153" fmla="*/ 1736234 h 6843715"/>
              <a:gd name="connsiteX154" fmla="*/ 629011 w 6616265"/>
              <a:gd name="connsiteY154" fmla="*/ 1688493 h 6843715"/>
              <a:gd name="connsiteX155" fmla="*/ 1201250 w 6616265"/>
              <a:gd name="connsiteY155" fmla="*/ 1639465 h 6843715"/>
              <a:gd name="connsiteX156" fmla="*/ 1298022 w 6616265"/>
              <a:gd name="connsiteY156" fmla="*/ 1736237 h 6843715"/>
              <a:gd name="connsiteX157" fmla="*/ 1201250 w 6616265"/>
              <a:gd name="connsiteY157" fmla="*/ 1833008 h 6843715"/>
              <a:gd name="connsiteX158" fmla="*/ 1104480 w 6616265"/>
              <a:gd name="connsiteY158" fmla="*/ 1736237 h 6843715"/>
              <a:gd name="connsiteX159" fmla="*/ 1201250 w 6616265"/>
              <a:gd name="connsiteY159" fmla="*/ 1639465 h 6843715"/>
              <a:gd name="connsiteX160" fmla="*/ 1741933 w 6616265"/>
              <a:gd name="connsiteY160" fmla="*/ 1572389 h 6843715"/>
              <a:gd name="connsiteX161" fmla="*/ 1937614 w 6616265"/>
              <a:gd name="connsiteY161" fmla="*/ 1704875 h 6843715"/>
              <a:gd name="connsiteX162" fmla="*/ 1805127 w 6616265"/>
              <a:gd name="connsiteY162" fmla="*/ 1900555 h 6843715"/>
              <a:gd name="connsiteX163" fmla="*/ 1609447 w 6616265"/>
              <a:gd name="connsiteY163" fmla="*/ 1768068 h 6843715"/>
              <a:gd name="connsiteX164" fmla="*/ 1741933 w 6616265"/>
              <a:gd name="connsiteY164" fmla="*/ 1572389 h 6843715"/>
              <a:gd name="connsiteX165" fmla="*/ 1189474 w 6616265"/>
              <a:gd name="connsiteY165" fmla="*/ 1102707 h 6843715"/>
              <a:gd name="connsiteX166" fmla="*/ 1262761 w 6616265"/>
              <a:gd name="connsiteY166" fmla="*/ 1152327 h 6843715"/>
              <a:gd name="connsiteX167" fmla="*/ 1213141 w 6616265"/>
              <a:gd name="connsiteY167" fmla="*/ 1225613 h 6843715"/>
              <a:gd name="connsiteX168" fmla="*/ 1139856 w 6616265"/>
              <a:gd name="connsiteY168" fmla="*/ 1175994 h 6843715"/>
              <a:gd name="connsiteX169" fmla="*/ 1189474 w 6616265"/>
              <a:gd name="connsiteY169" fmla="*/ 1102707 h 6843715"/>
              <a:gd name="connsiteX170" fmla="*/ 1773490 w 6616265"/>
              <a:gd name="connsiteY170" fmla="*/ 1043355 h 6843715"/>
              <a:gd name="connsiteX171" fmla="*/ 1894132 w 6616265"/>
              <a:gd name="connsiteY171" fmla="*/ 1163996 h 6843715"/>
              <a:gd name="connsiteX172" fmla="*/ 1773490 w 6616265"/>
              <a:gd name="connsiteY172" fmla="*/ 1284638 h 6843715"/>
              <a:gd name="connsiteX173" fmla="*/ 1652849 w 6616265"/>
              <a:gd name="connsiteY173" fmla="*/ 1163996 h 6843715"/>
              <a:gd name="connsiteX174" fmla="*/ 1773490 w 6616265"/>
              <a:gd name="connsiteY174" fmla="*/ 1043355 h 6843715"/>
              <a:gd name="connsiteX175" fmla="*/ 2346375 w 6616265"/>
              <a:gd name="connsiteY175" fmla="*/ 973034 h 6843715"/>
              <a:gd name="connsiteX176" fmla="*/ 2537336 w 6616265"/>
              <a:gd name="connsiteY176" fmla="*/ 1163996 h 6843715"/>
              <a:gd name="connsiteX177" fmla="*/ 2346375 w 6616265"/>
              <a:gd name="connsiteY177" fmla="*/ 1354957 h 6843715"/>
              <a:gd name="connsiteX178" fmla="*/ 2155413 w 6616265"/>
              <a:gd name="connsiteY178" fmla="*/ 1163996 h 6843715"/>
              <a:gd name="connsiteX179" fmla="*/ 2346375 w 6616265"/>
              <a:gd name="connsiteY179" fmla="*/ 973034 h 6843715"/>
              <a:gd name="connsiteX180" fmla="*/ 1201251 w 6616265"/>
              <a:gd name="connsiteY180" fmla="*/ 554986 h 6843715"/>
              <a:gd name="connsiteX181" fmla="*/ 1238024 w 6616265"/>
              <a:gd name="connsiteY181" fmla="*/ 591758 h 6843715"/>
              <a:gd name="connsiteX182" fmla="*/ 1201251 w 6616265"/>
              <a:gd name="connsiteY182" fmla="*/ 628531 h 6843715"/>
              <a:gd name="connsiteX183" fmla="*/ 1164478 w 6616265"/>
              <a:gd name="connsiteY183" fmla="*/ 591758 h 6843715"/>
              <a:gd name="connsiteX184" fmla="*/ 1201251 w 6616265"/>
              <a:gd name="connsiteY184" fmla="*/ 554986 h 6843715"/>
              <a:gd name="connsiteX185" fmla="*/ 1773490 w 6616265"/>
              <a:gd name="connsiteY185" fmla="*/ 516275 h 6843715"/>
              <a:gd name="connsiteX186" fmla="*/ 1848972 w 6616265"/>
              <a:gd name="connsiteY186" fmla="*/ 591757 h 6843715"/>
              <a:gd name="connsiteX187" fmla="*/ 1773490 w 6616265"/>
              <a:gd name="connsiteY187" fmla="*/ 667238 h 6843715"/>
              <a:gd name="connsiteX188" fmla="*/ 1698009 w 6616265"/>
              <a:gd name="connsiteY188" fmla="*/ 591757 h 6843715"/>
              <a:gd name="connsiteX189" fmla="*/ 1773490 w 6616265"/>
              <a:gd name="connsiteY189" fmla="*/ 516275 h 6843715"/>
              <a:gd name="connsiteX190" fmla="*/ 2346375 w 6616265"/>
              <a:gd name="connsiteY190" fmla="*/ 462084 h 6843715"/>
              <a:gd name="connsiteX191" fmla="*/ 2476048 w 6616265"/>
              <a:gd name="connsiteY191" fmla="*/ 591757 h 6843715"/>
              <a:gd name="connsiteX192" fmla="*/ 2346375 w 6616265"/>
              <a:gd name="connsiteY192" fmla="*/ 721429 h 6843715"/>
              <a:gd name="connsiteX193" fmla="*/ 2216701 w 6616265"/>
              <a:gd name="connsiteY193" fmla="*/ 591757 h 6843715"/>
              <a:gd name="connsiteX194" fmla="*/ 2346375 w 6616265"/>
              <a:gd name="connsiteY194" fmla="*/ 462084 h 6843715"/>
              <a:gd name="connsiteX195" fmla="*/ 2918615 w 6616265"/>
              <a:gd name="connsiteY195" fmla="*/ 395638 h 6843715"/>
              <a:gd name="connsiteX196" fmla="*/ 3114093 w 6616265"/>
              <a:gd name="connsiteY196" fmla="*/ 591115 h 6843715"/>
              <a:gd name="connsiteX197" fmla="*/ 2918615 w 6616265"/>
              <a:gd name="connsiteY197" fmla="*/ 786593 h 6843715"/>
              <a:gd name="connsiteX198" fmla="*/ 2723138 w 6616265"/>
              <a:gd name="connsiteY198" fmla="*/ 591115 h 6843715"/>
              <a:gd name="connsiteX199" fmla="*/ 2918615 w 6616265"/>
              <a:gd name="connsiteY199" fmla="*/ 395638 h 6843715"/>
              <a:gd name="connsiteX200" fmla="*/ 4310583 w 6616265"/>
              <a:gd name="connsiteY200" fmla="*/ 0 h 6843715"/>
              <a:gd name="connsiteX201" fmla="*/ 6616265 w 6616265"/>
              <a:gd name="connsiteY201" fmla="*/ 0 h 6843715"/>
              <a:gd name="connsiteX202" fmla="*/ 6616265 w 6616265"/>
              <a:gd name="connsiteY202" fmla="*/ 6843715 h 6843715"/>
              <a:gd name="connsiteX203" fmla="*/ 1487341 w 6616265"/>
              <a:gd name="connsiteY203" fmla="*/ 6843715 h 6843715"/>
              <a:gd name="connsiteX204" fmla="*/ 1496539 w 6616265"/>
              <a:gd name="connsiteY204" fmla="*/ 6801672 h 6843715"/>
              <a:gd name="connsiteX205" fmla="*/ 1727039 w 6616265"/>
              <a:gd name="connsiteY205" fmla="*/ 6632808 h 6843715"/>
              <a:gd name="connsiteX206" fmla="*/ 1965741 w 6616265"/>
              <a:gd name="connsiteY206" fmla="*/ 6834092 h 6843715"/>
              <a:gd name="connsiteX207" fmla="*/ 2090255 w 6616265"/>
              <a:gd name="connsiteY207" fmla="*/ 6611519 h 6843715"/>
              <a:gd name="connsiteX208" fmla="*/ 1960580 w 6616265"/>
              <a:gd name="connsiteY208" fmla="*/ 6459266 h 6843715"/>
              <a:gd name="connsiteX209" fmla="*/ 1727039 w 6616265"/>
              <a:gd name="connsiteY209" fmla="*/ 6583778 h 6843715"/>
              <a:gd name="connsiteX210" fmla="*/ 1445758 w 6616265"/>
              <a:gd name="connsiteY210" fmla="*/ 6302497 h 6843715"/>
              <a:gd name="connsiteX211" fmla="*/ 1658654 w 6616265"/>
              <a:gd name="connsiteY211" fmla="*/ 6029603 h 6843715"/>
              <a:gd name="connsiteX212" fmla="*/ 1419307 w 6616265"/>
              <a:gd name="connsiteY212" fmla="*/ 5729612 h 6843715"/>
              <a:gd name="connsiteX213" fmla="*/ 1598012 w 6616265"/>
              <a:gd name="connsiteY213" fmla="*/ 5450912 h 6843715"/>
              <a:gd name="connsiteX214" fmla="*/ 1420467 w 6616265"/>
              <a:gd name="connsiteY214" fmla="*/ 5251503 h 6843715"/>
              <a:gd name="connsiteX215" fmla="*/ 1412511 w 6616265"/>
              <a:gd name="connsiteY215" fmla="*/ 5198249 h 6843715"/>
              <a:gd name="connsiteX216" fmla="*/ 1418018 w 6616265"/>
              <a:gd name="connsiteY216" fmla="*/ 5170959 h 6843715"/>
              <a:gd name="connsiteX217" fmla="*/ 1410074 w 6616265"/>
              <a:gd name="connsiteY217" fmla="*/ 5131470 h 6843715"/>
              <a:gd name="connsiteX218" fmla="*/ 1419106 w 6616265"/>
              <a:gd name="connsiteY218" fmla="*/ 5067729 h 6843715"/>
              <a:gd name="connsiteX219" fmla="*/ 1580592 w 6616265"/>
              <a:gd name="connsiteY219" fmla="*/ 4872221 h 6843715"/>
              <a:gd name="connsiteX220" fmla="*/ 1417291 w 6616265"/>
              <a:gd name="connsiteY220" fmla="*/ 4675353 h 6843715"/>
              <a:gd name="connsiteX221" fmla="*/ 1411993 w 6616265"/>
              <a:gd name="connsiteY221" fmla="*/ 4638076 h 6843715"/>
              <a:gd name="connsiteX222" fmla="*/ 1419954 w 6616265"/>
              <a:gd name="connsiteY222" fmla="*/ 4598720 h 6843715"/>
              <a:gd name="connsiteX223" fmla="*/ 1409763 w 6616265"/>
              <a:gd name="connsiteY223" fmla="*/ 4548338 h 6843715"/>
              <a:gd name="connsiteX224" fmla="*/ 1417623 w 6616265"/>
              <a:gd name="connsiteY224" fmla="*/ 4493696 h 6843715"/>
              <a:gd name="connsiteX225" fmla="*/ 1584463 w 6616265"/>
              <a:gd name="connsiteY225" fmla="*/ 4295466 h 6843715"/>
              <a:gd name="connsiteX226" fmla="*/ 1422978 w 6616265"/>
              <a:gd name="connsiteY226" fmla="*/ 4101409 h 6843715"/>
              <a:gd name="connsiteX227" fmla="*/ 1412759 w 6616265"/>
              <a:gd name="connsiteY227" fmla="*/ 4029675 h 6843715"/>
              <a:gd name="connsiteX228" fmla="*/ 1412855 w 6616265"/>
              <a:gd name="connsiteY228" fmla="*/ 4028809 h 6843715"/>
              <a:gd name="connsiteX229" fmla="*/ 1410785 w 6616265"/>
              <a:gd name="connsiteY229" fmla="*/ 4005809 h 6843715"/>
              <a:gd name="connsiteX230" fmla="*/ 1414258 w 6616265"/>
              <a:gd name="connsiteY230" fmla="*/ 3961788 h 6843715"/>
              <a:gd name="connsiteX231" fmla="*/ 1619945 w 6616265"/>
              <a:gd name="connsiteY231" fmla="*/ 3714195 h 6843715"/>
              <a:gd name="connsiteX232" fmla="*/ 1432210 w 6616265"/>
              <a:gd name="connsiteY232" fmla="*/ 3440010 h 6843715"/>
              <a:gd name="connsiteX233" fmla="*/ 1727039 w 6616265"/>
              <a:gd name="connsiteY233" fmla="*/ 3145181 h 6843715"/>
              <a:gd name="connsiteX234" fmla="*/ 1959290 w 6616265"/>
              <a:gd name="connsiteY234" fmla="*/ 3259371 h 6843715"/>
              <a:gd name="connsiteX235" fmla="*/ 2066382 w 6616265"/>
              <a:gd name="connsiteY235" fmla="*/ 3133569 h 6843715"/>
              <a:gd name="connsiteX236" fmla="*/ 1963805 w 6616265"/>
              <a:gd name="connsiteY236" fmla="*/ 2980026 h 6843715"/>
              <a:gd name="connsiteX237" fmla="*/ 1726393 w 6616265"/>
              <a:gd name="connsiteY237" fmla="*/ 3129697 h 6843715"/>
              <a:gd name="connsiteX238" fmla="*/ 1463822 w 6616265"/>
              <a:gd name="connsiteY238" fmla="*/ 2867126 h 6843715"/>
              <a:gd name="connsiteX239" fmla="*/ 1726393 w 6616265"/>
              <a:gd name="connsiteY239" fmla="*/ 2604554 h 6843715"/>
              <a:gd name="connsiteX240" fmla="*/ 1963805 w 6616265"/>
              <a:gd name="connsiteY240" fmla="*/ 2754227 h 6843715"/>
              <a:gd name="connsiteX241" fmla="*/ 2128316 w 6616265"/>
              <a:gd name="connsiteY241" fmla="*/ 2557458 h 6843715"/>
              <a:gd name="connsiteX242" fmla="*/ 1995952 w 6616265"/>
              <a:gd name="connsiteY242" fmla="*/ 2374289 h 6843715"/>
              <a:gd name="connsiteX243" fmla="*/ 1989817 w 6616265"/>
              <a:gd name="connsiteY243" fmla="*/ 2326586 h 6843715"/>
              <a:gd name="connsiteX244" fmla="*/ 1993483 w 6616265"/>
              <a:gd name="connsiteY244" fmla="*/ 2308473 h 6843715"/>
              <a:gd name="connsiteX245" fmla="*/ 1987399 w 6616265"/>
              <a:gd name="connsiteY245" fmla="*/ 2278426 h 6843715"/>
              <a:gd name="connsiteX246" fmla="*/ 1992121 w 6616265"/>
              <a:gd name="connsiteY246" fmla="*/ 2231592 h 6843715"/>
              <a:gd name="connsiteX247" fmla="*/ 2299279 w 6616265"/>
              <a:gd name="connsiteY247" fmla="*/ 1981352 h 6843715"/>
              <a:gd name="connsiteX248" fmla="*/ 2538627 w 6616265"/>
              <a:gd name="connsiteY248" fmla="*/ 2092962 h 6843715"/>
              <a:gd name="connsiteX249" fmla="*/ 2647655 w 6616265"/>
              <a:gd name="connsiteY249" fmla="*/ 1976190 h 6843715"/>
              <a:gd name="connsiteX250" fmla="*/ 2542497 w 6616265"/>
              <a:gd name="connsiteY250" fmla="*/ 1803293 h 6843715"/>
              <a:gd name="connsiteX251" fmla="*/ 2298633 w 6616265"/>
              <a:gd name="connsiteY251" fmla="*/ 1979417 h 6843715"/>
              <a:gd name="connsiteX252" fmla="*/ 2041223 w 6616265"/>
              <a:gd name="connsiteY252" fmla="*/ 1722003 h 6843715"/>
              <a:gd name="connsiteX253" fmla="*/ 2298633 w 6616265"/>
              <a:gd name="connsiteY253" fmla="*/ 1464593 h 6843715"/>
              <a:gd name="connsiteX254" fmla="*/ 2542497 w 6616265"/>
              <a:gd name="connsiteY254" fmla="*/ 1640718 h 6843715"/>
              <a:gd name="connsiteX255" fmla="*/ 2760555 w 6616265"/>
              <a:gd name="connsiteY255" fmla="*/ 1402016 h 6843715"/>
              <a:gd name="connsiteX256" fmla="*/ 2595400 w 6616265"/>
              <a:gd name="connsiteY256" fmla="*/ 1149118 h 6843715"/>
              <a:gd name="connsiteX257" fmla="*/ 2871517 w 6616265"/>
              <a:gd name="connsiteY257" fmla="*/ 872997 h 6843715"/>
              <a:gd name="connsiteX258" fmla="*/ 3123123 w 6616265"/>
              <a:gd name="connsiteY258" fmla="*/ 1035574 h 6843715"/>
              <a:gd name="connsiteX259" fmla="*/ 3348277 w 6616265"/>
              <a:gd name="connsiteY259" fmla="*/ 822035 h 6843715"/>
              <a:gd name="connsiteX260" fmla="*/ 3179895 w 6616265"/>
              <a:gd name="connsiteY260" fmla="*/ 576235 h 6843715"/>
              <a:gd name="connsiteX261" fmla="*/ 3443757 w 6616265"/>
              <a:gd name="connsiteY261" fmla="*/ 312373 h 6843715"/>
              <a:gd name="connsiteX262" fmla="*/ 3699877 w 6616265"/>
              <a:gd name="connsiteY262" fmla="*/ 514303 h 6843715"/>
              <a:gd name="connsiteX263" fmla="*/ 4015997 w 6616265"/>
              <a:gd name="connsiteY263" fmla="*/ 254311 h 6843715"/>
              <a:gd name="connsiteX264" fmla="*/ 4275343 w 6616265"/>
              <a:gd name="connsiteY264" fmla="*/ 385274 h 6843715"/>
              <a:gd name="connsiteX265" fmla="*/ 4441789 w 6616265"/>
              <a:gd name="connsiteY265" fmla="*/ 240118 h 6843715"/>
              <a:gd name="connsiteX266" fmla="*/ 4310179 w 6616265"/>
              <a:gd name="connsiteY266" fmla="*/ 3997 h 6843715"/>
              <a:gd name="connsiteX267" fmla="*/ 3836709 w 6616265"/>
              <a:gd name="connsiteY267" fmla="*/ 0 h 6843715"/>
              <a:gd name="connsiteX268" fmla="*/ 4290765 w 6616265"/>
              <a:gd name="connsiteY268" fmla="*/ 0 h 6843715"/>
              <a:gd name="connsiteX269" fmla="*/ 4294697 w 6616265"/>
              <a:gd name="connsiteY269" fmla="*/ 19521 h 6843715"/>
              <a:gd name="connsiteX270" fmla="*/ 4063739 w 6616265"/>
              <a:gd name="connsiteY270" fmla="*/ 250481 h 6843715"/>
              <a:gd name="connsiteX271" fmla="*/ 3832777 w 6616265"/>
              <a:gd name="connsiteY271" fmla="*/ 19521 h 6843715"/>
              <a:gd name="connsiteX272" fmla="*/ 3315961 w 6616265"/>
              <a:gd name="connsiteY272" fmla="*/ 0 h 6843715"/>
              <a:gd name="connsiteX273" fmla="*/ 3665747 w 6616265"/>
              <a:gd name="connsiteY273" fmla="*/ 0 h 6843715"/>
              <a:gd name="connsiteX274" fmla="*/ 3669557 w 6616265"/>
              <a:gd name="connsiteY274" fmla="*/ 18877 h 6843715"/>
              <a:gd name="connsiteX275" fmla="*/ 3490853 w 6616265"/>
              <a:gd name="connsiteY275" fmla="*/ 197580 h 6843715"/>
              <a:gd name="connsiteX276" fmla="*/ 3312149 w 6616265"/>
              <a:gd name="connsiteY276" fmla="*/ 18877 h 6843715"/>
              <a:gd name="connsiteX277" fmla="*/ 2797407 w 6616265"/>
              <a:gd name="connsiteY277" fmla="*/ 0 h 6843715"/>
              <a:gd name="connsiteX278" fmla="*/ 3039823 w 6616265"/>
              <a:gd name="connsiteY278" fmla="*/ 0 h 6843715"/>
              <a:gd name="connsiteX279" fmla="*/ 3043771 w 6616265"/>
              <a:gd name="connsiteY279" fmla="*/ 19521 h 6843715"/>
              <a:gd name="connsiteX280" fmla="*/ 2918615 w 6616265"/>
              <a:gd name="connsiteY280" fmla="*/ 144678 h 6843715"/>
              <a:gd name="connsiteX281" fmla="*/ 2793457 w 6616265"/>
              <a:gd name="connsiteY281" fmla="*/ 19521 h 6843715"/>
              <a:gd name="connsiteX282" fmla="*/ 2274893 w 6616265"/>
              <a:gd name="connsiteY282" fmla="*/ 0 h 6843715"/>
              <a:gd name="connsiteX283" fmla="*/ 2417855 w 6616265"/>
              <a:gd name="connsiteY283" fmla="*/ 0 h 6843715"/>
              <a:gd name="connsiteX284" fmla="*/ 2421856 w 6616265"/>
              <a:gd name="connsiteY284" fmla="*/ 19518 h 6843715"/>
              <a:gd name="connsiteX285" fmla="*/ 2346375 w 6616265"/>
              <a:gd name="connsiteY285" fmla="*/ 94999 h 6843715"/>
              <a:gd name="connsiteX286" fmla="*/ 2270893 w 6616265"/>
              <a:gd name="connsiteY286" fmla="*/ 19518 h 6843715"/>
              <a:gd name="connsiteX287" fmla="*/ 1740884 w 6616265"/>
              <a:gd name="connsiteY287" fmla="*/ 0 h 6843715"/>
              <a:gd name="connsiteX288" fmla="*/ 1806098 w 6616265"/>
              <a:gd name="connsiteY288" fmla="*/ 0 h 6843715"/>
              <a:gd name="connsiteX289" fmla="*/ 1814136 w 6616265"/>
              <a:gd name="connsiteY289" fmla="*/ 19519 h 6843715"/>
              <a:gd name="connsiteX290" fmla="*/ 1773490 w 6616265"/>
              <a:gd name="connsiteY290" fmla="*/ 60163 h 6843715"/>
              <a:gd name="connsiteX291" fmla="*/ 1732847 w 6616265"/>
              <a:gd name="connsiteY291" fmla="*/ 19519 h 684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</a:cxnLst>
            <a:rect l="l" t="t" r="r" b="b"/>
            <a:pathLst>
              <a:path w="6616265" h="6843715">
                <a:moveTo>
                  <a:pt x="629011" y="6807681"/>
                </a:moveTo>
                <a:cubicBezTo>
                  <a:pt x="645785" y="6807681"/>
                  <a:pt x="661430" y="6813003"/>
                  <a:pt x="674414" y="6821955"/>
                </a:cubicBezTo>
                <a:lnTo>
                  <a:pt x="692183" y="6843715"/>
                </a:lnTo>
                <a:lnTo>
                  <a:pt x="566186" y="6843715"/>
                </a:lnTo>
                <a:lnTo>
                  <a:pt x="583691" y="6821713"/>
                </a:lnTo>
                <a:cubicBezTo>
                  <a:pt x="596593" y="6812842"/>
                  <a:pt x="612238" y="6807681"/>
                  <a:pt x="629011" y="6807681"/>
                </a:cubicBezTo>
                <a:close/>
                <a:moveTo>
                  <a:pt x="1201250" y="6737360"/>
                </a:moveTo>
                <a:cubicBezTo>
                  <a:pt x="1255926" y="6737360"/>
                  <a:pt x="1304070" y="6766754"/>
                  <a:pt x="1330440" y="6810301"/>
                </a:cubicBezTo>
                <a:lnTo>
                  <a:pt x="1343433" y="6843715"/>
                </a:lnTo>
                <a:lnTo>
                  <a:pt x="1059118" y="6843715"/>
                </a:lnTo>
                <a:lnTo>
                  <a:pt x="1072333" y="6810029"/>
                </a:lnTo>
                <a:cubicBezTo>
                  <a:pt x="1098794" y="6766391"/>
                  <a:pt x="1146575" y="6737360"/>
                  <a:pt x="1201250" y="6737360"/>
                </a:cubicBezTo>
                <a:close/>
                <a:moveTo>
                  <a:pt x="56772" y="6273505"/>
                </a:moveTo>
                <a:cubicBezTo>
                  <a:pt x="79998" y="6273505"/>
                  <a:pt x="99350" y="6292215"/>
                  <a:pt x="99350" y="6316084"/>
                </a:cubicBezTo>
                <a:cubicBezTo>
                  <a:pt x="99350" y="6339309"/>
                  <a:pt x="80642" y="6358663"/>
                  <a:pt x="56772" y="6358663"/>
                </a:cubicBezTo>
                <a:cubicBezTo>
                  <a:pt x="33547" y="6358663"/>
                  <a:pt x="14192" y="6339955"/>
                  <a:pt x="14192" y="6316084"/>
                </a:cubicBezTo>
                <a:cubicBezTo>
                  <a:pt x="14192" y="6292860"/>
                  <a:pt x="32902" y="6273505"/>
                  <a:pt x="56772" y="6273505"/>
                </a:cubicBezTo>
                <a:close/>
                <a:moveTo>
                  <a:pt x="629011" y="6216087"/>
                </a:moveTo>
                <a:cubicBezTo>
                  <a:pt x="684494" y="6216087"/>
                  <a:pt x="729008" y="6260601"/>
                  <a:pt x="729008" y="6316083"/>
                </a:cubicBezTo>
                <a:cubicBezTo>
                  <a:pt x="729008" y="6371565"/>
                  <a:pt x="684494" y="6416081"/>
                  <a:pt x="629011" y="6416081"/>
                </a:cubicBezTo>
                <a:cubicBezTo>
                  <a:pt x="573530" y="6416081"/>
                  <a:pt x="529015" y="6371565"/>
                  <a:pt x="529015" y="6316083"/>
                </a:cubicBezTo>
                <a:cubicBezTo>
                  <a:pt x="529015" y="6260601"/>
                  <a:pt x="573530" y="6216087"/>
                  <a:pt x="629011" y="6216087"/>
                </a:cubicBezTo>
                <a:close/>
                <a:moveTo>
                  <a:pt x="1201251" y="6134800"/>
                </a:moveTo>
                <a:cubicBezTo>
                  <a:pt x="1301248" y="6134800"/>
                  <a:pt x="1382536" y="6216087"/>
                  <a:pt x="1382536" y="6316084"/>
                </a:cubicBezTo>
                <a:cubicBezTo>
                  <a:pt x="1382536" y="6416081"/>
                  <a:pt x="1301248" y="6497368"/>
                  <a:pt x="1201251" y="6497368"/>
                </a:cubicBezTo>
                <a:cubicBezTo>
                  <a:pt x="1101255" y="6497368"/>
                  <a:pt x="1019967" y="6416081"/>
                  <a:pt x="1019967" y="6316084"/>
                </a:cubicBezTo>
                <a:cubicBezTo>
                  <a:pt x="1019967" y="6216087"/>
                  <a:pt x="1101255" y="6134800"/>
                  <a:pt x="1201251" y="6134800"/>
                </a:cubicBezTo>
                <a:close/>
                <a:moveTo>
                  <a:pt x="56773" y="5692879"/>
                </a:moveTo>
                <a:cubicBezTo>
                  <a:pt x="84514" y="5692879"/>
                  <a:pt x="107093" y="5715458"/>
                  <a:pt x="107738" y="5743845"/>
                </a:cubicBezTo>
                <a:cubicBezTo>
                  <a:pt x="107738" y="5772232"/>
                  <a:pt x="85159" y="5794811"/>
                  <a:pt x="56773" y="5794811"/>
                </a:cubicBezTo>
                <a:cubicBezTo>
                  <a:pt x="28385" y="5794811"/>
                  <a:pt x="5806" y="5772232"/>
                  <a:pt x="5806" y="5743845"/>
                </a:cubicBezTo>
                <a:cubicBezTo>
                  <a:pt x="5806" y="5715458"/>
                  <a:pt x="28385" y="5692879"/>
                  <a:pt x="56773" y="5692879"/>
                </a:cubicBezTo>
                <a:close/>
                <a:moveTo>
                  <a:pt x="629011" y="5627719"/>
                </a:moveTo>
                <a:cubicBezTo>
                  <a:pt x="692881" y="5627719"/>
                  <a:pt x="744491" y="5679331"/>
                  <a:pt x="744491" y="5743199"/>
                </a:cubicBezTo>
                <a:cubicBezTo>
                  <a:pt x="744491" y="5807068"/>
                  <a:pt x="692881" y="5858679"/>
                  <a:pt x="629011" y="5858679"/>
                </a:cubicBezTo>
                <a:cubicBezTo>
                  <a:pt x="565143" y="5858679"/>
                  <a:pt x="513532" y="5807068"/>
                  <a:pt x="513532" y="5743199"/>
                </a:cubicBezTo>
                <a:cubicBezTo>
                  <a:pt x="513532" y="5679331"/>
                  <a:pt x="565143" y="5627719"/>
                  <a:pt x="629011" y="5627719"/>
                </a:cubicBezTo>
                <a:close/>
                <a:moveTo>
                  <a:pt x="1201250" y="5539980"/>
                </a:moveTo>
                <a:cubicBezTo>
                  <a:pt x="1313506" y="5539980"/>
                  <a:pt x="1404470" y="5630945"/>
                  <a:pt x="1404470" y="5743199"/>
                </a:cubicBezTo>
                <a:cubicBezTo>
                  <a:pt x="1404470" y="5855453"/>
                  <a:pt x="1313506" y="5946419"/>
                  <a:pt x="1201250" y="5946419"/>
                </a:cubicBezTo>
                <a:cubicBezTo>
                  <a:pt x="1088996" y="5946419"/>
                  <a:pt x="998031" y="5855453"/>
                  <a:pt x="998031" y="5743199"/>
                </a:cubicBezTo>
                <a:cubicBezTo>
                  <a:pt x="998031" y="5630945"/>
                  <a:pt x="1088996" y="5539980"/>
                  <a:pt x="1201250" y="5539980"/>
                </a:cubicBezTo>
                <a:close/>
                <a:moveTo>
                  <a:pt x="56772" y="5114188"/>
                </a:moveTo>
                <a:cubicBezTo>
                  <a:pt x="87739" y="5114188"/>
                  <a:pt x="113543" y="5139348"/>
                  <a:pt x="113543" y="5170960"/>
                </a:cubicBezTo>
                <a:cubicBezTo>
                  <a:pt x="113543" y="5201927"/>
                  <a:pt x="88383" y="5227732"/>
                  <a:pt x="56772" y="5227732"/>
                </a:cubicBezTo>
                <a:cubicBezTo>
                  <a:pt x="25805" y="5227732"/>
                  <a:pt x="0" y="5202572"/>
                  <a:pt x="0" y="5170960"/>
                </a:cubicBezTo>
                <a:cubicBezTo>
                  <a:pt x="0" y="5139993"/>
                  <a:pt x="25160" y="5114188"/>
                  <a:pt x="56772" y="5114188"/>
                </a:cubicBezTo>
                <a:close/>
                <a:moveTo>
                  <a:pt x="629011" y="5045803"/>
                </a:moveTo>
                <a:cubicBezTo>
                  <a:pt x="698041" y="5045803"/>
                  <a:pt x="754168" y="5101931"/>
                  <a:pt x="754168" y="5170960"/>
                </a:cubicBezTo>
                <a:cubicBezTo>
                  <a:pt x="754168" y="5239990"/>
                  <a:pt x="698041" y="5296117"/>
                  <a:pt x="629011" y="5296117"/>
                </a:cubicBezTo>
                <a:cubicBezTo>
                  <a:pt x="559981" y="5296117"/>
                  <a:pt x="503854" y="5239990"/>
                  <a:pt x="503854" y="5170960"/>
                </a:cubicBezTo>
                <a:cubicBezTo>
                  <a:pt x="503854" y="5101931"/>
                  <a:pt x="559981" y="5045803"/>
                  <a:pt x="629011" y="5045803"/>
                </a:cubicBezTo>
                <a:close/>
                <a:moveTo>
                  <a:pt x="1201250" y="4954192"/>
                </a:moveTo>
                <a:cubicBezTo>
                  <a:pt x="1291247" y="4954192"/>
                  <a:pt x="1368181" y="5008627"/>
                  <a:pt x="1401022" y="5086466"/>
                </a:cubicBezTo>
                <a:lnTo>
                  <a:pt x="1410074" y="5131470"/>
                </a:lnTo>
                <a:lnTo>
                  <a:pt x="1406404" y="5157374"/>
                </a:lnTo>
                <a:lnTo>
                  <a:pt x="1412511" y="5198249"/>
                </a:lnTo>
                <a:lnTo>
                  <a:pt x="1401022" y="5255180"/>
                </a:lnTo>
                <a:cubicBezTo>
                  <a:pt x="1368181" y="5332931"/>
                  <a:pt x="1291247" y="5387727"/>
                  <a:pt x="1201250" y="5387727"/>
                </a:cubicBezTo>
                <a:cubicBezTo>
                  <a:pt x="1081899" y="5387727"/>
                  <a:pt x="984484" y="5290955"/>
                  <a:pt x="984484" y="5170959"/>
                </a:cubicBezTo>
                <a:cubicBezTo>
                  <a:pt x="984484" y="5051608"/>
                  <a:pt x="1081254" y="4954192"/>
                  <a:pt x="1201250" y="4954192"/>
                </a:cubicBezTo>
                <a:close/>
                <a:moveTo>
                  <a:pt x="56772" y="4541948"/>
                </a:moveTo>
                <a:cubicBezTo>
                  <a:pt x="87739" y="4541948"/>
                  <a:pt x="113543" y="4567108"/>
                  <a:pt x="113543" y="4598720"/>
                </a:cubicBezTo>
                <a:cubicBezTo>
                  <a:pt x="113543" y="4629687"/>
                  <a:pt x="88383" y="4655492"/>
                  <a:pt x="56772" y="4655492"/>
                </a:cubicBezTo>
                <a:cubicBezTo>
                  <a:pt x="25805" y="4655492"/>
                  <a:pt x="0" y="4630332"/>
                  <a:pt x="0" y="4598720"/>
                </a:cubicBezTo>
                <a:cubicBezTo>
                  <a:pt x="0" y="4567753"/>
                  <a:pt x="25160" y="4541948"/>
                  <a:pt x="56772" y="4541948"/>
                </a:cubicBezTo>
                <a:close/>
                <a:moveTo>
                  <a:pt x="629011" y="4471628"/>
                </a:moveTo>
                <a:cubicBezTo>
                  <a:pt x="698687" y="4471628"/>
                  <a:pt x="755461" y="4528400"/>
                  <a:pt x="756105" y="4598720"/>
                </a:cubicBezTo>
                <a:cubicBezTo>
                  <a:pt x="756105" y="4669042"/>
                  <a:pt x="699333" y="4725814"/>
                  <a:pt x="629011" y="4725814"/>
                </a:cubicBezTo>
                <a:cubicBezTo>
                  <a:pt x="558691" y="4725814"/>
                  <a:pt x="501919" y="4669042"/>
                  <a:pt x="501919" y="4598720"/>
                </a:cubicBezTo>
                <a:cubicBezTo>
                  <a:pt x="501919" y="4528400"/>
                  <a:pt x="558691" y="4471628"/>
                  <a:pt x="629011" y="4471628"/>
                </a:cubicBezTo>
                <a:close/>
                <a:moveTo>
                  <a:pt x="1201250" y="4380018"/>
                </a:moveTo>
                <a:cubicBezTo>
                  <a:pt x="1291731" y="4380018"/>
                  <a:pt x="1369511" y="4435178"/>
                  <a:pt x="1402746" y="4513653"/>
                </a:cubicBezTo>
                <a:lnTo>
                  <a:pt x="1409763" y="4548338"/>
                </a:lnTo>
                <a:lnTo>
                  <a:pt x="1404469" y="4585134"/>
                </a:lnTo>
                <a:lnTo>
                  <a:pt x="1411993" y="4638076"/>
                </a:lnTo>
                <a:lnTo>
                  <a:pt x="1402746" y="4683789"/>
                </a:lnTo>
                <a:cubicBezTo>
                  <a:pt x="1369511" y="4762264"/>
                  <a:pt x="1291731" y="4817424"/>
                  <a:pt x="1201250" y="4817424"/>
                </a:cubicBezTo>
                <a:cubicBezTo>
                  <a:pt x="1080609" y="4817424"/>
                  <a:pt x="982548" y="4719362"/>
                  <a:pt x="982548" y="4598720"/>
                </a:cubicBezTo>
                <a:cubicBezTo>
                  <a:pt x="982548" y="4478079"/>
                  <a:pt x="1080609" y="4380018"/>
                  <a:pt x="1201250" y="4380018"/>
                </a:cubicBezTo>
                <a:close/>
                <a:moveTo>
                  <a:pt x="56772" y="3971645"/>
                </a:moveTo>
                <a:cubicBezTo>
                  <a:pt x="87093" y="3971645"/>
                  <a:pt x="111609" y="3996160"/>
                  <a:pt x="111609" y="4026482"/>
                </a:cubicBezTo>
                <a:cubicBezTo>
                  <a:pt x="111609" y="4056803"/>
                  <a:pt x="87093" y="4081319"/>
                  <a:pt x="56772" y="4081319"/>
                </a:cubicBezTo>
                <a:cubicBezTo>
                  <a:pt x="26450" y="4081319"/>
                  <a:pt x="1935" y="4056803"/>
                  <a:pt x="1935" y="4026482"/>
                </a:cubicBezTo>
                <a:cubicBezTo>
                  <a:pt x="1935" y="3996160"/>
                  <a:pt x="26450" y="3971645"/>
                  <a:pt x="56772" y="3971645"/>
                </a:cubicBezTo>
                <a:close/>
                <a:moveTo>
                  <a:pt x="629011" y="3905840"/>
                </a:moveTo>
                <a:cubicBezTo>
                  <a:pt x="695461" y="3905840"/>
                  <a:pt x="749008" y="3959386"/>
                  <a:pt x="749008" y="4025836"/>
                </a:cubicBezTo>
                <a:cubicBezTo>
                  <a:pt x="749008" y="4092286"/>
                  <a:pt x="695461" y="4145833"/>
                  <a:pt x="629011" y="4145833"/>
                </a:cubicBezTo>
                <a:cubicBezTo>
                  <a:pt x="562561" y="4145833"/>
                  <a:pt x="509015" y="4092286"/>
                  <a:pt x="509015" y="4025836"/>
                </a:cubicBezTo>
                <a:cubicBezTo>
                  <a:pt x="509015" y="3959386"/>
                  <a:pt x="562561" y="3905840"/>
                  <a:pt x="629011" y="3905840"/>
                </a:cubicBezTo>
                <a:close/>
                <a:moveTo>
                  <a:pt x="1203892" y="3814493"/>
                </a:moveTo>
                <a:cubicBezTo>
                  <a:pt x="1302314" y="3815635"/>
                  <a:pt x="1389676" y="3885701"/>
                  <a:pt x="1409012" y="3986119"/>
                </a:cubicBezTo>
                <a:lnTo>
                  <a:pt x="1410785" y="4005809"/>
                </a:lnTo>
                <a:lnTo>
                  <a:pt x="1410276" y="4012250"/>
                </a:lnTo>
                <a:lnTo>
                  <a:pt x="1412759" y="4029675"/>
                </a:lnTo>
                <a:lnTo>
                  <a:pt x="1408258" y="4070146"/>
                </a:lnTo>
                <a:cubicBezTo>
                  <a:pt x="1391074" y="4150802"/>
                  <a:pt x="1327302" y="4217356"/>
                  <a:pt x="1241229" y="4233930"/>
                </a:cubicBezTo>
                <a:cubicBezTo>
                  <a:pt x="1126467" y="4256030"/>
                  <a:pt x="1015518" y="4180911"/>
                  <a:pt x="993420" y="4066148"/>
                </a:cubicBezTo>
                <a:cubicBezTo>
                  <a:pt x="971319" y="3951384"/>
                  <a:pt x="1046437" y="3840435"/>
                  <a:pt x="1161200" y="3818336"/>
                </a:cubicBezTo>
                <a:cubicBezTo>
                  <a:pt x="1175546" y="3815574"/>
                  <a:pt x="1189832" y="3814330"/>
                  <a:pt x="1203892" y="3814493"/>
                </a:cubicBezTo>
                <a:close/>
                <a:moveTo>
                  <a:pt x="56773" y="3404567"/>
                </a:moveTo>
                <a:cubicBezTo>
                  <a:pt x="83868" y="3404567"/>
                  <a:pt x="105802" y="3426502"/>
                  <a:pt x="105802" y="3453598"/>
                </a:cubicBezTo>
                <a:cubicBezTo>
                  <a:pt x="105802" y="3480693"/>
                  <a:pt x="83868" y="3502627"/>
                  <a:pt x="56773" y="3502627"/>
                </a:cubicBezTo>
                <a:cubicBezTo>
                  <a:pt x="29677" y="3502627"/>
                  <a:pt x="7742" y="3480693"/>
                  <a:pt x="7742" y="3453598"/>
                </a:cubicBezTo>
                <a:cubicBezTo>
                  <a:pt x="7742" y="3426502"/>
                  <a:pt x="29677" y="3404567"/>
                  <a:pt x="56773" y="3404567"/>
                </a:cubicBezTo>
                <a:close/>
                <a:moveTo>
                  <a:pt x="629011" y="3346504"/>
                </a:moveTo>
                <a:cubicBezTo>
                  <a:pt x="688364" y="3346504"/>
                  <a:pt x="736105" y="3394245"/>
                  <a:pt x="736105" y="3453598"/>
                </a:cubicBezTo>
                <a:cubicBezTo>
                  <a:pt x="736105" y="3512951"/>
                  <a:pt x="688364" y="3560691"/>
                  <a:pt x="629011" y="3560691"/>
                </a:cubicBezTo>
                <a:cubicBezTo>
                  <a:pt x="569658" y="3560691"/>
                  <a:pt x="521918" y="3512951"/>
                  <a:pt x="521918" y="3453598"/>
                </a:cubicBezTo>
                <a:cubicBezTo>
                  <a:pt x="521918" y="3394245"/>
                  <a:pt x="569658" y="3346504"/>
                  <a:pt x="629011" y="3346504"/>
                </a:cubicBezTo>
                <a:close/>
                <a:moveTo>
                  <a:pt x="1202686" y="3262070"/>
                </a:moveTo>
                <a:cubicBezTo>
                  <a:pt x="1277355" y="3262626"/>
                  <a:pt x="1347997" y="3307073"/>
                  <a:pt x="1378371" y="3380400"/>
                </a:cubicBezTo>
                <a:cubicBezTo>
                  <a:pt x="1418869" y="3478168"/>
                  <a:pt x="1372441" y="3590255"/>
                  <a:pt x="1274673" y="3630753"/>
                </a:cubicBezTo>
                <a:cubicBezTo>
                  <a:pt x="1176904" y="3671251"/>
                  <a:pt x="1064816" y="3624824"/>
                  <a:pt x="1024320" y="3527055"/>
                </a:cubicBezTo>
                <a:cubicBezTo>
                  <a:pt x="983821" y="3429287"/>
                  <a:pt x="1030249" y="3317199"/>
                  <a:pt x="1128017" y="3276702"/>
                </a:cubicBezTo>
                <a:cubicBezTo>
                  <a:pt x="1152459" y="3266578"/>
                  <a:pt x="1177796" y="3261886"/>
                  <a:pt x="1202686" y="3262070"/>
                </a:cubicBezTo>
                <a:close/>
                <a:moveTo>
                  <a:pt x="56772" y="2842650"/>
                </a:moveTo>
                <a:cubicBezTo>
                  <a:pt x="78062" y="2842650"/>
                  <a:pt x="95481" y="2860069"/>
                  <a:pt x="95481" y="2881358"/>
                </a:cubicBezTo>
                <a:cubicBezTo>
                  <a:pt x="95481" y="2902648"/>
                  <a:pt x="78062" y="2920067"/>
                  <a:pt x="56772" y="2920067"/>
                </a:cubicBezTo>
                <a:cubicBezTo>
                  <a:pt x="34837" y="2920067"/>
                  <a:pt x="18064" y="2902648"/>
                  <a:pt x="18064" y="2881358"/>
                </a:cubicBezTo>
                <a:cubicBezTo>
                  <a:pt x="18064" y="2860069"/>
                  <a:pt x="35482" y="2842650"/>
                  <a:pt x="56772" y="2842650"/>
                </a:cubicBezTo>
                <a:close/>
                <a:moveTo>
                  <a:pt x="629011" y="2794264"/>
                </a:moveTo>
                <a:cubicBezTo>
                  <a:pt x="676752" y="2794264"/>
                  <a:pt x="716105" y="2832972"/>
                  <a:pt x="716105" y="2881358"/>
                </a:cubicBezTo>
                <a:cubicBezTo>
                  <a:pt x="716105" y="2929098"/>
                  <a:pt x="677397" y="2968451"/>
                  <a:pt x="629011" y="2968451"/>
                </a:cubicBezTo>
                <a:cubicBezTo>
                  <a:pt x="580626" y="2968451"/>
                  <a:pt x="541273" y="2929744"/>
                  <a:pt x="541918" y="2881358"/>
                </a:cubicBezTo>
                <a:cubicBezTo>
                  <a:pt x="541918" y="2833617"/>
                  <a:pt x="580626" y="2794264"/>
                  <a:pt x="629011" y="2794264"/>
                </a:cubicBezTo>
                <a:close/>
                <a:moveTo>
                  <a:pt x="1201251" y="2715556"/>
                </a:moveTo>
                <a:cubicBezTo>
                  <a:pt x="1292862" y="2715556"/>
                  <a:pt x="1367053" y="2789748"/>
                  <a:pt x="1367053" y="2881358"/>
                </a:cubicBezTo>
                <a:cubicBezTo>
                  <a:pt x="1367053" y="2972968"/>
                  <a:pt x="1292862" y="3047159"/>
                  <a:pt x="1201251" y="3047159"/>
                </a:cubicBezTo>
                <a:cubicBezTo>
                  <a:pt x="1109641" y="3047159"/>
                  <a:pt x="1035450" y="2972968"/>
                  <a:pt x="1035450" y="2881358"/>
                </a:cubicBezTo>
                <a:cubicBezTo>
                  <a:pt x="1035450" y="2789748"/>
                  <a:pt x="1109641" y="2715556"/>
                  <a:pt x="1201251" y="2715556"/>
                </a:cubicBezTo>
                <a:close/>
                <a:moveTo>
                  <a:pt x="629011" y="2240733"/>
                </a:moveTo>
                <a:cubicBezTo>
                  <a:pt x="666430" y="2240733"/>
                  <a:pt x="696752" y="2271056"/>
                  <a:pt x="696752" y="2308473"/>
                </a:cubicBezTo>
                <a:cubicBezTo>
                  <a:pt x="696752" y="2345890"/>
                  <a:pt x="666430" y="2376215"/>
                  <a:pt x="629011" y="2376215"/>
                </a:cubicBezTo>
                <a:cubicBezTo>
                  <a:pt x="591594" y="2376215"/>
                  <a:pt x="561272" y="2345890"/>
                  <a:pt x="561272" y="2308473"/>
                </a:cubicBezTo>
                <a:cubicBezTo>
                  <a:pt x="561272" y="2271056"/>
                  <a:pt x="591594" y="2240733"/>
                  <a:pt x="629011" y="2240733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7"/>
                  <a:pt x="1333504" y="2308480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3"/>
                  <a:pt x="1068997" y="2308480"/>
                </a:cubicBezTo>
                <a:cubicBezTo>
                  <a:pt x="1068997" y="2235577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6"/>
                </a:cubicBezTo>
                <a:lnTo>
                  <a:pt x="1987399" y="2278426"/>
                </a:lnTo>
                <a:lnTo>
                  <a:pt x="1985740" y="2294891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6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6" y="1058530"/>
                  <a:pt x="2537336" y="1163996"/>
                </a:cubicBezTo>
                <a:cubicBezTo>
                  <a:pt x="2537336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5" y="395638"/>
                </a:moveTo>
                <a:cubicBezTo>
                  <a:pt x="3026353" y="395638"/>
                  <a:pt x="3114093" y="483377"/>
                  <a:pt x="3114093" y="591115"/>
                </a:cubicBezTo>
                <a:cubicBezTo>
                  <a:pt x="3114093" y="698853"/>
                  <a:pt x="3026353" y="786593"/>
                  <a:pt x="2918615" y="786593"/>
                </a:cubicBezTo>
                <a:cubicBezTo>
                  <a:pt x="2810876" y="786593"/>
                  <a:pt x="2723138" y="699498"/>
                  <a:pt x="2723138" y="591115"/>
                </a:cubicBezTo>
                <a:cubicBezTo>
                  <a:pt x="2723138" y="483377"/>
                  <a:pt x="2810876" y="395638"/>
                  <a:pt x="2918615" y="395638"/>
                </a:cubicBezTo>
                <a:close/>
                <a:moveTo>
                  <a:pt x="4310583" y="0"/>
                </a:moveTo>
                <a:lnTo>
                  <a:pt x="6616265" y="0"/>
                </a:lnTo>
                <a:lnTo>
                  <a:pt x="6616265" y="6843715"/>
                </a:lnTo>
                <a:lnTo>
                  <a:pt x="1487341" y="6843715"/>
                </a:lnTo>
                <a:lnTo>
                  <a:pt x="1496539" y="6801672"/>
                </a:lnTo>
                <a:cubicBezTo>
                  <a:pt x="1527560" y="6703935"/>
                  <a:pt x="1618657" y="6632808"/>
                  <a:pt x="1727039" y="6632808"/>
                </a:cubicBezTo>
                <a:cubicBezTo>
                  <a:pt x="1847035" y="6632808"/>
                  <a:pt x="1946387" y="6719902"/>
                  <a:pt x="1965741" y="6834092"/>
                </a:cubicBezTo>
                <a:cubicBezTo>
                  <a:pt x="1976709" y="6743773"/>
                  <a:pt x="2023158" y="6665065"/>
                  <a:pt x="2090255" y="6611519"/>
                </a:cubicBezTo>
                <a:cubicBezTo>
                  <a:pt x="2034126" y="6573455"/>
                  <a:pt x="1988966" y="6521200"/>
                  <a:pt x="1960580" y="6459266"/>
                </a:cubicBezTo>
                <a:cubicBezTo>
                  <a:pt x="1910259" y="6534102"/>
                  <a:pt x="1824455" y="6583778"/>
                  <a:pt x="1727039" y="6583778"/>
                </a:cubicBezTo>
                <a:cubicBezTo>
                  <a:pt x="1571560" y="6583778"/>
                  <a:pt x="1445758" y="6457976"/>
                  <a:pt x="1445758" y="6302497"/>
                </a:cubicBezTo>
                <a:cubicBezTo>
                  <a:pt x="1445758" y="6170244"/>
                  <a:pt x="1536078" y="6059924"/>
                  <a:pt x="1658654" y="6029603"/>
                </a:cubicBezTo>
                <a:cubicBezTo>
                  <a:pt x="1521884" y="5997991"/>
                  <a:pt x="1419307" y="5876060"/>
                  <a:pt x="1419307" y="5729612"/>
                </a:cubicBezTo>
                <a:cubicBezTo>
                  <a:pt x="1419307" y="5606391"/>
                  <a:pt x="1492853" y="5499943"/>
                  <a:pt x="1598012" y="5450912"/>
                </a:cubicBezTo>
                <a:cubicBezTo>
                  <a:pt x="1513337" y="5413655"/>
                  <a:pt x="1447894" y="5340835"/>
                  <a:pt x="1420467" y="5251503"/>
                </a:cubicBezTo>
                <a:lnTo>
                  <a:pt x="1412511" y="5198249"/>
                </a:lnTo>
                <a:lnTo>
                  <a:pt x="1418018" y="5170959"/>
                </a:lnTo>
                <a:lnTo>
                  <a:pt x="1410074" y="5131470"/>
                </a:lnTo>
                <a:lnTo>
                  <a:pt x="1419106" y="5067729"/>
                </a:lnTo>
                <a:cubicBezTo>
                  <a:pt x="1443902" y="4982420"/>
                  <a:pt x="1503175" y="4911898"/>
                  <a:pt x="1580592" y="4872221"/>
                </a:cubicBezTo>
                <a:cubicBezTo>
                  <a:pt x="1502208" y="4832546"/>
                  <a:pt x="1442330" y="4761298"/>
                  <a:pt x="1417291" y="4675353"/>
                </a:cubicBezTo>
                <a:lnTo>
                  <a:pt x="1411993" y="4638076"/>
                </a:lnTo>
                <a:lnTo>
                  <a:pt x="1419954" y="4598720"/>
                </a:lnTo>
                <a:lnTo>
                  <a:pt x="1409763" y="4548338"/>
                </a:lnTo>
                <a:lnTo>
                  <a:pt x="1417623" y="4493696"/>
                </a:lnTo>
                <a:cubicBezTo>
                  <a:pt x="1443297" y="4406753"/>
                  <a:pt x="1504626" y="4335143"/>
                  <a:pt x="1584463" y="4295466"/>
                </a:cubicBezTo>
                <a:cubicBezTo>
                  <a:pt x="1507047" y="4256273"/>
                  <a:pt x="1447775" y="4186235"/>
                  <a:pt x="1422978" y="4101409"/>
                </a:cubicBezTo>
                <a:lnTo>
                  <a:pt x="1412759" y="4029675"/>
                </a:lnTo>
                <a:lnTo>
                  <a:pt x="1412855" y="4028809"/>
                </a:lnTo>
                <a:lnTo>
                  <a:pt x="1410785" y="4005809"/>
                </a:lnTo>
                <a:lnTo>
                  <a:pt x="1414258" y="3961788"/>
                </a:lnTo>
                <a:cubicBezTo>
                  <a:pt x="1432604" y="3846780"/>
                  <a:pt x="1512692" y="3752580"/>
                  <a:pt x="1619945" y="3714195"/>
                </a:cubicBezTo>
                <a:cubicBezTo>
                  <a:pt x="1510272" y="3670971"/>
                  <a:pt x="1432210" y="3564522"/>
                  <a:pt x="1432210" y="3440010"/>
                </a:cubicBezTo>
                <a:cubicBezTo>
                  <a:pt x="1432210" y="3276790"/>
                  <a:pt x="1564463" y="3145181"/>
                  <a:pt x="1727039" y="3145181"/>
                </a:cubicBezTo>
                <a:cubicBezTo>
                  <a:pt x="1821230" y="3145181"/>
                  <a:pt x="1905097" y="3189695"/>
                  <a:pt x="1959290" y="3259371"/>
                </a:cubicBezTo>
                <a:cubicBezTo>
                  <a:pt x="1985740" y="3210340"/>
                  <a:pt x="2022513" y="3167116"/>
                  <a:pt x="2066382" y="3133569"/>
                </a:cubicBezTo>
                <a:cubicBezTo>
                  <a:pt x="2019932" y="3092925"/>
                  <a:pt x="1983805" y="3040023"/>
                  <a:pt x="1963805" y="2980026"/>
                </a:cubicBezTo>
                <a:cubicBezTo>
                  <a:pt x="1921226" y="3068409"/>
                  <a:pt x="1830907" y="3129697"/>
                  <a:pt x="1726393" y="3129697"/>
                </a:cubicBezTo>
                <a:cubicBezTo>
                  <a:pt x="1581237" y="3129697"/>
                  <a:pt x="1463822" y="3012282"/>
                  <a:pt x="1463822" y="2867126"/>
                </a:cubicBezTo>
                <a:cubicBezTo>
                  <a:pt x="1463822" y="2721969"/>
                  <a:pt x="1581237" y="2604554"/>
                  <a:pt x="1726393" y="2604554"/>
                </a:cubicBezTo>
                <a:cubicBezTo>
                  <a:pt x="1831551" y="2604554"/>
                  <a:pt x="1921871" y="2665843"/>
                  <a:pt x="1963805" y="2754227"/>
                </a:cubicBezTo>
                <a:cubicBezTo>
                  <a:pt x="1992191" y="2670358"/>
                  <a:pt x="2051544" y="2600038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8" y="2024578"/>
                  <a:pt x="2538627" y="2092962"/>
                </a:cubicBezTo>
                <a:cubicBezTo>
                  <a:pt x="2566368" y="2047155"/>
                  <a:pt x="2603785" y="2007158"/>
                  <a:pt x="2647655" y="1976190"/>
                </a:cubicBezTo>
                <a:cubicBezTo>
                  <a:pt x="2596689" y="1931031"/>
                  <a:pt x="2559270" y="1871032"/>
                  <a:pt x="2542497" y="1803293"/>
                </a:cubicBezTo>
                <a:cubicBezTo>
                  <a:pt x="2508305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5" y="1538784"/>
                  <a:pt x="2542497" y="1640718"/>
                </a:cubicBezTo>
                <a:cubicBezTo>
                  <a:pt x="2570240" y="1529109"/>
                  <a:pt x="2652816" y="1439433"/>
                  <a:pt x="2760555" y="1402016"/>
                </a:cubicBezTo>
                <a:cubicBezTo>
                  <a:pt x="2663138" y="1358789"/>
                  <a:pt x="2595400" y="1262019"/>
                  <a:pt x="2595400" y="1149118"/>
                </a:cubicBezTo>
                <a:cubicBezTo>
                  <a:pt x="2595400" y="996221"/>
                  <a:pt x="2719265" y="872997"/>
                  <a:pt x="2871517" y="872997"/>
                </a:cubicBezTo>
                <a:cubicBezTo>
                  <a:pt x="2983773" y="872997"/>
                  <a:pt x="3079897" y="939449"/>
                  <a:pt x="3123123" y="1035574"/>
                </a:cubicBezTo>
                <a:cubicBezTo>
                  <a:pt x="3159251" y="932997"/>
                  <a:pt x="3243119" y="853000"/>
                  <a:pt x="3348277" y="822035"/>
                </a:cubicBezTo>
                <a:cubicBezTo>
                  <a:pt x="3249571" y="783327"/>
                  <a:pt x="3179895" y="688491"/>
                  <a:pt x="3179895" y="576235"/>
                </a:cubicBezTo>
                <a:cubicBezTo>
                  <a:pt x="3179895" y="430434"/>
                  <a:pt x="3297955" y="312373"/>
                  <a:pt x="3443757" y="312373"/>
                </a:cubicBezTo>
                <a:cubicBezTo>
                  <a:pt x="3567623" y="312373"/>
                  <a:pt x="3672137" y="398822"/>
                  <a:pt x="3699877" y="514303"/>
                </a:cubicBezTo>
                <a:cubicBezTo>
                  <a:pt x="3728909" y="365921"/>
                  <a:pt x="3859227" y="254311"/>
                  <a:pt x="4015997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9" y="240118"/>
                </a:cubicBezTo>
                <a:cubicBezTo>
                  <a:pt x="4363083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6" y="250481"/>
                  <a:pt x="4063739" y="250481"/>
                </a:cubicBezTo>
                <a:cubicBezTo>
                  <a:pt x="3935999" y="250481"/>
                  <a:pt x="3832133" y="146614"/>
                  <a:pt x="3832777" y="19521"/>
                </a:cubicBezTo>
                <a:close/>
                <a:moveTo>
                  <a:pt x="3315961" y="0"/>
                </a:moveTo>
                <a:lnTo>
                  <a:pt x="3665747" y="0"/>
                </a:lnTo>
                <a:lnTo>
                  <a:pt x="3669557" y="18877"/>
                </a:lnTo>
                <a:cubicBezTo>
                  <a:pt x="3669557" y="117572"/>
                  <a:pt x="3589549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7" y="0"/>
                </a:moveTo>
                <a:lnTo>
                  <a:pt x="3039823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5" y="144678"/>
                </a:cubicBezTo>
                <a:cubicBezTo>
                  <a:pt x="2849583" y="144678"/>
                  <a:pt x="2793457" y="88551"/>
                  <a:pt x="2793457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04A15FC-D2AD-44A4-AC62-1D8C94F6F7A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5627689" cy="2173288"/>
          </a:xfrm>
        </p:spPr>
        <p:txBody>
          <a:bodyPr anchor="t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session/event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DBC2EDC-359D-4273-A170-21DF97254F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392000"/>
            <a:ext cx="562768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057479447" name="image" descr="{&quot;templafy&quot;:{&quot;id&quot;:&quot;2996ed4c-ca9b-4443-911c-da4156efb094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842" y="283850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668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77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3771" userDrawn="1">
          <p15:clr>
            <a:srgbClr val="FF96FF"/>
          </p15:clr>
        </p15:guide>
        <p15:guide id="7" pos="3908" userDrawn="1">
          <p15:clr>
            <a:srgbClr val="FF96FF"/>
          </p15:clr>
        </p15:guide>
        <p15:guide id="8" pos="7453" userDrawn="1">
          <p15:clr>
            <a:srgbClr val="FF96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16184FD-CBC9-4FF3-9E0A-C45F563991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533797704" name="image" descr="{&quot;templafy&quot;:{&quot;id&quot;:&quot;1fd35552-54a7-4c6f-91f7-99c60f396b8b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839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541351A2-CEC3-4AEC-8236-A5FB8016D6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71DB77D-2F07-40F6-BC00-A91E707946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580324147" name="image" descr="{&quot;templafy&quot;:{&quot;id&quot;:&quot;9f54d317-8253-4706-97b9-f4c77c31362c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862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1B111059-DBC4-45AB-8F17-173A4FC2887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71DB77D-2F07-40F6-BC00-A91E707946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552676794" name="image" descr="{&quot;templafy&quot;:{&quot;id&quot;:&quot;a3aa7c7e-0606-4856-9daf-b37f538b401e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800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7DBFF792-994D-4763-9021-2FEF7589E6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597"/>
            <a:ext cx="12192000" cy="685680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6147904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998D014-E3E3-471F-8933-C27D84BED9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6147903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2025408054" name="image" descr="{&quot;templafy&quot;:{&quot;id&quot;:&quot;0e2090c4-8144-44e3-97de-33b87b67f734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871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E2B16E6D-59F7-4872-A428-2EF0EB00AC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6138279" cy="2173288"/>
          </a:xfrm>
        </p:spPr>
        <p:txBody>
          <a:bodyPr anchor="ctr" anchorCtr="0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6B62067-628B-460A-AB62-DBF00E5836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6147903" cy="1620000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068046532" name="image" descr="{&quot;templafy&quot;:{&quot;id&quot;:&quot;94b21791-cfc7-4b35-8547-61a43cec1e37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63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855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34">
          <p15:clr>
            <a:srgbClr val="FF96FF"/>
          </p15:clr>
        </p15:guide>
        <p15:guide id="6" pos="2544">
          <p15:clr>
            <a:srgbClr val="FF96FF"/>
          </p15:clr>
        </p15:guide>
        <p15:guide id="7" pos="2683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1854B5-E94C-49C5-B244-F57B3C38DA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497D9-9E7A-4BD1-8760-1A8BDF98D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C80A7-614C-4E07-81DE-C2E044B6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850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4D375C42-C7F3-45E4-8897-3483B6DC53C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01854B5-E94C-49C5-B244-F57B3C38DA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497D9-9E7A-4BD1-8760-1A8BDF98D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C80A7-614C-4E07-81DE-C2E044B6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5782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E6D7EC9C-9C86-4A72-9CF4-9D1869172B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2365382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E2B16E6D-59F7-4872-A428-2EF0EB00AC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6138279" cy="2173288"/>
          </a:xfrm>
        </p:spPr>
        <p:txBody>
          <a:bodyPr anchor="ctr" anchorCtr="0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6B62067-628B-460A-AB62-DBF00E5836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6147903" cy="1620000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257080524" name="image" descr="{&quot;templafy&quot;:{&quot;id&quot;:&quot;a45f3bc4-b0c6-48eb-8bac-da651050f0a5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63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126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34" userDrawn="1">
          <p15:clr>
            <a:srgbClr val="FF96FF"/>
          </p15:clr>
        </p15:guide>
        <p15:guide id="6" pos="2544" userDrawn="1">
          <p15:clr>
            <a:srgbClr val="FF96FF"/>
          </p15:clr>
        </p15:guide>
        <p15:guide id="7" pos="2683" userDrawn="1">
          <p15:clr>
            <a:srgbClr val="FF96FF"/>
          </p15:clr>
        </p15:guide>
        <p15:guide id="8" pos="4999" userDrawn="1">
          <p15:clr>
            <a:srgbClr val="FF96FF"/>
          </p15:clr>
        </p15:guide>
        <p15:guide id="9" pos="5135" userDrawn="1">
          <p15:clr>
            <a:srgbClr val="FF96FF"/>
          </p15:clr>
        </p15:guide>
        <p15:guide id="10" pos="7453" userDrawn="1">
          <p15:clr>
            <a:srgbClr val="FF96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D67BDF81-EFA1-4C8C-B966-25B68D6657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169573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E69EA47E-6C41-451E-8DD8-8768C8368E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816D06E-260D-4306-8191-C5566E1881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426C92-CA81-4B45-B228-1C41F86F27C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2024625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4" y="1947863"/>
            <a:ext cx="5626100" cy="4002087"/>
          </a:xfrm>
        </p:spPr>
        <p:txBody>
          <a:bodyPr numCol="1"/>
          <a:lstStyle>
            <a:lvl1pPr marL="447675" indent="-447675">
              <a:buFont typeface="+mj-lt"/>
              <a:buAutoNum type="arabicPeriod"/>
              <a:defRPr/>
            </a:lvl1pPr>
            <a:lvl2pPr marL="447675" indent="0">
              <a:buFont typeface="Arial" panose="020B0604020202020204" pitchFamily="34" charset="0"/>
              <a:buNone/>
              <a:defRPr/>
            </a:lvl2pPr>
            <a:lvl3pPr marL="447675" indent="0">
              <a:buFont typeface="Arial" panose="020B0604020202020204" pitchFamily="34" charset="0"/>
              <a:buNone/>
              <a:defRPr sz="2000"/>
            </a:lvl3pPr>
            <a:lvl4pPr marL="447675" indent="0">
              <a:buFont typeface="Arial" panose="020B0604020202020204" pitchFamily="34" charset="0"/>
              <a:buNone/>
              <a:defRPr sz="2000"/>
            </a:lvl4pPr>
            <a:lvl5pPr marL="447675" indent="0">
              <a:buFont typeface="Arial" panose="020B0604020202020204" pitchFamily="34" charset="0"/>
              <a:buNone/>
              <a:defRPr sz="2000"/>
            </a:lvl5pPr>
          </a:lstStyle>
          <a:p>
            <a:pPr lvl="0"/>
            <a:r>
              <a:rPr lang="en-US"/>
              <a:t>Add section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agenda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204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11471275" cy="4002087"/>
          </a:xfrm>
        </p:spPr>
        <p:txBody>
          <a:bodyPr numCol="2"/>
          <a:lstStyle>
            <a:lvl1pPr marL="447675" indent="-447675">
              <a:buFont typeface="+mj-lt"/>
              <a:buAutoNum type="arabicPeriod"/>
              <a:defRPr/>
            </a:lvl1pPr>
            <a:lvl2pPr marL="447675" indent="0">
              <a:buFont typeface="Arial" panose="020B0604020202020204" pitchFamily="34" charset="0"/>
              <a:buNone/>
              <a:defRPr/>
            </a:lvl2pPr>
            <a:lvl3pPr marL="447675" indent="0">
              <a:buFont typeface="Arial" panose="020B0604020202020204" pitchFamily="34" charset="0"/>
              <a:buNone/>
              <a:defRPr sz="2000"/>
            </a:lvl3pPr>
            <a:lvl4pPr marL="447675" indent="0">
              <a:buFont typeface="Arial" panose="020B0604020202020204" pitchFamily="34" charset="0"/>
              <a:buNone/>
              <a:defRPr sz="2000"/>
            </a:lvl4pPr>
            <a:lvl5pPr marL="447675" indent="0">
              <a:buFont typeface="Arial" panose="020B0604020202020204" pitchFamily="34" charset="0"/>
              <a:buNone/>
              <a:defRPr sz="2000"/>
            </a:lvl5pPr>
          </a:lstStyle>
          <a:p>
            <a:pPr lvl="0"/>
            <a:r>
              <a:rPr lang="en-US"/>
              <a:t>Add section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agenda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92039B-F1A2-4FDE-A65A-56F1642D689D}"/>
              </a:ext>
            </a:extLst>
          </p:cNvPr>
          <p:cNvCxnSpPr>
            <a:cxnSpLocks/>
          </p:cNvCxnSpPr>
          <p:nvPr userDrawn="1"/>
        </p:nvCxnSpPr>
        <p:spPr>
          <a:xfrm>
            <a:off x="6203950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102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11471275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F7789E-3BDD-456A-8B4E-D05A3BEA3719}"/>
              </a:ext>
            </a:extLst>
          </p:cNvPr>
          <p:cNvCxnSpPr/>
          <p:nvPr userDrawn="1"/>
        </p:nvCxnSpPr>
        <p:spPr>
          <a:xfrm>
            <a:off x="358775" y="1798911"/>
            <a:ext cx="1147286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8541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0072E2-535B-45DE-A724-F7BE6D7347E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03639" y="1947863"/>
            <a:ext cx="5627999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5627999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2397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1/3 -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9639" y="1947325"/>
            <a:ext cx="3678237" cy="401056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34EDB7-6D95-41C7-98E2-50E9A314BEC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254500" y="1947324"/>
            <a:ext cx="7575999" cy="401056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DE99CC-1193-4724-B97A-63B084C7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2800772-5DC2-4428-A9AB-6886540164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03F7134-E454-4438-88AC-D186E1F59979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4A72D3E-ED9E-487D-8E75-BDE8764D0F2A}"/>
              </a:ext>
            </a:extLst>
          </p:cNvPr>
          <p:cNvCxnSpPr>
            <a:cxnSpLocks/>
          </p:cNvCxnSpPr>
          <p:nvPr userDrawn="1"/>
        </p:nvCxnSpPr>
        <p:spPr>
          <a:xfrm>
            <a:off x="4254500" y="1798911"/>
            <a:ext cx="75790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2474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D415900-5670-4A00-8CEC-6DFA5D5748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725" y="6946900"/>
            <a:ext cx="2743200" cy="365125"/>
          </a:xfrm>
          <a:prstGeom prst="rect">
            <a:avLst/>
          </a:prstGeom>
        </p:spPr>
        <p:txBody>
          <a:bodyPr/>
          <a:lstStyle/>
          <a:p>
            <a:fld id="{25BF746F-F7BD-4DAC-844B-31D72A7B82B4}" type="datetime1">
              <a:rPr lang="en-US" smtClean="0"/>
              <a:t>7/2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308136-A193-42AF-B4F8-0FE8DD01F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EE95C7-8261-4980-A6A7-1FCF4A6DE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CA73A4EF-33F6-433B-9F35-5BB6B3C7B2A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C0CB55A-7479-40ED-89A1-53B04326727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1990725"/>
            <a:ext cx="5626100" cy="17795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1FBE7EB6-23B8-4042-9882-DF407708EA5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001" y="4179088"/>
            <a:ext cx="5626100" cy="1779588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DD28430F-2DC6-4B69-BDBC-F973117F63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4001" y="1992089"/>
            <a:ext cx="5626100" cy="1779588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32B5A710-CB0F-4BC5-8082-1CBE8A24808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4001" y="4179088"/>
            <a:ext cx="5626100" cy="1779588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80A491E-47F6-45BF-A924-5EA71B7C7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A5F7C43A-4B76-400E-95CB-C88610641FD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A7C6F75-47E5-4F2E-92C5-475D6C76AD3D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FE475C4-5A0E-470E-B51E-CEBEB03A703D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CAC31F0-1F31-4AFD-8F00-38DDCF90A1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3994424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E9297BE-4964-47FC-AF8B-898DB2EE6301}"/>
              </a:ext>
            </a:extLst>
          </p:cNvPr>
          <p:cNvCxnSpPr>
            <a:cxnSpLocks/>
          </p:cNvCxnSpPr>
          <p:nvPr userDrawn="1"/>
        </p:nvCxnSpPr>
        <p:spPr>
          <a:xfrm>
            <a:off x="6203950" y="3994424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0371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2375">
          <p15:clr>
            <a:srgbClr val="FF96FF"/>
          </p15:clr>
        </p15:guide>
        <p15:guide id="5" orient="horz" pos="2511">
          <p15:clr>
            <a:srgbClr val="FF96FF"/>
          </p15:clr>
        </p15:guide>
        <p15:guide id="6" orient="horz" pos="3753">
          <p15:clr>
            <a:srgbClr val="FF96FF"/>
          </p15:clr>
        </p15:guide>
        <p15:guide id="7" pos="226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269875"/>
            <a:ext cx="8549050" cy="5688125"/>
          </a:xfrm>
        </p:spPr>
        <p:txBody>
          <a:bodyPr/>
          <a:lstStyle>
            <a:lvl1pPr marL="0" indent="0">
              <a:buNone/>
              <a:defRPr sz="3200"/>
            </a:lvl1pPr>
            <a:lvl2pPr marL="0" indent="0">
              <a:buNone/>
              <a:defRPr sz="3200"/>
            </a:lvl2pPr>
            <a:lvl3pPr marL="0" indent="0">
              <a:buNone/>
              <a:defRPr sz="2400"/>
            </a:lvl3pPr>
            <a:lvl4pPr marL="0" indent="0">
              <a:buNone/>
              <a:defRPr sz="2400"/>
            </a:lvl4pPr>
            <a:lvl5pPr marL="0" indent="0">
              <a:buNone/>
              <a:defRPr sz="2400"/>
            </a:lvl5pPr>
          </a:lstStyle>
          <a:p>
            <a:pPr lvl="0"/>
            <a:r>
              <a:rPr lang="en-US"/>
              <a:t>Add statem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9546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11471275" cy="4002087"/>
          </a:xfrm>
        </p:spPr>
        <p:txBody>
          <a:bodyPr/>
          <a:lstStyle>
            <a:lvl1pPr marL="447675" indent="-447675">
              <a:buFont typeface="+mj-lt"/>
              <a:buAutoNum type="arabicPeriod"/>
              <a:defRPr/>
            </a:lvl1pPr>
            <a:lvl2pPr marL="447675" indent="0">
              <a:buFont typeface="Arial" panose="020B0604020202020204" pitchFamily="34" charset="0"/>
              <a:buNone/>
              <a:defRPr/>
            </a:lvl2pPr>
            <a:lvl3pPr marL="447675" indent="0">
              <a:buFont typeface="Arial" panose="020B0604020202020204" pitchFamily="34" charset="0"/>
              <a:buNone/>
              <a:defRPr sz="2000"/>
            </a:lvl3pPr>
            <a:lvl4pPr marL="447675" indent="0">
              <a:buFont typeface="Arial" panose="020B0604020202020204" pitchFamily="34" charset="0"/>
              <a:buNone/>
              <a:defRPr sz="2000"/>
            </a:lvl4pPr>
            <a:lvl5pPr marL="447675" indent="0">
              <a:buFont typeface="Arial" panose="020B0604020202020204" pitchFamily="34" charset="0"/>
              <a:buNone/>
              <a:defRPr sz="2000"/>
            </a:lvl5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92039B-F1A2-4FDE-A65A-56F1642D689D}"/>
              </a:ext>
            </a:extLst>
          </p:cNvPr>
          <p:cNvCxnSpPr>
            <a:cxnSpLocks/>
          </p:cNvCxnSpPr>
          <p:nvPr userDrawn="1"/>
        </p:nvCxnSpPr>
        <p:spPr>
          <a:xfrm>
            <a:off x="6203950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2076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1854B5-E94C-49C5-B244-F57B3C38DA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497D9-9E7A-4BD1-8760-1A8BDF98D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C80A7-614C-4E07-81DE-C2E044B6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708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9639" y="3463301"/>
            <a:ext cx="3678237" cy="1438209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CADCDFA-40D3-4FE8-8482-2352DB54BCE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60363" y="1817888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7BFC6C2-0944-41C4-A1F8-DBF51C90720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253776" y="3463301"/>
            <a:ext cx="3678237" cy="144574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980C40B3-D75F-4C27-8F65-9B5C0A68B32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54500" y="1817888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362638D-6D6F-4355-AD1C-5B82AC48292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47189" y="3463301"/>
            <a:ext cx="3678237" cy="14657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EB21BCFD-8E2F-4F1B-86E7-41F1317ED1E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47913" y="1817888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74B85C6-BEF9-4ADA-A489-A0B4FF5689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0001" y="5080500"/>
            <a:ext cx="3678237" cy="877888"/>
          </a:xfrm>
        </p:spPr>
        <p:txBody>
          <a:bodyPr/>
          <a:lstStyle>
            <a:lvl1pPr marL="0" indent="0">
              <a:buNone/>
              <a:defRPr sz="7200"/>
            </a:lvl1pPr>
            <a:lvl2pPr marL="0" indent="0">
              <a:buNone/>
              <a:defRPr sz="7200"/>
            </a:lvl2pPr>
            <a:lvl3pPr marL="0" indent="0">
              <a:buNone/>
              <a:defRPr sz="7200"/>
            </a:lvl3pPr>
            <a:lvl4pPr marL="0" indent="0">
              <a:buNone/>
              <a:defRPr sz="7200"/>
            </a:lvl4pPr>
            <a:lvl5pPr marL="0" indent="0">
              <a:buNone/>
              <a:defRPr sz="7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018407E5-6E6D-4F09-B91C-72513303E8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56000" y="5080500"/>
            <a:ext cx="3678237" cy="877888"/>
          </a:xfrm>
        </p:spPr>
        <p:txBody>
          <a:bodyPr/>
          <a:lstStyle>
            <a:lvl1pPr marL="0" indent="0">
              <a:buNone/>
              <a:defRPr sz="7200"/>
            </a:lvl1pPr>
            <a:lvl2pPr marL="0" indent="0">
              <a:buNone/>
              <a:defRPr sz="7200"/>
            </a:lvl2pPr>
            <a:lvl3pPr marL="0" indent="0">
              <a:buNone/>
              <a:defRPr sz="7200"/>
            </a:lvl3pPr>
            <a:lvl4pPr marL="0" indent="0">
              <a:buNone/>
              <a:defRPr sz="7200"/>
            </a:lvl4pPr>
            <a:lvl5pPr marL="0" indent="0">
              <a:buNone/>
              <a:defRPr sz="7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2BCB50A8-00F6-4AE3-8876-B966A2F7B5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52000" y="5080500"/>
            <a:ext cx="3678237" cy="877888"/>
          </a:xfrm>
        </p:spPr>
        <p:txBody>
          <a:bodyPr/>
          <a:lstStyle>
            <a:lvl1pPr marL="0" indent="0">
              <a:buNone/>
              <a:defRPr sz="7200"/>
            </a:lvl1pPr>
            <a:lvl2pPr marL="0" indent="0">
              <a:buNone/>
              <a:defRPr sz="7200"/>
            </a:lvl2pPr>
            <a:lvl3pPr marL="0" indent="0">
              <a:buNone/>
              <a:defRPr sz="7200"/>
            </a:lvl3pPr>
            <a:lvl4pPr marL="0" indent="0">
              <a:buNone/>
              <a:defRPr sz="7200"/>
            </a:lvl4pPr>
            <a:lvl5pPr marL="0" indent="0">
              <a:buNone/>
              <a:defRPr sz="7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AE9A54B-53A1-4875-849F-D52831CDD1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1627A9DD-9A45-4FE5-86D5-7683C39397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D6C75EF-3540-433C-8334-6F285BDB9FE7}"/>
              </a:ext>
            </a:extLst>
          </p:cNvPr>
          <p:cNvCxnSpPr>
            <a:cxnSpLocks/>
          </p:cNvCxnSpPr>
          <p:nvPr userDrawn="1"/>
        </p:nvCxnSpPr>
        <p:spPr>
          <a:xfrm>
            <a:off x="358775" y="3256236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79CD8C9-909F-491D-9740-1993F522A2AE}"/>
              </a:ext>
            </a:extLst>
          </p:cNvPr>
          <p:cNvCxnSpPr>
            <a:cxnSpLocks/>
          </p:cNvCxnSpPr>
          <p:nvPr userDrawn="1"/>
        </p:nvCxnSpPr>
        <p:spPr>
          <a:xfrm>
            <a:off x="8147189" y="3256236"/>
            <a:ext cx="368634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F514217-1803-4DAB-AA3A-C7CEC59F6FB2}"/>
              </a:ext>
            </a:extLst>
          </p:cNvPr>
          <p:cNvCxnSpPr>
            <a:cxnSpLocks/>
          </p:cNvCxnSpPr>
          <p:nvPr userDrawn="1"/>
        </p:nvCxnSpPr>
        <p:spPr>
          <a:xfrm>
            <a:off x="4256088" y="3256236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0359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F37376-B2FD-48AB-B025-33847E15C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7FE9DC-36B2-4EF6-81B3-FF56730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43519EE6-2DD5-48FE-8028-EC40E46E618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B0AE5F-0AD7-45BF-A186-F70AD8B574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798638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0522132-8E3B-49B8-A485-CEE1F2CAFD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81363" y="1798638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FD453A3-DDDB-4208-BE70-083FE24E99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03951" y="1798638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BB11E91-3DE4-48AE-B64C-741B09D47C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26539" y="1797051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id="{50962EFB-4349-46BD-8CA6-22D2BD2A65A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5" y="3027363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32">
            <a:extLst>
              <a:ext uri="{FF2B5EF4-FFF2-40B4-BE49-F238E27FC236}">
                <a16:creationId xmlns:a16="http://schemas.microsoft.com/office/drawing/2014/main" id="{62D66E2E-2FE0-4D07-8B76-1EE08A9199A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281363" y="3027362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32">
            <a:extLst>
              <a:ext uri="{FF2B5EF4-FFF2-40B4-BE49-F238E27FC236}">
                <a16:creationId xmlns:a16="http://schemas.microsoft.com/office/drawing/2014/main" id="{47115789-4D0A-4CCE-8671-6273B0381B0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03950" y="3027363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2">
            <a:extLst>
              <a:ext uri="{FF2B5EF4-FFF2-40B4-BE49-F238E27FC236}">
                <a16:creationId xmlns:a16="http://schemas.microsoft.com/office/drawing/2014/main" id="{79F26C1F-5758-4A52-A55F-85316A7B4CD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124950" y="3027361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04D6D7E-5B6A-4D30-807B-84F2D80F2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825E8E79-5239-4CEE-ADD6-D4B6F35018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29706EB-0973-44F7-B89F-839FA7D5AD2A}"/>
              </a:ext>
            </a:extLst>
          </p:cNvPr>
          <p:cNvCxnSpPr/>
          <p:nvPr userDrawn="1"/>
        </p:nvCxnSpPr>
        <p:spPr>
          <a:xfrm>
            <a:off x="3176269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DCC7303-2429-4E29-8CDE-1D1807376E92}"/>
              </a:ext>
            </a:extLst>
          </p:cNvPr>
          <p:cNvCxnSpPr/>
          <p:nvPr userDrawn="1"/>
        </p:nvCxnSpPr>
        <p:spPr>
          <a:xfrm>
            <a:off x="6090557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D030F71-7192-4E9A-B664-DDFE7CBE7BA3}"/>
              </a:ext>
            </a:extLst>
          </p:cNvPr>
          <p:cNvCxnSpPr/>
          <p:nvPr userDrawn="1"/>
        </p:nvCxnSpPr>
        <p:spPr>
          <a:xfrm>
            <a:off x="9024257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6234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1A47700-3237-48CD-894B-F3605A03528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03950" y="0"/>
            <a:ext cx="5988050" cy="6858000"/>
          </a:xfrm>
        </p:spPr>
        <p:txBody>
          <a:bodyPr tIns="144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28B228-E5B9-4DB5-A4AC-57DC32B1D1A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58464" y="1947863"/>
            <a:ext cx="5627999" cy="401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6AFC1A-7411-46B5-810D-D905542FAEA1}"/>
              </a:ext>
            </a:extLst>
          </p:cNvPr>
          <p:cNvCxnSpPr>
            <a:cxnSpLocks/>
          </p:cNvCxnSpPr>
          <p:nvPr userDrawn="1"/>
        </p:nvCxnSpPr>
        <p:spPr>
          <a:xfrm>
            <a:off x="358464" y="1798638"/>
            <a:ext cx="5627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5278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Caption and 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1933575"/>
            <a:ext cx="3636000" cy="40171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49B141A-9BA5-4A19-A0FC-DA5123F1D46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03949" y="0"/>
            <a:ext cx="5988051" cy="5116513"/>
          </a:xfrm>
        </p:spPr>
        <p:txBody>
          <a:bodyPr tIns="108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014382-B193-4639-B430-DDBDD3C02A7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D65E8-94C5-4A7B-9132-01DCD114871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6C4400-E6ED-4D35-8BA3-E01FDEC0B4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03950" y="5276850"/>
            <a:ext cx="5627688" cy="681038"/>
          </a:xfr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2pPr>
            <a:lvl3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3pPr>
            <a:lvl4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4pPr>
            <a:lvl5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Add notes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5833C665-39F1-4A75-BF27-CE9EADE6B4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11948" y="1933574"/>
            <a:ext cx="1774515" cy="40171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51FC172-A618-4D33-986D-4DB159A40683}"/>
              </a:ext>
            </a:extLst>
          </p:cNvPr>
          <p:cNvCxnSpPr>
            <a:cxnSpLocks/>
          </p:cNvCxnSpPr>
          <p:nvPr userDrawn="1"/>
        </p:nvCxnSpPr>
        <p:spPr>
          <a:xfrm>
            <a:off x="358464" y="1798638"/>
            <a:ext cx="36375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422B339-6A22-4BE5-A2CA-235B2C90E22F}"/>
              </a:ext>
            </a:extLst>
          </p:cNvPr>
          <p:cNvCxnSpPr>
            <a:cxnSpLocks/>
          </p:cNvCxnSpPr>
          <p:nvPr userDrawn="1"/>
        </p:nvCxnSpPr>
        <p:spPr>
          <a:xfrm>
            <a:off x="4211948" y="1798638"/>
            <a:ext cx="17745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1882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Ca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1933575"/>
            <a:ext cx="3636000" cy="40243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49B141A-9BA5-4A19-A0FC-DA5123F1D46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03949" y="0"/>
            <a:ext cx="5988051" cy="6858000"/>
          </a:xfrm>
        </p:spPr>
        <p:txBody>
          <a:bodyPr tIns="108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AA74B35-B540-4B3C-9D8F-817164847D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11948" y="1933574"/>
            <a:ext cx="1774515" cy="40243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C64633-7D3D-4F87-8DBB-3884A55B8BA3}"/>
              </a:ext>
            </a:extLst>
          </p:cNvPr>
          <p:cNvCxnSpPr>
            <a:cxnSpLocks/>
          </p:cNvCxnSpPr>
          <p:nvPr userDrawn="1"/>
        </p:nvCxnSpPr>
        <p:spPr>
          <a:xfrm>
            <a:off x="358464" y="1798638"/>
            <a:ext cx="36375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566F7B9-AC7A-43B8-8EA2-35264308E6E0}"/>
              </a:ext>
            </a:extLst>
          </p:cNvPr>
          <p:cNvCxnSpPr>
            <a:cxnSpLocks/>
          </p:cNvCxnSpPr>
          <p:nvPr userDrawn="1"/>
        </p:nvCxnSpPr>
        <p:spPr>
          <a:xfrm>
            <a:off x="4211948" y="1798638"/>
            <a:ext cx="17745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8778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7C579B-417E-4225-9C3E-B7DC3D5AF0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Guides" hidden="1">
            <a:extLst>
              <a:ext uri="{FF2B5EF4-FFF2-40B4-BE49-F238E27FC236}">
                <a16:creationId xmlns:a16="http://schemas.microsoft.com/office/drawing/2014/main" id="{AE293D12-3575-4044-B77C-740363754EDD}"/>
              </a:ext>
            </a:extLst>
          </p:cNvPr>
          <p:cNvSpPr/>
          <p:nvPr userDrawn="1"/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0665364-8FDD-4EEB-8935-38E9CC0C0A0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</p:spTree>
    <p:extLst>
      <p:ext uri="{BB962C8B-B14F-4D97-AF65-F5344CB8AC3E}">
        <p14:creationId xmlns:p14="http://schemas.microsoft.com/office/powerpoint/2010/main" val="6316826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306638" y="0"/>
            <a:ext cx="9885362" cy="68580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35711"/>
            <a:ext cx="1732000" cy="40815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972A1B9-9317-49E0-94A8-DED1FC1E693B}"/>
              </a:ext>
            </a:extLst>
          </p:cNvPr>
          <p:cNvCxnSpPr>
            <a:cxnSpLocks/>
          </p:cNvCxnSpPr>
          <p:nvPr userDrawn="1"/>
        </p:nvCxnSpPr>
        <p:spPr>
          <a:xfrm>
            <a:off x="358775" y="2698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0069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4491775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99276" y="4890575"/>
            <a:ext cx="1732000" cy="10673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▲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12F1A23-2FB0-4130-A2FF-259BFB6E4D44}"/>
              </a:ext>
            </a:extLst>
          </p:cNvPr>
          <p:cNvCxnSpPr>
            <a:cxnSpLocks/>
          </p:cNvCxnSpPr>
          <p:nvPr userDrawn="1"/>
        </p:nvCxnSpPr>
        <p:spPr>
          <a:xfrm>
            <a:off x="10099276" y="47127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6622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t Screen Picture and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35711"/>
            <a:ext cx="1732000" cy="40815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sp>
        <p:nvSpPr>
          <p:cNvPr id="296" name="Picture Placeholder 295">
            <a:extLst>
              <a:ext uri="{FF2B5EF4-FFF2-40B4-BE49-F238E27FC236}">
                <a16:creationId xmlns:a16="http://schemas.microsoft.com/office/drawing/2014/main" id="{41AB6888-D532-42E9-A06A-F92BB89855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580845" y="352425"/>
            <a:ext cx="9611155" cy="6505574"/>
          </a:xfrm>
          <a:custGeom>
            <a:avLst/>
            <a:gdLst>
              <a:gd name="connsiteX0" fmla="*/ 1169593 w 9907829"/>
              <a:gd name="connsiteY0" fmla="*/ 6629618 h 6706386"/>
              <a:gd name="connsiteX1" fmla="*/ 1309450 w 9907829"/>
              <a:gd name="connsiteY1" fmla="*/ 6687585 h 6706386"/>
              <a:gd name="connsiteX2" fmla="*/ 1322130 w 9907829"/>
              <a:gd name="connsiteY2" fmla="*/ 6706386 h 6706386"/>
              <a:gd name="connsiteX3" fmla="*/ 1017056 w 9907829"/>
              <a:gd name="connsiteY3" fmla="*/ 6706386 h 6706386"/>
              <a:gd name="connsiteX4" fmla="*/ 1029737 w 9907829"/>
              <a:gd name="connsiteY4" fmla="*/ 6687585 h 6706386"/>
              <a:gd name="connsiteX5" fmla="*/ 1169593 w 9907829"/>
              <a:gd name="connsiteY5" fmla="*/ 6629618 h 6706386"/>
              <a:gd name="connsiteX6" fmla="*/ 55237 w 9907829"/>
              <a:gd name="connsiteY6" fmla="*/ 6215347 h 6706386"/>
              <a:gd name="connsiteX7" fmla="*/ 55307 w 9907829"/>
              <a:gd name="connsiteY7" fmla="*/ 6215361 h 6706386"/>
              <a:gd name="connsiteX8" fmla="*/ 76965 w 9907829"/>
              <a:gd name="connsiteY8" fmla="*/ 6219732 h 6706386"/>
              <a:gd name="connsiteX9" fmla="*/ 110472 w 9907829"/>
              <a:gd name="connsiteY9" fmla="*/ 6270583 h 6706386"/>
              <a:gd name="connsiteX10" fmla="*/ 55237 w 9907829"/>
              <a:gd name="connsiteY10" fmla="*/ 6325821 h 6706386"/>
              <a:gd name="connsiteX11" fmla="*/ 33871 w 9907829"/>
              <a:gd name="connsiteY11" fmla="*/ 6321525 h 6706386"/>
              <a:gd name="connsiteX12" fmla="*/ 33795 w 9907829"/>
              <a:gd name="connsiteY12" fmla="*/ 6321474 h 6706386"/>
              <a:gd name="connsiteX13" fmla="*/ 33600 w 9907829"/>
              <a:gd name="connsiteY13" fmla="*/ 6321435 h 6706386"/>
              <a:gd name="connsiteX14" fmla="*/ 24284 w 9907829"/>
              <a:gd name="connsiteY14" fmla="*/ 6315109 h 6706386"/>
              <a:gd name="connsiteX15" fmla="*/ 16299 w 9907829"/>
              <a:gd name="connsiteY15" fmla="*/ 6309763 h 6706386"/>
              <a:gd name="connsiteX16" fmla="*/ 16253 w 9907829"/>
              <a:gd name="connsiteY16" fmla="*/ 6309654 h 6706386"/>
              <a:gd name="connsiteX17" fmla="*/ 16058 w 9907829"/>
              <a:gd name="connsiteY17" fmla="*/ 6309523 h 6706386"/>
              <a:gd name="connsiteX18" fmla="*/ 0 w 9907829"/>
              <a:gd name="connsiteY18" fmla="*/ 6270583 h 6706386"/>
              <a:gd name="connsiteX19" fmla="*/ 16058 w 9907829"/>
              <a:gd name="connsiteY19" fmla="*/ 6231646 h 6706386"/>
              <a:gd name="connsiteX20" fmla="*/ 16253 w 9907829"/>
              <a:gd name="connsiteY20" fmla="*/ 6231513 h 6706386"/>
              <a:gd name="connsiteX21" fmla="*/ 16299 w 9907829"/>
              <a:gd name="connsiteY21" fmla="*/ 6231404 h 6706386"/>
              <a:gd name="connsiteX22" fmla="*/ 24276 w 9907829"/>
              <a:gd name="connsiteY22" fmla="*/ 6226065 h 6706386"/>
              <a:gd name="connsiteX23" fmla="*/ 33600 w 9907829"/>
              <a:gd name="connsiteY23" fmla="*/ 6219732 h 6706386"/>
              <a:gd name="connsiteX24" fmla="*/ 33795 w 9907829"/>
              <a:gd name="connsiteY24" fmla="*/ 6219693 h 6706386"/>
              <a:gd name="connsiteX25" fmla="*/ 33871 w 9907829"/>
              <a:gd name="connsiteY25" fmla="*/ 6219642 h 6706386"/>
              <a:gd name="connsiteX26" fmla="*/ 55202 w 9907829"/>
              <a:gd name="connsiteY26" fmla="*/ 6215355 h 6706386"/>
              <a:gd name="connsiteX27" fmla="*/ 612736 w 9907829"/>
              <a:gd name="connsiteY27" fmla="*/ 6148550 h 6706386"/>
              <a:gd name="connsiteX28" fmla="*/ 734770 w 9907829"/>
              <a:gd name="connsiteY28" fmla="*/ 6270583 h 6706386"/>
              <a:gd name="connsiteX29" fmla="*/ 612736 w 9907829"/>
              <a:gd name="connsiteY29" fmla="*/ 6392617 h 6706386"/>
              <a:gd name="connsiteX30" fmla="*/ 490703 w 9907829"/>
              <a:gd name="connsiteY30" fmla="*/ 6270583 h 6706386"/>
              <a:gd name="connsiteX31" fmla="*/ 612736 w 9907829"/>
              <a:gd name="connsiteY31" fmla="*/ 6148550 h 6706386"/>
              <a:gd name="connsiteX32" fmla="*/ 1169594 w 9907829"/>
              <a:gd name="connsiteY32" fmla="*/ 6059273 h 6706386"/>
              <a:gd name="connsiteX33" fmla="*/ 1380904 w 9907829"/>
              <a:gd name="connsiteY33" fmla="*/ 6270583 h 6706386"/>
              <a:gd name="connsiteX34" fmla="*/ 1380838 w 9907829"/>
              <a:gd name="connsiteY34" fmla="*/ 6270905 h 6706386"/>
              <a:gd name="connsiteX35" fmla="*/ 1380904 w 9907829"/>
              <a:gd name="connsiteY35" fmla="*/ 6271227 h 6706386"/>
              <a:gd name="connsiteX36" fmla="*/ 1169594 w 9907829"/>
              <a:gd name="connsiteY36" fmla="*/ 6482537 h 6706386"/>
              <a:gd name="connsiteX37" fmla="*/ 958283 w 9907829"/>
              <a:gd name="connsiteY37" fmla="*/ 6271227 h 6706386"/>
              <a:gd name="connsiteX38" fmla="*/ 958349 w 9907829"/>
              <a:gd name="connsiteY38" fmla="*/ 6270905 h 6706386"/>
              <a:gd name="connsiteX39" fmla="*/ 958283 w 9907829"/>
              <a:gd name="connsiteY39" fmla="*/ 6270583 h 6706386"/>
              <a:gd name="connsiteX40" fmla="*/ 1169594 w 9907829"/>
              <a:gd name="connsiteY40" fmla="*/ 6059273 h 6706386"/>
              <a:gd name="connsiteX41" fmla="*/ 55237 w 9907829"/>
              <a:gd name="connsiteY41" fmla="*/ 5658490 h 6706386"/>
              <a:gd name="connsiteX42" fmla="*/ 55274 w 9907829"/>
              <a:gd name="connsiteY42" fmla="*/ 5658497 h 6706386"/>
              <a:gd name="connsiteX43" fmla="*/ 76604 w 9907829"/>
              <a:gd name="connsiteY43" fmla="*/ 5662785 h 6706386"/>
              <a:gd name="connsiteX44" fmla="*/ 76679 w 9907829"/>
              <a:gd name="connsiteY44" fmla="*/ 5662836 h 6706386"/>
              <a:gd name="connsiteX45" fmla="*/ 76875 w 9907829"/>
              <a:gd name="connsiteY45" fmla="*/ 5662875 h 6706386"/>
              <a:gd name="connsiteX46" fmla="*/ 86311 w 9907829"/>
              <a:gd name="connsiteY46" fmla="*/ 5669282 h 6706386"/>
              <a:gd name="connsiteX47" fmla="*/ 94175 w 9907829"/>
              <a:gd name="connsiteY47" fmla="*/ 5674547 h 6706386"/>
              <a:gd name="connsiteX48" fmla="*/ 94219 w 9907829"/>
              <a:gd name="connsiteY48" fmla="*/ 5674653 h 6706386"/>
              <a:gd name="connsiteX49" fmla="*/ 94417 w 9907829"/>
              <a:gd name="connsiteY49" fmla="*/ 5674787 h 6706386"/>
              <a:gd name="connsiteX50" fmla="*/ 110472 w 9907829"/>
              <a:gd name="connsiteY50" fmla="*/ 5713725 h 6706386"/>
              <a:gd name="connsiteX51" fmla="*/ 94417 w 9907829"/>
              <a:gd name="connsiteY51" fmla="*/ 5752664 h 6706386"/>
              <a:gd name="connsiteX52" fmla="*/ 94219 w 9907829"/>
              <a:gd name="connsiteY52" fmla="*/ 5752798 h 6706386"/>
              <a:gd name="connsiteX53" fmla="*/ 94175 w 9907829"/>
              <a:gd name="connsiteY53" fmla="*/ 5752904 h 6706386"/>
              <a:gd name="connsiteX54" fmla="*/ 86269 w 9907829"/>
              <a:gd name="connsiteY54" fmla="*/ 5758197 h 6706386"/>
              <a:gd name="connsiteX55" fmla="*/ 76874 w 9907829"/>
              <a:gd name="connsiteY55" fmla="*/ 5764576 h 6706386"/>
              <a:gd name="connsiteX56" fmla="*/ 76679 w 9907829"/>
              <a:gd name="connsiteY56" fmla="*/ 5764616 h 6706386"/>
              <a:gd name="connsiteX57" fmla="*/ 76604 w 9907829"/>
              <a:gd name="connsiteY57" fmla="*/ 5764666 h 6706386"/>
              <a:gd name="connsiteX58" fmla="*/ 55237 w 9907829"/>
              <a:gd name="connsiteY58" fmla="*/ 5768962 h 6706386"/>
              <a:gd name="connsiteX59" fmla="*/ 33871 w 9907829"/>
              <a:gd name="connsiteY59" fmla="*/ 5764666 h 6706386"/>
              <a:gd name="connsiteX60" fmla="*/ 33795 w 9907829"/>
              <a:gd name="connsiteY60" fmla="*/ 5764616 h 6706386"/>
              <a:gd name="connsiteX61" fmla="*/ 33600 w 9907829"/>
              <a:gd name="connsiteY61" fmla="*/ 5764576 h 6706386"/>
              <a:gd name="connsiteX62" fmla="*/ 24251 w 9907829"/>
              <a:gd name="connsiteY62" fmla="*/ 5758228 h 6706386"/>
              <a:gd name="connsiteX63" fmla="*/ 16299 w 9907829"/>
              <a:gd name="connsiteY63" fmla="*/ 5752904 h 6706386"/>
              <a:gd name="connsiteX64" fmla="*/ 16255 w 9907829"/>
              <a:gd name="connsiteY64" fmla="*/ 5752797 h 6706386"/>
              <a:gd name="connsiteX65" fmla="*/ 16058 w 9907829"/>
              <a:gd name="connsiteY65" fmla="*/ 5752664 h 6706386"/>
              <a:gd name="connsiteX66" fmla="*/ 0 w 9907829"/>
              <a:gd name="connsiteY66" fmla="*/ 5713725 h 6706386"/>
              <a:gd name="connsiteX67" fmla="*/ 16058 w 9907829"/>
              <a:gd name="connsiteY67" fmla="*/ 5674787 h 6706386"/>
              <a:gd name="connsiteX68" fmla="*/ 16255 w 9907829"/>
              <a:gd name="connsiteY68" fmla="*/ 5674654 h 6706386"/>
              <a:gd name="connsiteX69" fmla="*/ 16299 w 9907829"/>
              <a:gd name="connsiteY69" fmla="*/ 5674547 h 6706386"/>
              <a:gd name="connsiteX70" fmla="*/ 24238 w 9907829"/>
              <a:gd name="connsiteY70" fmla="*/ 5669234 h 6706386"/>
              <a:gd name="connsiteX71" fmla="*/ 33600 w 9907829"/>
              <a:gd name="connsiteY71" fmla="*/ 5662875 h 6706386"/>
              <a:gd name="connsiteX72" fmla="*/ 33795 w 9907829"/>
              <a:gd name="connsiteY72" fmla="*/ 5662836 h 6706386"/>
              <a:gd name="connsiteX73" fmla="*/ 33871 w 9907829"/>
              <a:gd name="connsiteY73" fmla="*/ 5662785 h 6706386"/>
              <a:gd name="connsiteX74" fmla="*/ 55202 w 9907829"/>
              <a:gd name="connsiteY74" fmla="*/ 5658497 h 6706386"/>
              <a:gd name="connsiteX75" fmla="*/ 612736 w 9907829"/>
              <a:gd name="connsiteY75" fmla="*/ 5590407 h 6706386"/>
              <a:gd name="connsiteX76" fmla="*/ 736054 w 9907829"/>
              <a:gd name="connsiteY76" fmla="*/ 5713725 h 6706386"/>
              <a:gd name="connsiteX77" fmla="*/ 612736 w 9907829"/>
              <a:gd name="connsiteY77" fmla="*/ 5837044 h 6706386"/>
              <a:gd name="connsiteX78" fmla="*/ 489419 w 9907829"/>
              <a:gd name="connsiteY78" fmla="*/ 5713725 h 6706386"/>
              <a:gd name="connsiteX79" fmla="*/ 612736 w 9907829"/>
              <a:gd name="connsiteY79" fmla="*/ 5590407 h 6706386"/>
              <a:gd name="connsiteX80" fmla="*/ 1163664 w 9907829"/>
              <a:gd name="connsiteY80" fmla="*/ 5500788 h 6706386"/>
              <a:gd name="connsiteX81" fmla="*/ 1168703 w 9907829"/>
              <a:gd name="connsiteY81" fmla="*/ 5501137 h 6706386"/>
              <a:gd name="connsiteX82" fmla="*/ 1169494 w 9907829"/>
              <a:gd name="connsiteY82" fmla="*/ 5500982 h 6706386"/>
              <a:gd name="connsiteX83" fmla="*/ 1171160 w 9907829"/>
              <a:gd name="connsiteY83" fmla="*/ 5501306 h 6706386"/>
              <a:gd name="connsiteX84" fmla="*/ 1205348 w 9907829"/>
              <a:gd name="connsiteY84" fmla="*/ 5503673 h 6706386"/>
              <a:gd name="connsiteX85" fmla="*/ 1228727 w 9907829"/>
              <a:gd name="connsiteY85" fmla="*/ 5512507 h 6706386"/>
              <a:gd name="connsiteX86" fmla="*/ 1249493 w 9907829"/>
              <a:gd name="connsiteY86" fmla="*/ 5516548 h 6706386"/>
              <a:gd name="connsiteX87" fmla="*/ 1262800 w 9907829"/>
              <a:gd name="connsiteY87" fmla="*/ 5525385 h 6706386"/>
              <a:gd name="connsiteX88" fmla="*/ 1281583 w 9907829"/>
              <a:gd name="connsiteY88" fmla="*/ 5532483 h 6706386"/>
              <a:gd name="connsiteX89" fmla="*/ 1302288 w 9907829"/>
              <a:gd name="connsiteY89" fmla="*/ 5551608 h 6706386"/>
              <a:gd name="connsiteX90" fmla="*/ 1319819 w 9907829"/>
              <a:gd name="connsiteY90" fmla="*/ 5563249 h 6706386"/>
              <a:gd name="connsiteX91" fmla="*/ 1327634 w 9907829"/>
              <a:gd name="connsiteY91" fmla="*/ 5575016 h 6706386"/>
              <a:gd name="connsiteX92" fmla="*/ 1341451 w 9907829"/>
              <a:gd name="connsiteY92" fmla="*/ 5587778 h 6706386"/>
              <a:gd name="connsiteX93" fmla="*/ 1353491 w 9907829"/>
              <a:gd name="connsiteY93" fmla="*/ 5613955 h 6706386"/>
              <a:gd name="connsiteX94" fmla="*/ 1366520 w 9907829"/>
              <a:gd name="connsiteY94" fmla="*/ 5633576 h 6706386"/>
              <a:gd name="connsiteX95" fmla="*/ 1369458 w 9907829"/>
              <a:gd name="connsiteY95" fmla="*/ 5648668 h 6706386"/>
              <a:gd name="connsiteX96" fmla="*/ 1376727 w 9907829"/>
              <a:gd name="connsiteY96" fmla="*/ 5664474 h 6706386"/>
              <a:gd name="connsiteX97" fmla="*/ 1377574 w 9907829"/>
              <a:gd name="connsiteY97" fmla="*/ 5690377 h 6706386"/>
              <a:gd name="connsiteX98" fmla="*/ 1382088 w 9907829"/>
              <a:gd name="connsiteY98" fmla="*/ 5713576 h 6706386"/>
              <a:gd name="connsiteX99" fmla="*/ 1378872 w 9907829"/>
              <a:gd name="connsiteY99" fmla="*/ 5730102 h 6706386"/>
              <a:gd name="connsiteX100" fmla="*/ 1379484 w 9907829"/>
              <a:gd name="connsiteY100" fmla="*/ 5748846 h 6706386"/>
              <a:gd name="connsiteX101" fmla="*/ 1370703 w 9907829"/>
              <a:gd name="connsiteY101" fmla="*/ 5772081 h 6706386"/>
              <a:gd name="connsiteX102" fmla="*/ 1366520 w 9907829"/>
              <a:gd name="connsiteY102" fmla="*/ 5793574 h 6706386"/>
              <a:gd name="connsiteX103" fmla="*/ 1357375 w 9907829"/>
              <a:gd name="connsiteY103" fmla="*/ 5807346 h 6706386"/>
              <a:gd name="connsiteX104" fmla="*/ 1350673 w 9907829"/>
              <a:gd name="connsiteY104" fmla="*/ 5825080 h 6706386"/>
              <a:gd name="connsiteX105" fmla="*/ 1332617 w 9907829"/>
              <a:gd name="connsiteY105" fmla="*/ 5844631 h 6706386"/>
              <a:gd name="connsiteX106" fmla="*/ 1319819 w 9907829"/>
              <a:gd name="connsiteY106" fmla="*/ 5863902 h 6706386"/>
              <a:gd name="connsiteX107" fmla="*/ 1306885 w 9907829"/>
              <a:gd name="connsiteY107" fmla="*/ 5872491 h 6706386"/>
              <a:gd name="connsiteX108" fmla="*/ 1295378 w 9907829"/>
              <a:gd name="connsiteY108" fmla="*/ 5884949 h 6706386"/>
              <a:gd name="connsiteX109" fmla="*/ 1271775 w 9907829"/>
              <a:gd name="connsiteY109" fmla="*/ 5895806 h 6706386"/>
              <a:gd name="connsiteX110" fmla="*/ 1249493 w 9907829"/>
              <a:gd name="connsiteY110" fmla="*/ 5910602 h 6706386"/>
              <a:gd name="connsiteX111" fmla="*/ 1232357 w 9907829"/>
              <a:gd name="connsiteY111" fmla="*/ 5913937 h 6706386"/>
              <a:gd name="connsiteX112" fmla="*/ 1218684 w 9907829"/>
              <a:gd name="connsiteY112" fmla="*/ 5920225 h 6706386"/>
              <a:gd name="connsiteX113" fmla="*/ 1175995 w 9907829"/>
              <a:gd name="connsiteY113" fmla="*/ 5925867 h 6706386"/>
              <a:gd name="connsiteX114" fmla="*/ 1172342 w 9907829"/>
              <a:gd name="connsiteY114" fmla="*/ 5925615 h 6706386"/>
              <a:gd name="connsiteX115" fmla="*/ 1169494 w 9907829"/>
              <a:gd name="connsiteY115" fmla="*/ 5926168 h 6706386"/>
              <a:gd name="connsiteX116" fmla="*/ 1163502 w 9907829"/>
              <a:gd name="connsiteY116" fmla="*/ 5925002 h 6706386"/>
              <a:gd name="connsiteX117" fmla="*/ 1134312 w 9907829"/>
              <a:gd name="connsiteY117" fmla="*/ 5922982 h 6706386"/>
              <a:gd name="connsiteX118" fmla="*/ 1114348 w 9907829"/>
              <a:gd name="connsiteY118" fmla="*/ 5915438 h 6706386"/>
              <a:gd name="connsiteX119" fmla="*/ 1089495 w 9907829"/>
              <a:gd name="connsiteY119" fmla="*/ 5910602 h 6706386"/>
              <a:gd name="connsiteX120" fmla="*/ 1073571 w 9907829"/>
              <a:gd name="connsiteY120" fmla="*/ 5900026 h 6706386"/>
              <a:gd name="connsiteX121" fmla="*/ 1058076 w 9907829"/>
              <a:gd name="connsiteY121" fmla="*/ 5894170 h 6706386"/>
              <a:gd name="connsiteX122" fmla="*/ 1040996 w 9907829"/>
              <a:gd name="connsiteY122" fmla="*/ 5878397 h 6706386"/>
              <a:gd name="connsiteX123" fmla="*/ 1019168 w 9907829"/>
              <a:gd name="connsiteY123" fmla="*/ 5863901 h 6706386"/>
              <a:gd name="connsiteX124" fmla="*/ 1009439 w 9907829"/>
              <a:gd name="connsiteY124" fmla="*/ 5849250 h 6706386"/>
              <a:gd name="connsiteX125" fmla="*/ 998208 w 9907829"/>
              <a:gd name="connsiteY125" fmla="*/ 5838876 h 6706386"/>
              <a:gd name="connsiteX126" fmla="*/ 988420 w 9907829"/>
              <a:gd name="connsiteY126" fmla="*/ 5817597 h 6706386"/>
              <a:gd name="connsiteX127" fmla="*/ 972468 w 9907829"/>
              <a:gd name="connsiteY127" fmla="*/ 5793574 h 6706386"/>
              <a:gd name="connsiteX128" fmla="*/ 968872 w 9907829"/>
              <a:gd name="connsiteY128" fmla="*/ 5775098 h 6706386"/>
              <a:gd name="connsiteX129" fmla="*/ 962932 w 9907829"/>
              <a:gd name="connsiteY129" fmla="*/ 5762182 h 6706386"/>
              <a:gd name="connsiteX130" fmla="*/ 962240 w 9907829"/>
              <a:gd name="connsiteY130" fmla="*/ 5741014 h 6706386"/>
              <a:gd name="connsiteX131" fmla="*/ 956901 w 9907829"/>
              <a:gd name="connsiteY131" fmla="*/ 5713576 h 6706386"/>
              <a:gd name="connsiteX132" fmla="*/ 960705 w 9907829"/>
              <a:gd name="connsiteY132" fmla="*/ 5694026 h 6706386"/>
              <a:gd name="connsiteX133" fmla="*/ 960175 w 9907829"/>
              <a:gd name="connsiteY133" fmla="*/ 5677809 h 6706386"/>
              <a:gd name="connsiteX134" fmla="*/ 967773 w 9907829"/>
              <a:gd name="connsiteY134" fmla="*/ 5657705 h 6706386"/>
              <a:gd name="connsiteX135" fmla="*/ 972468 w 9907829"/>
              <a:gd name="connsiteY135" fmla="*/ 5633577 h 6706386"/>
              <a:gd name="connsiteX136" fmla="*/ 982734 w 9907829"/>
              <a:gd name="connsiteY136" fmla="*/ 5618115 h 6706386"/>
              <a:gd name="connsiteX137" fmla="*/ 988986 w 9907829"/>
              <a:gd name="connsiteY137" fmla="*/ 5601574 h 6706386"/>
              <a:gd name="connsiteX138" fmla="*/ 1005827 w 9907829"/>
              <a:gd name="connsiteY138" fmla="*/ 5583340 h 6706386"/>
              <a:gd name="connsiteX139" fmla="*/ 1019168 w 9907829"/>
              <a:gd name="connsiteY139" fmla="*/ 5563249 h 6706386"/>
              <a:gd name="connsiteX140" fmla="*/ 1032653 w 9907829"/>
              <a:gd name="connsiteY140" fmla="*/ 5554295 h 6706386"/>
              <a:gd name="connsiteX141" fmla="*/ 1044281 w 9907829"/>
              <a:gd name="connsiteY141" fmla="*/ 5541705 h 6706386"/>
              <a:gd name="connsiteX142" fmla="*/ 1068135 w 9907829"/>
              <a:gd name="connsiteY142" fmla="*/ 5530733 h 6706386"/>
              <a:gd name="connsiteX143" fmla="*/ 1089496 w 9907829"/>
              <a:gd name="connsiteY143" fmla="*/ 5516549 h 6706386"/>
              <a:gd name="connsiteX144" fmla="*/ 1105926 w 9907829"/>
              <a:gd name="connsiteY144" fmla="*/ 5513352 h 6706386"/>
              <a:gd name="connsiteX145" fmla="*/ 1120975 w 9907829"/>
              <a:gd name="connsiteY145" fmla="*/ 5506430 h 6706386"/>
              <a:gd name="connsiteX146" fmla="*/ 1163664 w 9907829"/>
              <a:gd name="connsiteY146" fmla="*/ 5500788 h 6706386"/>
              <a:gd name="connsiteX147" fmla="*/ 55236 w 9907829"/>
              <a:gd name="connsiteY147" fmla="*/ 5103558 h 6706386"/>
              <a:gd name="connsiteX148" fmla="*/ 108546 w 9907829"/>
              <a:gd name="connsiteY148" fmla="*/ 5156867 h 6706386"/>
              <a:gd name="connsiteX149" fmla="*/ 55236 w 9907829"/>
              <a:gd name="connsiteY149" fmla="*/ 5210177 h 6706386"/>
              <a:gd name="connsiteX150" fmla="*/ 1928 w 9907829"/>
              <a:gd name="connsiteY150" fmla="*/ 5156867 h 6706386"/>
              <a:gd name="connsiteX151" fmla="*/ 55236 w 9907829"/>
              <a:gd name="connsiteY151" fmla="*/ 5103558 h 6706386"/>
              <a:gd name="connsiteX152" fmla="*/ 612737 w 9907829"/>
              <a:gd name="connsiteY152" fmla="*/ 5039330 h 6706386"/>
              <a:gd name="connsiteX153" fmla="*/ 729632 w 9907829"/>
              <a:gd name="connsiteY153" fmla="*/ 5156225 h 6706386"/>
              <a:gd name="connsiteX154" fmla="*/ 729567 w 9907829"/>
              <a:gd name="connsiteY154" fmla="*/ 5156546 h 6706386"/>
              <a:gd name="connsiteX155" fmla="*/ 729632 w 9907829"/>
              <a:gd name="connsiteY155" fmla="*/ 5156868 h 6706386"/>
              <a:gd name="connsiteX156" fmla="*/ 612737 w 9907829"/>
              <a:gd name="connsiteY156" fmla="*/ 5273763 h 6706386"/>
              <a:gd name="connsiteX157" fmla="*/ 495841 w 9907829"/>
              <a:gd name="connsiteY157" fmla="*/ 5156868 h 6706386"/>
              <a:gd name="connsiteX158" fmla="*/ 495906 w 9907829"/>
              <a:gd name="connsiteY158" fmla="*/ 5156546 h 6706386"/>
              <a:gd name="connsiteX159" fmla="*/ 495841 w 9907829"/>
              <a:gd name="connsiteY159" fmla="*/ 5156225 h 6706386"/>
              <a:gd name="connsiteX160" fmla="*/ 612737 w 9907829"/>
              <a:gd name="connsiteY160" fmla="*/ 5039330 h 6706386"/>
              <a:gd name="connsiteX161" fmla="*/ 1169613 w 9907829"/>
              <a:gd name="connsiteY161" fmla="*/ 4950499 h 6706386"/>
              <a:gd name="connsiteX162" fmla="*/ 1195685 w 9907829"/>
              <a:gd name="connsiteY162" fmla="*/ 4955573 h 6706386"/>
              <a:gd name="connsiteX163" fmla="*/ 1216778 w 9907829"/>
              <a:gd name="connsiteY163" fmla="*/ 4956262 h 6706386"/>
              <a:gd name="connsiteX164" fmla="*/ 1229649 w 9907829"/>
              <a:gd name="connsiteY164" fmla="*/ 4962181 h 6706386"/>
              <a:gd name="connsiteX165" fmla="*/ 1247196 w 9907829"/>
              <a:gd name="connsiteY165" fmla="*/ 4965595 h 6706386"/>
              <a:gd name="connsiteX166" fmla="*/ 1270009 w 9907829"/>
              <a:gd name="connsiteY166" fmla="*/ 4980745 h 6706386"/>
              <a:gd name="connsiteX167" fmla="*/ 1291155 w 9907829"/>
              <a:gd name="connsiteY167" fmla="*/ 4990472 h 6706386"/>
              <a:gd name="connsiteX168" fmla="*/ 1301465 w 9907829"/>
              <a:gd name="connsiteY168" fmla="*/ 5001633 h 6706386"/>
              <a:gd name="connsiteX169" fmla="*/ 1315397 w 9907829"/>
              <a:gd name="connsiteY169" fmla="*/ 5010885 h 6706386"/>
              <a:gd name="connsiteX170" fmla="*/ 1329181 w 9907829"/>
              <a:gd name="connsiteY170" fmla="*/ 5031642 h 6706386"/>
              <a:gd name="connsiteX171" fmla="*/ 1344780 w 9907829"/>
              <a:gd name="connsiteY171" fmla="*/ 5048532 h 6706386"/>
              <a:gd name="connsiteX172" fmla="*/ 1350571 w 9907829"/>
              <a:gd name="connsiteY172" fmla="*/ 5063854 h 6706386"/>
              <a:gd name="connsiteX173" fmla="*/ 1360687 w 9907829"/>
              <a:gd name="connsiteY173" fmla="*/ 5079086 h 6706386"/>
              <a:gd name="connsiteX174" fmla="*/ 1365312 w 9907829"/>
              <a:gd name="connsiteY174" fmla="*/ 5102861 h 6706386"/>
              <a:gd name="connsiteX175" fmla="*/ 1372721 w 9907829"/>
              <a:gd name="connsiteY175" fmla="*/ 5122463 h 6706386"/>
              <a:gd name="connsiteX176" fmla="*/ 1372204 w 9907829"/>
              <a:gd name="connsiteY176" fmla="*/ 5138277 h 6706386"/>
              <a:gd name="connsiteX177" fmla="*/ 1375783 w 9907829"/>
              <a:gd name="connsiteY177" fmla="*/ 5156669 h 6706386"/>
              <a:gd name="connsiteX178" fmla="*/ 1370760 w 9907829"/>
              <a:gd name="connsiteY178" fmla="*/ 5182484 h 6706386"/>
              <a:gd name="connsiteX179" fmla="*/ 1370047 w 9907829"/>
              <a:gd name="connsiteY179" fmla="*/ 5204287 h 6706386"/>
              <a:gd name="connsiteX180" fmla="*/ 1363928 w 9907829"/>
              <a:gd name="connsiteY180" fmla="*/ 5217591 h 6706386"/>
              <a:gd name="connsiteX181" fmla="*/ 1360687 w 9907829"/>
              <a:gd name="connsiteY181" fmla="*/ 5234251 h 6706386"/>
              <a:gd name="connsiteX182" fmla="*/ 1346303 w 9907829"/>
              <a:gd name="connsiteY182" fmla="*/ 5255911 h 6706386"/>
              <a:gd name="connsiteX183" fmla="*/ 1335838 w 9907829"/>
              <a:gd name="connsiteY183" fmla="*/ 5278665 h 6706386"/>
              <a:gd name="connsiteX184" fmla="*/ 1323828 w 9907829"/>
              <a:gd name="connsiteY184" fmla="*/ 5289757 h 6706386"/>
              <a:gd name="connsiteX185" fmla="*/ 1315397 w 9907829"/>
              <a:gd name="connsiteY185" fmla="*/ 5302453 h 6706386"/>
              <a:gd name="connsiteX186" fmla="*/ 1296482 w 9907829"/>
              <a:gd name="connsiteY186" fmla="*/ 5315014 h 6706386"/>
              <a:gd name="connsiteX187" fmla="*/ 1277778 w 9907829"/>
              <a:gd name="connsiteY187" fmla="*/ 5332289 h 6706386"/>
              <a:gd name="connsiteX188" fmla="*/ 1260811 w 9907829"/>
              <a:gd name="connsiteY188" fmla="*/ 5338701 h 6706386"/>
              <a:gd name="connsiteX189" fmla="*/ 1247196 w 9907829"/>
              <a:gd name="connsiteY189" fmla="*/ 5347742 h 6706386"/>
              <a:gd name="connsiteX190" fmla="*/ 1225945 w 9907829"/>
              <a:gd name="connsiteY190" fmla="*/ 5351877 h 6706386"/>
              <a:gd name="connsiteX191" fmla="*/ 1203846 w 9907829"/>
              <a:gd name="connsiteY191" fmla="*/ 5360229 h 6706386"/>
              <a:gd name="connsiteX192" fmla="*/ 1186017 w 9907829"/>
              <a:gd name="connsiteY192" fmla="*/ 5359647 h 6706386"/>
              <a:gd name="connsiteX193" fmla="*/ 1169613 w 9907829"/>
              <a:gd name="connsiteY193" fmla="*/ 5362838 h 6706386"/>
              <a:gd name="connsiteX194" fmla="*/ 1146587 w 9907829"/>
              <a:gd name="connsiteY194" fmla="*/ 5358358 h 6706386"/>
              <a:gd name="connsiteX195" fmla="*/ 1122022 w 9907829"/>
              <a:gd name="connsiteY195" fmla="*/ 5357556 h 6706386"/>
              <a:gd name="connsiteX196" fmla="*/ 1107032 w 9907829"/>
              <a:gd name="connsiteY196" fmla="*/ 5350662 h 6706386"/>
              <a:gd name="connsiteX197" fmla="*/ 1092031 w 9907829"/>
              <a:gd name="connsiteY197" fmla="*/ 5347742 h 6706386"/>
              <a:gd name="connsiteX198" fmla="*/ 1072527 w 9907829"/>
              <a:gd name="connsiteY198" fmla="*/ 5334791 h 6706386"/>
              <a:gd name="connsiteX199" fmla="*/ 1047644 w 9907829"/>
              <a:gd name="connsiteY199" fmla="*/ 5323346 h 6706386"/>
              <a:gd name="connsiteX200" fmla="*/ 1035514 w 9907829"/>
              <a:gd name="connsiteY200" fmla="*/ 5310212 h 6706386"/>
              <a:gd name="connsiteX201" fmla="*/ 1023829 w 9907829"/>
              <a:gd name="connsiteY201" fmla="*/ 5302453 h 6706386"/>
              <a:gd name="connsiteX202" fmla="*/ 1012269 w 9907829"/>
              <a:gd name="connsiteY202" fmla="*/ 5285044 h 6706386"/>
              <a:gd name="connsiteX203" fmla="*/ 994020 w 9907829"/>
              <a:gd name="connsiteY203" fmla="*/ 5265285 h 6706386"/>
              <a:gd name="connsiteX204" fmla="*/ 987246 w 9907829"/>
              <a:gd name="connsiteY204" fmla="*/ 5247363 h 6706386"/>
              <a:gd name="connsiteX205" fmla="*/ 978540 w 9907829"/>
              <a:gd name="connsiteY205" fmla="*/ 5234251 h 6706386"/>
              <a:gd name="connsiteX206" fmla="*/ 974558 w 9907829"/>
              <a:gd name="connsiteY206" fmla="*/ 5213789 h 6706386"/>
              <a:gd name="connsiteX207" fmla="*/ 966080 w 9907829"/>
              <a:gd name="connsiteY207" fmla="*/ 5191355 h 6706386"/>
              <a:gd name="connsiteX208" fmla="*/ 966671 w 9907829"/>
              <a:gd name="connsiteY208" fmla="*/ 5173257 h 6706386"/>
              <a:gd name="connsiteX209" fmla="*/ 963444 w 9907829"/>
              <a:gd name="connsiteY209" fmla="*/ 5156669 h 6706386"/>
              <a:gd name="connsiteX210" fmla="*/ 967974 w 9907829"/>
              <a:gd name="connsiteY210" fmla="*/ 5133385 h 6706386"/>
              <a:gd name="connsiteX211" fmla="*/ 968753 w 9907829"/>
              <a:gd name="connsiteY211" fmla="*/ 5109531 h 6706386"/>
              <a:gd name="connsiteX212" fmla="*/ 976245 w 9907829"/>
              <a:gd name="connsiteY212" fmla="*/ 5090879 h 6706386"/>
              <a:gd name="connsiteX213" fmla="*/ 978540 w 9907829"/>
              <a:gd name="connsiteY213" fmla="*/ 5079086 h 6706386"/>
              <a:gd name="connsiteX214" fmla="*/ 984720 w 9907829"/>
              <a:gd name="connsiteY214" fmla="*/ 5069781 h 6706386"/>
              <a:gd name="connsiteX215" fmla="*/ 991864 w 9907829"/>
              <a:gd name="connsiteY215" fmla="*/ 5051994 h 6706386"/>
              <a:gd name="connsiteX216" fmla="*/ 1017963 w 9907829"/>
              <a:gd name="connsiteY216" fmla="*/ 5019720 h 6706386"/>
              <a:gd name="connsiteX217" fmla="*/ 1023829 w 9907829"/>
              <a:gd name="connsiteY217" fmla="*/ 5010885 h 6706386"/>
              <a:gd name="connsiteX218" fmla="*/ 1026588 w 9907829"/>
              <a:gd name="connsiteY218" fmla="*/ 5009053 h 6706386"/>
              <a:gd name="connsiteX219" fmla="*/ 1029511 w 9907829"/>
              <a:gd name="connsiteY219" fmla="*/ 5005438 h 6706386"/>
              <a:gd name="connsiteX220" fmla="*/ 1078330 w 9907829"/>
              <a:gd name="connsiteY220" fmla="*/ 4971943 h 6706386"/>
              <a:gd name="connsiteX221" fmla="*/ 1086423 w 9907829"/>
              <a:gd name="connsiteY221" fmla="*/ 4969319 h 6706386"/>
              <a:gd name="connsiteX222" fmla="*/ 1092031 w 9907829"/>
              <a:gd name="connsiteY222" fmla="*/ 4965595 h 6706386"/>
              <a:gd name="connsiteX223" fmla="*/ 1106743 w 9907829"/>
              <a:gd name="connsiteY223" fmla="*/ 4962733 h 6706386"/>
              <a:gd name="connsiteX224" fmla="*/ 1134954 w 9907829"/>
              <a:gd name="connsiteY224" fmla="*/ 4953588 h 6706386"/>
              <a:gd name="connsiteX225" fmla="*/ 1151038 w 9907829"/>
              <a:gd name="connsiteY225" fmla="*/ 4954113 h 6706386"/>
              <a:gd name="connsiteX226" fmla="*/ 55236 w 9907829"/>
              <a:gd name="connsiteY226" fmla="*/ 4551839 h 6706386"/>
              <a:gd name="connsiteX227" fmla="*/ 102766 w 9907829"/>
              <a:gd name="connsiteY227" fmla="*/ 4599368 h 6706386"/>
              <a:gd name="connsiteX228" fmla="*/ 102633 w 9907829"/>
              <a:gd name="connsiteY228" fmla="*/ 4599689 h 6706386"/>
              <a:gd name="connsiteX229" fmla="*/ 102766 w 9907829"/>
              <a:gd name="connsiteY229" fmla="*/ 4600011 h 6706386"/>
              <a:gd name="connsiteX230" fmla="*/ 55236 w 9907829"/>
              <a:gd name="connsiteY230" fmla="*/ 4647540 h 6706386"/>
              <a:gd name="connsiteX231" fmla="*/ 7709 w 9907829"/>
              <a:gd name="connsiteY231" fmla="*/ 4600011 h 6706386"/>
              <a:gd name="connsiteX232" fmla="*/ 7841 w 9907829"/>
              <a:gd name="connsiteY232" fmla="*/ 4599690 h 6706386"/>
              <a:gd name="connsiteX233" fmla="*/ 7709 w 9907829"/>
              <a:gd name="connsiteY233" fmla="*/ 4599368 h 6706386"/>
              <a:gd name="connsiteX234" fmla="*/ 55236 w 9907829"/>
              <a:gd name="connsiteY234" fmla="*/ 4551839 h 6706386"/>
              <a:gd name="connsiteX235" fmla="*/ 612736 w 9907829"/>
              <a:gd name="connsiteY235" fmla="*/ 4495318 h 6706386"/>
              <a:gd name="connsiteX236" fmla="*/ 716785 w 9907829"/>
              <a:gd name="connsiteY236" fmla="*/ 4599368 h 6706386"/>
              <a:gd name="connsiteX237" fmla="*/ 716721 w 9907829"/>
              <a:gd name="connsiteY237" fmla="*/ 4599689 h 6706386"/>
              <a:gd name="connsiteX238" fmla="*/ 716785 w 9907829"/>
              <a:gd name="connsiteY238" fmla="*/ 4600011 h 6706386"/>
              <a:gd name="connsiteX239" fmla="*/ 612736 w 9907829"/>
              <a:gd name="connsiteY239" fmla="*/ 4704060 h 6706386"/>
              <a:gd name="connsiteX240" fmla="*/ 508686 w 9907829"/>
              <a:gd name="connsiteY240" fmla="*/ 4600011 h 6706386"/>
              <a:gd name="connsiteX241" fmla="*/ 508751 w 9907829"/>
              <a:gd name="connsiteY241" fmla="*/ 4599689 h 6706386"/>
              <a:gd name="connsiteX242" fmla="*/ 508686 w 9907829"/>
              <a:gd name="connsiteY242" fmla="*/ 4599368 h 6706386"/>
              <a:gd name="connsiteX243" fmla="*/ 612736 w 9907829"/>
              <a:gd name="connsiteY243" fmla="*/ 4495318 h 6706386"/>
              <a:gd name="connsiteX244" fmla="*/ 1169593 w 9907829"/>
              <a:gd name="connsiteY244" fmla="*/ 4413107 h 6706386"/>
              <a:gd name="connsiteX245" fmla="*/ 1355855 w 9907829"/>
              <a:gd name="connsiteY245" fmla="*/ 4599368 h 6706386"/>
              <a:gd name="connsiteX246" fmla="*/ 1355790 w 9907829"/>
              <a:gd name="connsiteY246" fmla="*/ 4599689 h 6706386"/>
              <a:gd name="connsiteX247" fmla="*/ 1355855 w 9907829"/>
              <a:gd name="connsiteY247" fmla="*/ 4600009 h 6706386"/>
              <a:gd name="connsiteX248" fmla="*/ 1169593 w 9907829"/>
              <a:gd name="connsiteY248" fmla="*/ 4786271 h 6706386"/>
              <a:gd name="connsiteX249" fmla="*/ 983332 w 9907829"/>
              <a:gd name="connsiteY249" fmla="*/ 4600009 h 6706386"/>
              <a:gd name="connsiteX250" fmla="*/ 983398 w 9907829"/>
              <a:gd name="connsiteY250" fmla="*/ 4599689 h 6706386"/>
              <a:gd name="connsiteX251" fmla="*/ 983332 w 9907829"/>
              <a:gd name="connsiteY251" fmla="*/ 4599368 h 6706386"/>
              <a:gd name="connsiteX252" fmla="*/ 1169593 w 9907829"/>
              <a:gd name="connsiteY252" fmla="*/ 4413107 h 6706386"/>
              <a:gd name="connsiteX253" fmla="*/ 55236 w 9907829"/>
              <a:gd name="connsiteY253" fmla="*/ 4004616 h 6706386"/>
              <a:gd name="connsiteX254" fmla="*/ 93132 w 9907829"/>
              <a:gd name="connsiteY254" fmla="*/ 4042511 h 6706386"/>
              <a:gd name="connsiteX255" fmla="*/ 92996 w 9907829"/>
              <a:gd name="connsiteY255" fmla="*/ 4042831 h 6706386"/>
              <a:gd name="connsiteX256" fmla="*/ 93132 w 9907829"/>
              <a:gd name="connsiteY256" fmla="*/ 4043152 h 6706386"/>
              <a:gd name="connsiteX257" fmla="*/ 55236 w 9907829"/>
              <a:gd name="connsiteY257" fmla="*/ 4081047 h 6706386"/>
              <a:gd name="connsiteX258" fmla="*/ 17342 w 9907829"/>
              <a:gd name="connsiteY258" fmla="*/ 4043152 h 6706386"/>
              <a:gd name="connsiteX259" fmla="*/ 17479 w 9907829"/>
              <a:gd name="connsiteY259" fmla="*/ 4042833 h 6706386"/>
              <a:gd name="connsiteX260" fmla="*/ 17342 w 9907829"/>
              <a:gd name="connsiteY260" fmla="*/ 4042511 h 6706386"/>
              <a:gd name="connsiteX261" fmla="*/ 55236 w 9907829"/>
              <a:gd name="connsiteY261" fmla="*/ 4004616 h 6706386"/>
              <a:gd name="connsiteX262" fmla="*/ 612736 w 9907829"/>
              <a:gd name="connsiteY262" fmla="*/ 3957728 h 6706386"/>
              <a:gd name="connsiteX263" fmla="*/ 697517 w 9907829"/>
              <a:gd name="connsiteY263" fmla="*/ 4042509 h 6706386"/>
              <a:gd name="connsiteX264" fmla="*/ 697452 w 9907829"/>
              <a:gd name="connsiteY264" fmla="*/ 4042830 h 6706386"/>
              <a:gd name="connsiteX265" fmla="*/ 697517 w 9907829"/>
              <a:gd name="connsiteY265" fmla="*/ 4043152 h 6706386"/>
              <a:gd name="connsiteX266" fmla="*/ 612736 w 9907829"/>
              <a:gd name="connsiteY266" fmla="*/ 4127933 h 6706386"/>
              <a:gd name="connsiteX267" fmla="*/ 527955 w 9907829"/>
              <a:gd name="connsiteY267" fmla="*/ 4043152 h 6706386"/>
              <a:gd name="connsiteX268" fmla="*/ 528019 w 9907829"/>
              <a:gd name="connsiteY268" fmla="*/ 4042830 h 6706386"/>
              <a:gd name="connsiteX269" fmla="*/ 527955 w 9907829"/>
              <a:gd name="connsiteY269" fmla="*/ 4042509 h 6706386"/>
              <a:gd name="connsiteX270" fmla="*/ 612736 w 9907829"/>
              <a:gd name="connsiteY270" fmla="*/ 3957728 h 6706386"/>
              <a:gd name="connsiteX271" fmla="*/ 1169594 w 9907829"/>
              <a:gd name="connsiteY271" fmla="*/ 3880655 h 6706386"/>
              <a:gd name="connsiteX272" fmla="*/ 1331449 w 9907829"/>
              <a:gd name="connsiteY272" fmla="*/ 4042511 h 6706386"/>
              <a:gd name="connsiteX273" fmla="*/ 1331384 w 9907829"/>
              <a:gd name="connsiteY273" fmla="*/ 4042831 h 6706386"/>
              <a:gd name="connsiteX274" fmla="*/ 1331449 w 9907829"/>
              <a:gd name="connsiteY274" fmla="*/ 4043153 h 6706386"/>
              <a:gd name="connsiteX275" fmla="*/ 1169594 w 9907829"/>
              <a:gd name="connsiteY275" fmla="*/ 4205007 h 6706386"/>
              <a:gd name="connsiteX276" fmla="*/ 1007739 w 9907829"/>
              <a:gd name="connsiteY276" fmla="*/ 4043153 h 6706386"/>
              <a:gd name="connsiteX277" fmla="*/ 1007805 w 9907829"/>
              <a:gd name="connsiteY277" fmla="*/ 4042831 h 6706386"/>
              <a:gd name="connsiteX278" fmla="*/ 1007739 w 9907829"/>
              <a:gd name="connsiteY278" fmla="*/ 4042511 h 6706386"/>
              <a:gd name="connsiteX279" fmla="*/ 1169594 w 9907829"/>
              <a:gd name="connsiteY279" fmla="*/ 3880655 h 6706386"/>
              <a:gd name="connsiteX280" fmla="*/ 612736 w 9907829"/>
              <a:gd name="connsiteY280" fmla="*/ 3420142 h 6706386"/>
              <a:gd name="connsiteX281" fmla="*/ 678891 w 9907829"/>
              <a:gd name="connsiteY281" fmla="*/ 3486296 h 6706386"/>
              <a:gd name="connsiteX282" fmla="*/ 678891 w 9907829"/>
              <a:gd name="connsiteY282" fmla="*/ 3486300 h 6706386"/>
              <a:gd name="connsiteX283" fmla="*/ 678891 w 9907829"/>
              <a:gd name="connsiteY283" fmla="*/ 3486302 h 6706386"/>
              <a:gd name="connsiteX284" fmla="*/ 612736 w 9907829"/>
              <a:gd name="connsiteY284" fmla="*/ 3551814 h 6706386"/>
              <a:gd name="connsiteX285" fmla="*/ 546581 w 9907829"/>
              <a:gd name="connsiteY285" fmla="*/ 3486302 h 6706386"/>
              <a:gd name="connsiteX286" fmla="*/ 546582 w 9907829"/>
              <a:gd name="connsiteY286" fmla="*/ 3486300 h 6706386"/>
              <a:gd name="connsiteX287" fmla="*/ 546581 w 9907829"/>
              <a:gd name="connsiteY287" fmla="*/ 3486296 h 6706386"/>
              <a:gd name="connsiteX288" fmla="*/ 546680 w 9907829"/>
              <a:gd name="connsiteY288" fmla="*/ 3485811 h 6706386"/>
              <a:gd name="connsiteX289" fmla="*/ 551769 w 9907829"/>
              <a:gd name="connsiteY289" fmla="*/ 3460250 h 6706386"/>
              <a:gd name="connsiteX290" fmla="*/ 586954 w 9907829"/>
              <a:gd name="connsiteY290" fmla="*/ 3425244 h 6706386"/>
              <a:gd name="connsiteX291" fmla="*/ 611347 w 9907829"/>
              <a:gd name="connsiteY291" fmla="*/ 3420421 h 6706386"/>
              <a:gd name="connsiteX292" fmla="*/ 1169593 w 9907829"/>
              <a:gd name="connsiteY292" fmla="*/ 3357198 h 6706386"/>
              <a:gd name="connsiteX293" fmla="*/ 1219471 w 9907829"/>
              <a:gd name="connsiteY293" fmla="*/ 3367244 h 6706386"/>
              <a:gd name="connsiteX294" fmla="*/ 1219560 w 9907829"/>
              <a:gd name="connsiteY294" fmla="*/ 3367304 h 6706386"/>
              <a:gd name="connsiteX295" fmla="*/ 1219741 w 9907829"/>
              <a:gd name="connsiteY295" fmla="*/ 3367341 h 6706386"/>
              <a:gd name="connsiteX296" fmla="*/ 1240198 w 9907829"/>
              <a:gd name="connsiteY296" fmla="*/ 3381172 h 6706386"/>
              <a:gd name="connsiteX297" fmla="*/ 1260316 w 9907829"/>
              <a:gd name="connsiteY297" fmla="*/ 3394691 h 6706386"/>
              <a:gd name="connsiteX298" fmla="*/ 1260421 w 9907829"/>
              <a:gd name="connsiteY298" fmla="*/ 3394846 h 6706386"/>
              <a:gd name="connsiteX299" fmla="*/ 1260556 w 9907829"/>
              <a:gd name="connsiteY299" fmla="*/ 3394939 h 6706386"/>
              <a:gd name="connsiteX300" fmla="*/ 1272451 w 9907829"/>
              <a:gd name="connsiteY300" fmla="*/ 3412638 h 6706386"/>
              <a:gd name="connsiteX301" fmla="*/ 1287914 w 9907829"/>
              <a:gd name="connsiteY301" fmla="*/ 3435505 h 6706386"/>
              <a:gd name="connsiteX302" fmla="*/ 1287956 w 9907829"/>
              <a:gd name="connsiteY302" fmla="*/ 3435710 h 6706386"/>
              <a:gd name="connsiteX303" fmla="*/ 1288005 w 9907829"/>
              <a:gd name="connsiteY303" fmla="*/ 3435783 h 6706386"/>
              <a:gd name="connsiteX304" fmla="*/ 1297800 w 9907829"/>
              <a:gd name="connsiteY304" fmla="*/ 3484414 h 6706386"/>
              <a:gd name="connsiteX305" fmla="*/ 1298050 w 9907829"/>
              <a:gd name="connsiteY305" fmla="*/ 3485654 h 6706386"/>
              <a:gd name="connsiteX306" fmla="*/ 1298050 w 9907829"/>
              <a:gd name="connsiteY306" fmla="*/ 3485657 h 6706386"/>
              <a:gd name="connsiteX307" fmla="*/ 1298050 w 9907829"/>
              <a:gd name="connsiteY307" fmla="*/ 3485659 h 6706386"/>
              <a:gd name="connsiteX308" fmla="*/ 1297801 w 9907829"/>
              <a:gd name="connsiteY308" fmla="*/ 3486892 h 6706386"/>
              <a:gd name="connsiteX309" fmla="*/ 1288005 w 9907829"/>
              <a:gd name="connsiteY309" fmla="*/ 3535531 h 6706386"/>
              <a:gd name="connsiteX310" fmla="*/ 1287955 w 9907829"/>
              <a:gd name="connsiteY310" fmla="*/ 3535604 h 6706386"/>
              <a:gd name="connsiteX311" fmla="*/ 1287914 w 9907829"/>
              <a:gd name="connsiteY311" fmla="*/ 3535806 h 6706386"/>
              <a:gd name="connsiteX312" fmla="*/ 1272620 w 9907829"/>
              <a:gd name="connsiteY312" fmla="*/ 3558425 h 6706386"/>
              <a:gd name="connsiteX313" fmla="*/ 1260556 w 9907829"/>
              <a:gd name="connsiteY313" fmla="*/ 3576375 h 6706386"/>
              <a:gd name="connsiteX314" fmla="*/ 1260419 w 9907829"/>
              <a:gd name="connsiteY314" fmla="*/ 3576469 h 6706386"/>
              <a:gd name="connsiteX315" fmla="*/ 1260316 w 9907829"/>
              <a:gd name="connsiteY315" fmla="*/ 3576620 h 6706386"/>
              <a:gd name="connsiteX316" fmla="*/ 1240760 w 9907829"/>
              <a:gd name="connsiteY316" fmla="*/ 3589763 h 6706386"/>
              <a:gd name="connsiteX317" fmla="*/ 1219741 w 9907829"/>
              <a:gd name="connsiteY317" fmla="*/ 3603973 h 6706386"/>
              <a:gd name="connsiteX318" fmla="*/ 1219554 w 9907829"/>
              <a:gd name="connsiteY318" fmla="*/ 3604012 h 6706386"/>
              <a:gd name="connsiteX319" fmla="*/ 1219471 w 9907829"/>
              <a:gd name="connsiteY319" fmla="*/ 3604067 h 6706386"/>
              <a:gd name="connsiteX320" fmla="*/ 1169593 w 9907829"/>
              <a:gd name="connsiteY320" fmla="*/ 3614112 h 6706386"/>
              <a:gd name="connsiteX321" fmla="*/ 1168035 w 9907829"/>
              <a:gd name="connsiteY321" fmla="*/ 3613798 h 6706386"/>
              <a:gd name="connsiteX322" fmla="*/ 1119355 w 9907829"/>
              <a:gd name="connsiteY322" fmla="*/ 3604063 h 6706386"/>
              <a:gd name="connsiteX323" fmla="*/ 1050912 w 9907829"/>
              <a:gd name="connsiteY323" fmla="*/ 3535803 h 6706386"/>
              <a:gd name="connsiteX324" fmla="*/ 1041163 w 9907829"/>
              <a:gd name="connsiteY324" fmla="*/ 3485790 h 6706386"/>
              <a:gd name="connsiteX325" fmla="*/ 1041137 w 9907829"/>
              <a:gd name="connsiteY325" fmla="*/ 3485659 h 6706386"/>
              <a:gd name="connsiteX326" fmla="*/ 1041138 w 9907829"/>
              <a:gd name="connsiteY326" fmla="*/ 3485657 h 6706386"/>
              <a:gd name="connsiteX327" fmla="*/ 1041137 w 9907829"/>
              <a:gd name="connsiteY327" fmla="*/ 3485654 h 6706386"/>
              <a:gd name="connsiteX328" fmla="*/ 1041163 w 9907829"/>
              <a:gd name="connsiteY328" fmla="*/ 3485523 h 6706386"/>
              <a:gd name="connsiteX329" fmla="*/ 1050912 w 9907829"/>
              <a:gd name="connsiteY329" fmla="*/ 3435511 h 6706386"/>
              <a:gd name="connsiteX330" fmla="*/ 1119355 w 9907829"/>
              <a:gd name="connsiteY330" fmla="*/ 3367250 h 6706386"/>
              <a:gd name="connsiteX331" fmla="*/ 1166602 w 9907829"/>
              <a:gd name="connsiteY331" fmla="*/ 3357803 h 6706386"/>
              <a:gd name="connsiteX332" fmla="*/ 1726451 w 9907829"/>
              <a:gd name="connsiteY332" fmla="*/ 3271775 h 6706386"/>
              <a:gd name="connsiteX333" fmla="*/ 1940331 w 9907829"/>
              <a:gd name="connsiteY333" fmla="*/ 3485654 h 6706386"/>
              <a:gd name="connsiteX334" fmla="*/ 1940331 w 9907829"/>
              <a:gd name="connsiteY334" fmla="*/ 3485657 h 6706386"/>
              <a:gd name="connsiteX335" fmla="*/ 1940331 w 9907829"/>
              <a:gd name="connsiteY335" fmla="*/ 3485659 h 6706386"/>
              <a:gd name="connsiteX336" fmla="*/ 1726451 w 9907829"/>
              <a:gd name="connsiteY336" fmla="*/ 3699535 h 6706386"/>
              <a:gd name="connsiteX337" fmla="*/ 1512572 w 9907829"/>
              <a:gd name="connsiteY337" fmla="*/ 3485659 h 6706386"/>
              <a:gd name="connsiteX338" fmla="*/ 1512573 w 9907829"/>
              <a:gd name="connsiteY338" fmla="*/ 3485657 h 6706386"/>
              <a:gd name="connsiteX339" fmla="*/ 1512572 w 9907829"/>
              <a:gd name="connsiteY339" fmla="*/ 3485654 h 6706386"/>
              <a:gd name="connsiteX340" fmla="*/ 1726451 w 9907829"/>
              <a:gd name="connsiteY340" fmla="*/ 3271775 h 6706386"/>
              <a:gd name="connsiteX341" fmla="*/ 612736 w 9907829"/>
              <a:gd name="connsiteY341" fmla="*/ 2881269 h 6706386"/>
              <a:gd name="connsiteX342" fmla="*/ 659622 w 9907829"/>
              <a:gd name="connsiteY342" fmla="*/ 2928156 h 6706386"/>
              <a:gd name="connsiteX343" fmla="*/ 659487 w 9907829"/>
              <a:gd name="connsiteY343" fmla="*/ 2928480 h 6706386"/>
              <a:gd name="connsiteX344" fmla="*/ 659622 w 9907829"/>
              <a:gd name="connsiteY344" fmla="*/ 2928804 h 6706386"/>
              <a:gd name="connsiteX345" fmla="*/ 612736 w 9907829"/>
              <a:gd name="connsiteY345" fmla="*/ 2975691 h 6706386"/>
              <a:gd name="connsiteX346" fmla="*/ 579659 w 9907829"/>
              <a:gd name="connsiteY346" fmla="*/ 2961882 h 6706386"/>
              <a:gd name="connsiteX347" fmla="*/ 579503 w 9907829"/>
              <a:gd name="connsiteY347" fmla="*/ 2961508 h 6706386"/>
              <a:gd name="connsiteX348" fmla="*/ 579417 w 9907829"/>
              <a:gd name="connsiteY348" fmla="*/ 2961474 h 6706386"/>
              <a:gd name="connsiteX349" fmla="*/ 576618 w 9907829"/>
              <a:gd name="connsiteY349" fmla="*/ 2954598 h 6706386"/>
              <a:gd name="connsiteX350" fmla="*/ 565849 w 9907829"/>
              <a:gd name="connsiteY350" fmla="*/ 2928804 h 6706386"/>
              <a:gd name="connsiteX351" fmla="*/ 565982 w 9907829"/>
              <a:gd name="connsiteY351" fmla="*/ 2928480 h 6706386"/>
              <a:gd name="connsiteX352" fmla="*/ 565849 w 9907829"/>
              <a:gd name="connsiteY352" fmla="*/ 2928156 h 6706386"/>
              <a:gd name="connsiteX353" fmla="*/ 612736 w 9907829"/>
              <a:gd name="connsiteY353" fmla="*/ 2881269 h 6706386"/>
              <a:gd name="connsiteX354" fmla="*/ 1169593 w 9907829"/>
              <a:gd name="connsiteY354" fmla="*/ 2834388 h 6706386"/>
              <a:gd name="connsiteX355" fmla="*/ 1263367 w 9907829"/>
              <a:gd name="connsiteY355" fmla="*/ 2928162 h 6706386"/>
              <a:gd name="connsiteX356" fmla="*/ 1263302 w 9907829"/>
              <a:gd name="connsiteY356" fmla="*/ 2928480 h 6706386"/>
              <a:gd name="connsiteX357" fmla="*/ 1263367 w 9907829"/>
              <a:gd name="connsiteY357" fmla="*/ 2928800 h 6706386"/>
              <a:gd name="connsiteX358" fmla="*/ 1169593 w 9907829"/>
              <a:gd name="connsiteY358" fmla="*/ 3022571 h 6706386"/>
              <a:gd name="connsiteX359" fmla="*/ 1075821 w 9907829"/>
              <a:gd name="connsiteY359" fmla="*/ 2928800 h 6706386"/>
              <a:gd name="connsiteX360" fmla="*/ 1075886 w 9907829"/>
              <a:gd name="connsiteY360" fmla="*/ 2928480 h 6706386"/>
              <a:gd name="connsiteX361" fmla="*/ 1075821 w 9907829"/>
              <a:gd name="connsiteY361" fmla="*/ 2928162 h 6706386"/>
              <a:gd name="connsiteX362" fmla="*/ 1169593 w 9907829"/>
              <a:gd name="connsiteY362" fmla="*/ 2834388 h 6706386"/>
              <a:gd name="connsiteX363" fmla="*/ 1726451 w 9907829"/>
              <a:gd name="connsiteY363" fmla="*/ 2766301 h 6706386"/>
              <a:gd name="connsiteX364" fmla="*/ 1888947 w 9907829"/>
              <a:gd name="connsiteY364" fmla="*/ 2928798 h 6706386"/>
              <a:gd name="connsiteX365" fmla="*/ 1888947 w 9907829"/>
              <a:gd name="connsiteY365" fmla="*/ 2928802 h 6706386"/>
              <a:gd name="connsiteX366" fmla="*/ 1888947 w 9907829"/>
              <a:gd name="connsiteY366" fmla="*/ 2928807 h 6706386"/>
              <a:gd name="connsiteX367" fmla="*/ 1726451 w 9907829"/>
              <a:gd name="connsiteY367" fmla="*/ 3091304 h 6706386"/>
              <a:gd name="connsiteX368" fmla="*/ 1563954 w 9907829"/>
              <a:gd name="connsiteY368" fmla="*/ 2928807 h 6706386"/>
              <a:gd name="connsiteX369" fmla="*/ 1563955 w 9907829"/>
              <a:gd name="connsiteY369" fmla="*/ 2928802 h 6706386"/>
              <a:gd name="connsiteX370" fmla="*/ 1563954 w 9907829"/>
              <a:gd name="connsiteY370" fmla="*/ 2928798 h 6706386"/>
              <a:gd name="connsiteX371" fmla="*/ 1726451 w 9907829"/>
              <a:gd name="connsiteY371" fmla="*/ 2766301 h 6706386"/>
              <a:gd name="connsiteX372" fmla="*/ 1169593 w 9907829"/>
              <a:gd name="connsiteY372" fmla="*/ 2310279 h 6706386"/>
              <a:gd name="connsiteX373" fmla="*/ 1230610 w 9907829"/>
              <a:gd name="connsiteY373" fmla="*/ 2371297 h 6706386"/>
              <a:gd name="connsiteX374" fmla="*/ 1230476 w 9907829"/>
              <a:gd name="connsiteY374" fmla="*/ 2371620 h 6706386"/>
              <a:gd name="connsiteX375" fmla="*/ 1230610 w 9907829"/>
              <a:gd name="connsiteY375" fmla="*/ 2371944 h 6706386"/>
              <a:gd name="connsiteX376" fmla="*/ 1169593 w 9907829"/>
              <a:gd name="connsiteY376" fmla="*/ 2432962 h 6706386"/>
              <a:gd name="connsiteX377" fmla="*/ 1108577 w 9907829"/>
              <a:gd name="connsiteY377" fmla="*/ 2371944 h 6706386"/>
              <a:gd name="connsiteX378" fmla="*/ 1108712 w 9907829"/>
              <a:gd name="connsiteY378" fmla="*/ 2371620 h 6706386"/>
              <a:gd name="connsiteX379" fmla="*/ 1108577 w 9907829"/>
              <a:gd name="connsiteY379" fmla="*/ 2371297 h 6706386"/>
              <a:gd name="connsiteX380" fmla="*/ 1169593 w 9907829"/>
              <a:gd name="connsiteY380" fmla="*/ 2310279 h 6706386"/>
              <a:gd name="connsiteX381" fmla="*/ 1726451 w 9907829"/>
              <a:gd name="connsiteY381" fmla="*/ 2253761 h 6706386"/>
              <a:gd name="connsiteX382" fmla="*/ 1843989 w 9907829"/>
              <a:gd name="connsiteY382" fmla="*/ 2371298 h 6706386"/>
              <a:gd name="connsiteX383" fmla="*/ 1843924 w 9907829"/>
              <a:gd name="connsiteY383" fmla="*/ 2371620 h 6706386"/>
              <a:gd name="connsiteX384" fmla="*/ 1843989 w 9907829"/>
              <a:gd name="connsiteY384" fmla="*/ 2371944 h 6706386"/>
              <a:gd name="connsiteX385" fmla="*/ 1726451 w 9907829"/>
              <a:gd name="connsiteY385" fmla="*/ 2489484 h 6706386"/>
              <a:gd name="connsiteX386" fmla="*/ 1608913 w 9907829"/>
              <a:gd name="connsiteY386" fmla="*/ 2371944 h 6706386"/>
              <a:gd name="connsiteX387" fmla="*/ 1608979 w 9907829"/>
              <a:gd name="connsiteY387" fmla="*/ 2371620 h 6706386"/>
              <a:gd name="connsiteX388" fmla="*/ 1608913 w 9907829"/>
              <a:gd name="connsiteY388" fmla="*/ 2371298 h 6706386"/>
              <a:gd name="connsiteX389" fmla="*/ 1726451 w 9907829"/>
              <a:gd name="connsiteY389" fmla="*/ 2253761 h 6706386"/>
              <a:gd name="connsiteX390" fmla="*/ 2283309 w 9907829"/>
              <a:gd name="connsiteY390" fmla="*/ 2185682 h 6706386"/>
              <a:gd name="connsiteX391" fmla="*/ 2468929 w 9907829"/>
              <a:gd name="connsiteY391" fmla="*/ 2371298 h 6706386"/>
              <a:gd name="connsiteX392" fmla="*/ 2468866 w 9907829"/>
              <a:gd name="connsiteY392" fmla="*/ 2371620 h 6706386"/>
              <a:gd name="connsiteX393" fmla="*/ 2468929 w 9907829"/>
              <a:gd name="connsiteY393" fmla="*/ 2371946 h 6706386"/>
              <a:gd name="connsiteX394" fmla="*/ 2283309 w 9907829"/>
              <a:gd name="connsiteY394" fmla="*/ 2557571 h 6706386"/>
              <a:gd name="connsiteX395" fmla="*/ 2097690 w 9907829"/>
              <a:gd name="connsiteY395" fmla="*/ 2371946 h 6706386"/>
              <a:gd name="connsiteX396" fmla="*/ 2097756 w 9907829"/>
              <a:gd name="connsiteY396" fmla="*/ 2371620 h 6706386"/>
              <a:gd name="connsiteX397" fmla="*/ 2097690 w 9907829"/>
              <a:gd name="connsiteY397" fmla="*/ 2371298 h 6706386"/>
              <a:gd name="connsiteX398" fmla="*/ 2283309 w 9907829"/>
              <a:gd name="connsiteY398" fmla="*/ 2185682 h 6706386"/>
              <a:gd name="connsiteX399" fmla="*/ 1169594 w 9907829"/>
              <a:gd name="connsiteY399" fmla="*/ 1778474 h 6706386"/>
              <a:gd name="connsiteX400" fmla="*/ 1205562 w 9907829"/>
              <a:gd name="connsiteY400" fmla="*/ 1814442 h 6706386"/>
              <a:gd name="connsiteX401" fmla="*/ 1205428 w 9907829"/>
              <a:gd name="connsiteY401" fmla="*/ 1814767 h 6706386"/>
              <a:gd name="connsiteX402" fmla="*/ 1205562 w 9907829"/>
              <a:gd name="connsiteY402" fmla="*/ 1815092 h 6706386"/>
              <a:gd name="connsiteX403" fmla="*/ 1169594 w 9907829"/>
              <a:gd name="connsiteY403" fmla="*/ 1851060 h 6706386"/>
              <a:gd name="connsiteX404" fmla="*/ 1133626 w 9907829"/>
              <a:gd name="connsiteY404" fmla="*/ 1815092 h 6706386"/>
              <a:gd name="connsiteX405" fmla="*/ 1133762 w 9907829"/>
              <a:gd name="connsiteY405" fmla="*/ 1814767 h 6706386"/>
              <a:gd name="connsiteX406" fmla="*/ 1133626 w 9907829"/>
              <a:gd name="connsiteY406" fmla="*/ 1814442 h 6706386"/>
              <a:gd name="connsiteX407" fmla="*/ 1169594 w 9907829"/>
              <a:gd name="connsiteY407" fmla="*/ 1778474 h 6706386"/>
              <a:gd name="connsiteX408" fmla="*/ 1726452 w 9907829"/>
              <a:gd name="connsiteY408" fmla="*/ 1741232 h 6706386"/>
              <a:gd name="connsiteX409" fmla="*/ 1799672 w 9907829"/>
              <a:gd name="connsiteY409" fmla="*/ 1814452 h 6706386"/>
              <a:gd name="connsiteX410" fmla="*/ 1799608 w 9907829"/>
              <a:gd name="connsiteY410" fmla="*/ 1814767 h 6706386"/>
              <a:gd name="connsiteX411" fmla="*/ 1799672 w 9907829"/>
              <a:gd name="connsiteY411" fmla="*/ 1815083 h 6706386"/>
              <a:gd name="connsiteX412" fmla="*/ 1726452 w 9907829"/>
              <a:gd name="connsiteY412" fmla="*/ 1888303 h 6706386"/>
              <a:gd name="connsiteX413" fmla="*/ 1653232 w 9907829"/>
              <a:gd name="connsiteY413" fmla="*/ 1815083 h 6706386"/>
              <a:gd name="connsiteX414" fmla="*/ 1653296 w 9907829"/>
              <a:gd name="connsiteY414" fmla="*/ 1814767 h 6706386"/>
              <a:gd name="connsiteX415" fmla="*/ 1653232 w 9907829"/>
              <a:gd name="connsiteY415" fmla="*/ 1814452 h 6706386"/>
              <a:gd name="connsiteX416" fmla="*/ 1726452 w 9907829"/>
              <a:gd name="connsiteY416" fmla="*/ 1741232 h 6706386"/>
              <a:gd name="connsiteX417" fmla="*/ 9907829 w 9907829"/>
              <a:gd name="connsiteY417" fmla="*/ 1731583 h 6706386"/>
              <a:gd name="connsiteX418" fmla="*/ 9907829 w 9907829"/>
              <a:gd name="connsiteY418" fmla="*/ 1898575 h 6706386"/>
              <a:gd name="connsiteX419" fmla="*/ 9888560 w 9907829"/>
              <a:gd name="connsiteY419" fmla="*/ 1815080 h 6706386"/>
              <a:gd name="connsiteX420" fmla="*/ 9907829 w 9907829"/>
              <a:gd name="connsiteY420" fmla="*/ 1731583 h 6706386"/>
              <a:gd name="connsiteX421" fmla="*/ 2283183 w 9907829"/>
              <a:gd name="connsiteY421" fmla="*/ 1688074 h 6706386"/>
              <a:gd name="connsiteX422" fmla="*/ 2372650 w 9907829"/>
              <a:gd name="connsiteY422" fmla="*/ 1725132 h 6706386"/>
              <a:gd name="connsiteX423" fmla="*/ 2409711 w 9907829"/>
              <a:gd name="connsiteY423" fmla="*/ 1814602 h 6706386"/>
              <a:gd name="connsiteX424" fmla="*/ 2409710 w 9907829"/>
              <a:gd name="connsiteY424" fmla="*/ 1814607 h 6706386"/>
              <a:gd name="connsiteX425" fmla="*/ 2409711 w 9907829"/>
              <a:gd name="connsiteY425" fmla="*/ 1814611 h 6706386"/>
              <a:gd name="connsiteX426" fmla="*/ 2372650 w 9907829"/>
              <a:gd name="connsiteY426" fmla="*/ 1904081 h 6706386"/>
              <a:gd name="connsiteX427" fmla="*/ 2193714 w 9907829"/>
              <a:gd name="connsiteY427" fmla="*/ 1904081 h 6706386"/>
              <a:gd name="connsiteX428" fmla="*/ 2156655 w 9907829"/>
              <a:gd name="connsiteY428" fmla="*/ 1814611 h 6706386"/>
              <a:gd name="connsiteX429" fmla="*/ 2156655 w 9907829"/>
              <a:gd name="connsiteY429" fmla="*/ 1814607 h 6706386"/>
              <a:gd name="connsiteX430" fmla="*/ 2156655 w 9907829"/>
              <a:gd name="connsiteY430" fmla="*/ 1814602 h 6706386"/>
              <a:gd name="connsiteX431" fmla="*/ 2193714 w 9907829"/>
              <a:gd name="connsiteY431" fmla="*/ 1725133 h 6706386"/>
              <a:gd name="connsiteX432" fmla="*/ 2283183 w 9907829"/>
              <a:gd name="connsiteY432" fmla="*/ 1688074 h 6706386"/>
              <a:gd name="connsiteX433" fmla="*/ 2840168 w 9907829"/>
              <a:gd name="connsiteY433" fmla="*/ 1624326 h 6706386"/>
              <a:gd name="connsiteX434" fmla="*/ 2859379 w 9907829"/>
              <a:gd name="connsiteY434" fmla="*/ 1628209 h 6706386"/>
              <a:gd name="connsiteX435" fmla="*/ 2914040 w 9907829"/>
              <a:gd name="connsiteY435" fmla="*/ 1639228 h 6706386"/>
              <a:gd name="connsiteX436" fmla="*/ 2914096 w 9907829"/>
              <a:gd name="connsiteY436" fmla="*/ 1639266 h 6706386"/>
              <a:gd name="connsiteX437" fmla="*/ 2914312 w 9907829"/>
              <a:gd name="connsiteY437" fmla="*/ 1639310 h 6706386"/>
              <a:gd name="connsiteX438" fmla="*/ 2950154 w 9907829"/>
              <a:gd name="connsiteY438" fmla="*/ 1663524 h 6706386"/>
              <a:gd name="connsiteX439" fmla="*/ 2974485 w 9907829"/>
              <a:gd name="connsiteY439" fmla="*/ 1679893 h 6706386"/>
              <a:gd name="connsiteX440" fmla="*/ 2974572 w 9907829"/>
              <a:gd name="connsiteY440" fmla="*/ 1680020 h 6706386"/>
              <a:gd name="connsiteX441" fmla="*/ 2974726 w 9907829"/>
              <a:gd name="connsiteY441" fmla="*/ 1680125 h 6706386"/>
              <a:gd name="connsiteX442" fmla="*/ 2994843 w 9907829"/>
              <a:gd name="connsiteY442" fmla="*/ 1710029 h 6706386"/>
              <a:gd name="connsiteX443" fmla="*/ 3015300 w 9907829"/>
              <a:gd name="connsiteY443" fmla="*/ 1740308 h 6706386"/>
              <a:gd name="connsiteX444" fmla="*/ 3015336 w 9907829"/>
              <a:gd name="connsiteY444" fmla="*/ 1740490 h 6706386"/>
              <a:gd name="connsiteX445" fmla="*/ 3015391 w 9907829"/>
              <a:gd name="connsiteY445" fmla="*/ 1740569 h 6706386"/>
              <a:gd name="connsiteX446" fmla="*/ 3030282 w 9907829"/>
              <a:gd name="connsiteY446" fmla="*/ 1814442 h 6706386"/>
              <a:gd name="connsiteX447" fmla="*/ 3030281 w 9907829"/>
              <a:gd name="connsiteY447" fmla="*/ 1814448 h 6706386"/>
              <a:gd name="connsiteX448" fmla="*/ 3030282 w 9907829"/>
              <a:gd name="connsiteY448" fmla="*/ 1814453 h 6706386"/>
              <a:gd name="connsiteX449" fmla="*/ 3015391 w 9907829"/>
              <a:gd name="connsiteY449" fmla="*/ 1888324 h 6706386"/>
              <a:gd name="connsiteX450" fmla="*/ 3015336 w 9907829"/>
              <a:gd name="connsiteY450" fmla="*/ 1888403 h 6706386"/>
              <a:gd name="connsiteX451" fmla="*/ 3015300 w 9907829"/>
              <a:gd name="connsiteY451" fmla="*/ 1888585 h 6706386"/>
              <a:gd name="connsiteX452" fmla="*/ 2994895 w 9907829"/>
              <a:gd name="connsiteY452" fmla="*/ 1918790 h 6706386"/>
              <a:gd name="connsiteX453" fmla="*/ 2974726 w 9907829"/>
              <a:gd name="connsiteY453" fmla="*/ 1948769 h 6706386"/>
              <a:gd name="connsiteX454" fmla="*/ 2974572 w 9907829"/>
              <a:gd name="connsiteY454" fmla="*/ 1948874 h 6706386"/>
              <a:gd name="connsiteX455" fmla="*/ 2974485 w 9907829"/>
              <a:gd name="connsiteY455" fmla="*/ 1948999 h 6706386"/>
              <a:gd name="connsiteX456" fmla="*/ 2950250 w 9907829"/>
              <a:gd name="connsiteY456" fmla="*/ 1965305 h 6706386"/>
              <a:gd name="connsiteX457" fmla="*/ 2914312 w 9907829"/>
              <a:gd name="connsiteY457" fmla="*/ 1989583 h 6706386"/>
              <a:gd name="connsiteX458" fmla="*/ 2914096 w 9907829"/>
              <a:gd name="connsiteY458" fmla="*/ 1989627 h 6706386"/>
              <a:gd name="connsiteX459" fmla="*/ 2914040 w 9907829"/>
              <a:gd name="connsiteY459" fmla="*/ 1989664 h 6706386"/>
              <a:gd name="connsiteX460" fmla="*/ 2859639 w 9907829"/>
              <a:gd name="connsiteY460" fmla="*/ 2000631 h 6706386"/>
              <a:gd name="connsiteX461" fmla="*/ 2840168 w 9907829"/>
              <a:gd name="connsiteY461" fmla="*/ 2004566 h 6706386"/>
              <a:gd name="connsiteX462" fmla="*/ 2650053 w 9907829"/>
              <a:gd name="connsiteY462" fmla="*/ 1814453 h 6706386"/>
              <a:gd name="connsiteX463" fmla="*/ 2650055 w 9907829"/>
              <a:gd name="connsiteY463" fmla="*/ 1814448 h 6706386"/>
              <a:gd name="connsiteX464" fmla="*/ 2650053 w 9907829"/>
              <a:gd name="connsiteY464" fmla="*/ 1814442 h 6706386"/>
              <a:gd name="connsiteX465" fmla="*/ 2840168 w 9907829"/>
              <a:gd name="connsiteY465" fmla="*/ 1624326 h 6706386"/>
              <a:gd name="connsiteX466" fmla="*/ 1726452 w 9907829"/>
              <a:gd name="connsiteY466" fmla="*/ 1217762 h 6706386"/>
              <a:gd name="connsiteX467" fmla="*/ 1766273 w 9907829"/>
              <a:gd name="connsiteY467" fmla="*/ 1257583 h 6706386"/>
              <a:gd name="connsiteX468" fmla="*/ 1766272 w 9907829"/>
              <a:gd name="connsiteY468" fmla="*/ 1257587 h 6706386"/>
              <a:gd name="connsiteX469" fmla="*/ 1766273 w 9907829"/>
              <a:gd name="connsiteY469" fmla="*/ 1257592 h 6706386"/>
              <a:gd name="connsiteX470" fmla="*/ 1726452 w 9907829"/>
              <a:gd name="connsiteY470" fmla="*/ 1297412 h 6706386"/>
              <a:gd name="connsiteX471" fmla="*/ 1686631 w 9907829"/>
              <a:gd name="connsiteY471" fmla="*/ 1257592 h 6706386"/>
              <a:gd name="connsiteX472" fmla="*/ 1686633 w 9907829"/>
              <a:gd name="connsiteY472" fmla="*/ 1257587 h 6706386"/>
              <a:gd name="connsiteX473" fmla="*/ 1686631 w 9907829"/>
              <a:gd name="connsiteY473" fmla="*/ 1257583 h 6706386"/>
              <a:gd name="connsiteX474" fmla="*/ 1726452 w 9907829"/>
              <a:gd name="connsiteY474" fmla="*/ 1217762 h 6706386"/>
              <a:gd name="connsiteX475" fmla="*/ 2283309 w 9907829"/>
              <a:gd name="connsiteY475" fmla="*/ 1183722 h 6706386"/>
              <a:gd name="connsiteX476" fmla="*/ 2289931 w 9907829"/>
              <a:gd name="connsiteY476" fmla="*/ 1185063 h 6706386"/>
              <a:gd name="connsiteX477" fmla="*/ 2311921 w 9907829"/>
              <a:gd name="connsiteY477" fmla="*/ 1189491 h 6706386"/>
              <a:gd name="connsiteX478" fmla="*/ 2311979 w 9907829"/>
              <a:gd name="connsiteY478" fmla="*/ 1189530 h 6706386"/>
              <a:gd name="connsiteX479" fmla="*/ 2312191 w 9907829"/>
              <a:gd name="connsiteY479" fmla="*/ 1189572 h 6706386"/>
              <a:gd name="connsiteX480" fmla="*/ 2325865 w 9907829"/>
              <a:gd name="connsiteY480" fmla="*/ 1198842 h 6706386"/>
              <a:gd name="connsiteX481" fmla="*/ 2335415 w 9907829"/>
              <a:gd name="connsiteY481" fmla="*/ 1205247 h 6706386"/>
              <a:gd name="connsiteX482" fmla="*/ 2335503 w 9907829"/>
              <a:gd name="connsiteY482" fmla="*/ 1205376 h 6706386"/>
              <a:gd name="connsiteX483" fmla="*/ 2335655 w 9907829"/>
              <a:gd name="connsiteY483" fmla="*/ 1205479 h 6706386"/>
              <a:gd name="connsiteX484" fmla="*/ 2343315 w 9907829"/>
              <a:gd name="connsiteY484" fmla="*/ 1216902 h 6706386"/>
              <a:gd name="connsiteX485" fmla="*/ 2351320 w 9907829"/>
              <a:gd name="connsiteY485" fmla="*/ 1228711 h 6706386"/>
              <a:gd name="connsiteX486" fmla="*/ 2351358 w 9907829"/>
              <a:gd name="connsiteY486" fmla="*/ 1228894 h 6706386"/>
              <a:gd name="connsiteX487" fmla="*/ 2351411 w 9907829"/>
              <a:gd name="connsiteY487" fmla="*/ 1228973 h 6706386"/>
              <a:gd name="connsiteX488" fmla="*/ 2357170 w 9907829"/>
              <a:gd name="connsiteY488" fmla="*/ 1257585 h 6706386"/>
              <a:gd name="connsiteX489" fmla="*/ 2357170 w 9907829"/>
              <a:gd name="connsiteY489" fmla="*/ 1257589 h 6706386"/>
              <a:gd name="connsiteX490" fmla="*/ 2357170 w 9907829"/>
              <a:gd name="connsiteY490" fmla="*/ 1257593 h 6706386"/>
              <a:gd name="connsiteX491" fmla="*/ 2351411 w 9907829"/>
              <a:gd name="connsiteY491" fmla="*/ 1286203 h 6706386"/>
              <a:gd name="connsiteX492" fmla="*/ 2351358 w 9907829"/>
              <a:gd name="connsiteY492" fmla="*/ 1286284 h 6706386"/>
              <a:gd name="connsiteX493" fmla="*/ 2351320 w 9907829"/>
              <a:gd name="connsiteY493" fmla="*/ 1286467 h 6706386"/>
              <a:gd name="connsiteX494" fmla="*/ 2343311 w 9907829"/>
              <a:gd name="connsiteY494" fmla="*/ 1298281 h 6706386"/>
              <a:gd name="connsiteX495" fmla="*/ 2335655 w 9907829"/>
              <a:gd name="connsiteY495" fmla="*/ 1309697 h 6706386"/>
              <a:gd name="connsiteX496" fmla="*/ 2335503 w 9907829"/>
              <a:gd name="connsiteY496" fmla="*/ 1309802 h 6706386"/>
              <a:gd name="connsiteX497" fmla="*/ 2335415 w 9907829"/>
              <a:gd name="connsiteY497" fmla="*/ 1309930 h 6706386"/>
              <a:gd name="connsiteX498" fmla="*/ 2325840 w 9907829"/>
              <a:gd name="connsiteY498" fmla="*/ 1316351 h 6706386"/>
              <a:gd name="connsiteX499" fmla="*/ 2312191 w 9907829"/>
              <a:gd name="connsiteY499" fmla="*/ 1325604 h 6706386"/>
              <a:gd name="connsiteX500" fmla="*/ 2311981 w 9907829"/>
              <a:gd name="connsiteY500" fmla="*/ 1325647 h 6706386"/>
              <a:gd name="connsiteX501" fmla="*/ 2311921 w 9907829"/>
              <a:gd name="connsiteY501" fmla="*/ 1325687 h 6706386"/>
              <a:gd name="connsiteX502" fmla="*/ 2289573 w 9907829"/>
              <a:gd name="connsiteY502" fmla="*/ 1330186 h 6706386"/>
              <a:gd name="connsiteX503" fmla="*/ 2283309 w 9907829"/>
              <a:gd name="connsiteY503" fmla="*/ 1331454 h 6706386"/>
              <a:gd name="connsiteX504" fmla="*/ 2209446 w 9907829"/>
              <a:gd name="connsiteY504" fmla="*/ 1257593 h 6706386"/>
              <a:gd name="connsiteX505" fmla="*/ 2209449 w 9907829"/>
              <a:gd name="connsiteY505" fmla="*/ 1257589 h 6706386"/>
              <a:gd name="connsiteX506" fmla="*/ 2209446 w 9907829"/>
              <a:gd name="connsiteY506" fmla="*/ 1257585 h 6706386"/>
              <a:gd name="connsiteX507" fmla="*/ 2283309 w 9907829"/>
              <a:gd name="connsiteY507" fmla="*/ 1183722 h 6706386"/>
              <a:gd name="connsiteX508" fmla="*/ 2840166 w 9907829"/>
              <a:gd name="connsiteY508" fmla="*/ 1135550 h 6706386"/>
              <a:gd name="connsiteX509" fmla="*/ 2962201 w 9907829"/>
              <a:gd name="connsiteY509" fmla="*/ 1257583 h 6706386"/>
              <a:gd name="connsiteX510" fmla="*/ 2962201 w 9907829"/>
              <a:gd name="connsiteY510" fmla="*/ 1257588 h 6706386"/>
              <a:gd name="connsiteX511" fmla="*/ 2962201 w 9907829"/>
              <a:gd name="connsiteY511" fmla="*/ 1257592 h 6706386"/>
              <a:gd name="connsiteX512" fmla="*/ 2840166 w 9907829"/>
              <a:gd name="connsiteY512" fmla="*/ 1379625 h 6706386"/>
              <a:gd name="connsiteX513" fmla="*/ 2718134 w 9907829"/>
              <a:gd name="connsiteY513" fmla="*/ 1257592 h 6706386"/>
              <a:gd name="connsiteX514" fmla="*/ 2718135 w 9907829"/>
              <a:gd name="connsiteY514" fmla="*/ 1257588 h 6706386"/>
              <a:gd name="connsiteX515" fmla="*/ 2718134 w 9907829"/>
              <a:gd name="connsiteY515" fmla="*/ 1257583 h 6706386"/>
              <a:gd name="connsiteX516" fmla="*/ 2840166 w 9907829"/>
              <a:gd name="connsiteY516" fmla="*/ 1135550 h 6706386"/>
              <a:gd name="connsiteX517" fmla="*/ 9524387 w 9907829"/>
              <a:gd name="connsiteY517" fmla="*/ 1083526 h 6706386"/>
              <a:gd name="connsiteX518" fmla="*/ 9698445 w 9907829"/>
              <a:gd name="connsiteY518" fmla="*/ 1257586 h 6706386"/>
              <a:gd name="connsiteX519" fmla="*/ 9698379 w 9907829"/>
              <a:gd name="connsiteY519" fmla="*/ 1257912 h 6706386"/>
              <a:gd name="connsiteX520" fmla="*/ 9698445 w 9907829"/>
              <a:gd name="connsiteY520" fmla="*/ 1258239 h 6706386"/>
              <a:gd name="connsiteX521" fmla="*/ 9524387 w 9907829"/>
              <a:gd name="connsiteY521" fmla="*/ 1432296 h 6706386"/>
              <a:gd name="connsiteX522" fmla="*/ 9350329 w 9907829"/>
              <a:gd name="connsiteY522" fmla="*/ 1258239 h 6706386"/>
              <a:gd name="connsiteX523" fmla="*/ 9350396 w 9907829"/>
              <a:gd name="connsiteY523" fmla="*/ 1257911 h 6706386"/>
              <a:gd name="connsiteX524" fmla="*/ 9350329 w 9907829"/>
              <a:gd name="connsiteY524" fmla="*/ 1257586 h 6706386"/>
              <a:gd name="connsiteX525" fmla="*/ 9524387 w 9907829"/>
              <a:gd name="connsiteY525" fmla="*/ 1083526 h 6706386"/>
              <a:gd name="connsiteX526" fmla="*/ 3397667 w 9907829"/>
              <a:gd name="connsiteY526" fmla="*/ 1083526 h 6706386"/>
              <a:gd name="connsiteX527" fmla="*/ 3571726 w 9907829"/>
              <a:gd name="connsiteY527" fmla="*/ 1257583 h 6706386"/>
              <a:gd name="connsiteX528" fmla="*/ 3571660 w 9907829"/>
              <a:gd name="connsiteY528" fmla="*/ 1257910 h 6706386"/>
              <a:gd name="connsiteX529" fmla="*/ 3571726 w 9907829"/>
              <a:gd name="connsiteY529" fmla="*/ 1258237 h 6706386"/>
              <a:gd name="connsiteX530" fmla="*/ 3397667 w 9907829"/>
              <a:gd name="connsiteY530" fmla="*/ 1432293 h 6706386"/>
              <a:gd name="connsiteX531" fmla="*/ 3223609 w 9907829"/>
              <a:gd name="connsiteY531" fmla="*/ 1258237 h 6706386"/>
              <a:gd name="connsiteX532" fmla="*/ 3223676 w 9907829"/>
              <a:gd name="connsiteY532" fmla="*/ 1257910 h 6706386"/>
              <a:gd name="connsiteX533" fmla="*/ 3223609 w 9907829"/>
              <a:gd name="connsiteY533" fmla="*/ 1257583 h 6706386"/>
              <a:gd name="connsiteX534" fmla="*/ 3397667 w 9907829"/>
              <a:gd name="connsiteY534" fmla="*/ 1083526 h 6706386"/>
              <a:gd name="connsiteX535" fmla="*/ 3985091 w 9907829"/>
              <a:gd name="connsiteY535" fmla="*/ 1035050 h 6706386"/>
              <a:gd name="connsiteX536" fmla="*/ 3999885 w 9907829"/>
              <a:gd name="connsiteY536" fmla="*/ 1038730 h 6706386"/>
              <a:gd name="connsiteX537" fmla="*/ 4006300 w 9907829"/>
              <a:gd name="connsiteY537" fmla="*/ 1038985 h 6706386"/>
              <a:gd name="connsiteX538" fmla="*/ 4012914 w 9907829"/>
              <a:gd name="connsiteY538" fmla="*/ 1041971 h 6706386"/>
              <a:gd name="connsiteX539" fmla="*/ 4032126 w 9907829"/>
              <a:gd name="connsiteY539" fmla="*/ 1046750 h 6706386"/>
              <a:gd name="connsiteX540" fmla="*/ 4075781 w 9907829"/>
              <a:gd name="connsiteY540" fmla="*/ 1068355 h 6706386"/>
              <a:gd name="connsiteX541" fmla="*/ 4081393 w 9907829"/>
              <a:gd name="connsiteY541" fmla="*/ 1072885 h 6706386"/>
              <a:gd name="connsiteX542" fmla="*/ 4084846 w 9907829"/>
              <a:gd name="connsiteY542" fmla="*/ 1074445 h 6706386"/>
              <a:gd name="connsiteX543" fmla="*/ 4089571 w 9907829"/>
              <a:gd name="connsiteY543" fmla="*/ 1079489 h 6706386"/>
              <a:gd name="connsiteX544" fmla="*/ 4114288 w 9907829"/>
              <a:gd name="connsiteY544" fmla="*/ 1099448 h 6706386"/>
              <a:gd name="connsiteX545" fmla="*/ 4145805 w 9907829"/>
              <a:gd name="connsiteY545" fmla="*/ 1139522 h 6706386"/>
              <a:gd name="connsiteX546" fmla="*/ 4145875 w 9907829"/>
              <a:gd name="connsiteY546" fmla="*/ 1139595 h 6706386"/>
              <a:gd name="connsiteX547" fmla="*/ 4176845 w 9907829"/>
              <a:gd name="connsiteY547" fmla="*/ 1223321 h 6706386"/>
              <a:gd name="connsiteX548" fmla="*/ 4176845 w 9907829"/>
              <a:gd name="connsiteY548" fmla="*/ 1223333 h 6706386"/>
              <a:gd name="connsiteX549" fmla="*/ 4176845 w 9907829"/>
              <a:gd name="connsiteY549" fmla="*/ 1223336 h 6706386"/>
              <a:gd name="connsiteX550" fmla="*/ 4072815 w 9907829"/>
              <a:gd name="connsiteY550" fmla="*/ 1449022 h 6706386"/>
              <a:gd name="connsiteX551" fmla="*/ 3763402 w 9907829"/>
              <a:gd name="connsiteY551" fmla="*/ 1375963 h 6706386"/>
              <a:gd name="connsiteX552" fmla="*/ 3732430 w 9907829"/>
              <a:gd name="connsiteY552" fmla="*/ 1292239 h 6706386"/>
              <a:gd name="connsiteX553" fmla="*/ 3732432 w 9907829"/>
              <a:gd name="connsiteY553" fmla="*/ 1292226 h 6706386"/>
              <a:gd name="connsiteX554" fmla="*/ 3732430 w 9907829"/>
              <a:gd name="connsiteY554" fmla="*/ 1292225 h 6706386"/>
              <a:gd name="connsiteX555" fmla="*/ 3836462 w 9907829"/>
              <a:gd name="connsiteY555" fmla="*/ 1066536 h 6706386"/>
              <a:gd name="connsiteX556" fmla="*/ 3920187 w 9907829"/>
              <a:gd name="connsiteY556" fmla="*/ 1035565 h 6706386"/>
              <a:gd name="connsiteX557" fmla="*/ 3920506 w 9907829"/>
              <a:gd name="connsiteY557" fmla="*/ 1035578 h 6706386"/>
              <a:gd name="connsiteX558" fmla="*/ 8967529 w 9907829"/>
              <a:gd name="connsiteY558" fmla="*/ 1032788 h 6706386"/>
              <a:gd name="connsiteX559" fmla="*/ 9192327 w 9907829"/>
              <a:gd name="connsiteY559" fmla="*/ 1257587 h 6706386"/>
              <a:gd name="connsiteX560" fmla="*/ 9192326 w 9907829"/>
              <a:gd name="connsiteY560" fmla="*/ 1257592 h 6706386"/>
              <a:gd name="connsiteX561" fmla="*/ 9192327 w 9907829"/>
              <a:gd name="connsiteY561" fmla="*/ 1257597 h 6706386"/>
              <a:gd name="connsiteX562" fmla="*/ 8967529 w 9907829"/>
              <a:gd name="connsiteY562" fmla="*/ 1482394 h 6706386"/>
              <a:gd name="connsiteX563" fmla="*/ 8742731 w 9907829"/>
              <a:gd name="connsiteY563" fmla="*/ 1257597 h 6706386"/>
              <a:gd name="connsiteX564" fmla="*/ 8742732 w 9907829"/>
              <a:gd name="connsiteY564" fmla="*/ 1257592 h 6706386"/>
              <a:gd name="connsiteX565" fmla="*/ 8742731 w 9907829"/>
              <a:gd name="connsiteY565" fmla="*/ 1257587 h 6706386"/>
              <a:gd name="connsiteX566" fmla="*/ 8967529 w 9907829"/>
              <a:gd name="connsiteY566" fmla="*/ 1032788 h 6706386"/>
              <a:gd name="connsiteX567" fmla="*/ 2283309 w 9907829"/>
              <a:gd name="connsiteY567" fmla="*/ 662831 h 6706386"/>
              <a:gd name="connsiteX568" fmla="*/ 2309964 w 9907829"/>
              <a:gd name="connsiteY568" fmla="*/ 673830 h 6706386"/>
              <a:gd name="connsiteX569" fmla="*/ 2310039 w 9907829"/>
              <a:gd name="connsiteY569" fmla="*/ 674008 h 6706386"/>
              <a:gd name="connsiteX570" fmla="*/ 2310206 w 9907829"/>
              <a:gd name="connsiteY570" fmla="*/ 674077 h 6706386"/>
              <a:gd name="connsiteX571" fmla="*/ 2320996 w 9907829"/>
              <a:gd name="connsiteY571" fmla="*/ 700227 h 6706386"/>
              <a:gd name="connsiteX572" fmla="*/ 2321205 w 9907829"/>
              <a:gd name="connsiteY572" fmla="*/ 700726 h 6706386"/>
              <a:gd name="connsiteX573" fmla="*/ 2321202 w 9907829"/>
              <a:gd name="connsiteY573" fmla="*/ 700728 h 6706386"/>
              <a:gd name="connsiteX574" fmla="*/ 2321205 w 9907829"/>
              <a:gd name="connsiteY574" fmla="*/ 700732 h 6706386"/>
              <a:gd name="connsiteX575" fmla="*/ 2320996 w 9907829"/>
              <a:gd name="connsiteY575" fmla="*/ 701231 h 6706386"/>
              <a:gd name="connsiteX576" fmla="*/ 2310206 w 9907829"/>
              <a:gd name="connsiteY576" fmla="*/ 727380 h 6706386"/>
              <a:gd name="connsiteX577" fmla="*/ 2310039 w 9907829"/>
              <a:gd name="connsiteY577" fmla="*/ 727450 h 6706386"/>
              <a:gd name="connsiteX578" fmla="*/ 2309964 w 9907829"/>
              <a:gd name="connsiteY578" fmla="*/ 727628 h 6706386"/>
              <a:gd name="connsiteX579" fmla="*/ 2283309 w 9907829"/>
              <a:gd name="connsiteY579" fmla="*/ 738627 h 6706386"/>
              <a:gd name="connsiteX580" fmla="*/ 2282587 w 9907829"/>
              <a:gd name="connsiteY580" fmla="*/ 738324 h 6706386"/>
              <a:gd name="connsiteX581" fmla="*/ 2256415 w 9907829"/>
              <a:gd name="connsiteY581" fmla="*/ 727622 h 6706386"/>
              <a:gd name="connsiteX582" fmla="*/ 2245705 w 9907829"/>
              <a:gd name="connsiteY582" fmla="*/ 701435 h 6706386"/>
              <a:gd name="connsiteX583" fmla="*/ 2245414 w 9907829"/>
              <a:gd name="connsiteY583" fmla="*/ 700732 h 6706386"/>
              <a:gd name="connsiteX584" fmla="*/ 2245417 w 9907829"/>
              <a:gd name="connsiteY584" fmla="*/ 700728 h 6706386"/>
              <a:gd name="connsiteX585" fmla="*/ 2245414 w 9907829"/>
              <a:gd name="connsiteY585" fmla="*/ 700726 h 6706386"/>
              <a:gd name="connsiteX586" fmla="*/ 2245705 w 9907829"/>
              <a:gd name="connsiteY586" fmla="*/ 700022 h 6706386"/>
              <a:gd name="connsiteX587" fmla="*/ 2256415 w 9907829"/>
              <a:gd name="connsiteY587" fmla="*/ 673836 h 6706386"/>
              <a:gd name="connsiteX588" fmla="*/ 2282587 w 9907829"/>
              <a:gd name="connsiteY588" fmla="*/ 663133 h 6706386"/>
              <a:gd name="connsiteX589" fmla="*/ 2840166 w 9907829"/>
              <a:gd name="connsiteY589" fmla="*/ 635213 h 6706386"/>
              <a:gd name="connsiteX590" fmla="*/ 2905681 w 9907829"/>
              <a:gd name="connsiteY590" fmla="*/ 700726 h 6706386"/>
              <a:gd name="connsiteX591" fmla="*/ 2905681 w 9907829"/>
              <a:gd name="connsiteY591" fmla="*/ 700729 h 6706386"/>
              <a:gd name="connsiteX592" fmla="*/ 2905681 w 9907829"/>
              <a:gd name="connsiteY592" fmla="*/ 700732 h 6706386"/>
              <a:gd name="connsiteX593" fmla="*/ 2840166 w 9907829"/>
              <a:gd name="connsiteY593" fmla="*/ 766245 h 6706386"/>
              <a:gd name="connsiteX594" fmla="*/ 2774655 w 9907829"/>
              <a:gd name="connsiteY594" fmla="*/ 700732 h 6706386"/>
              <a:gd name="connsiteX595" fmla="*/ 2774657 w 9907829"/>
              <a:gd name="connsiteY595" fmla="*/ 700729 h 6706386"/>
              <a:gd name="connsiteX596" fmla="*/ 2774655 w 9907829"/>
              <a:gd name="connsiteY596" fmla="*/ 700726 h 6706386"/>
              <a:gd name="connsiteX597" fmla="*/ 2840166 w 9907829"/>
              <a:gd name="connsiteY597" fmla="*/ 635213 h 6706386"/>
              <a:gd name="connsiteX598" fmla="*/ 9524387 w 9907829"/>
              <a:gd name="connsiteY598" fmla="*/ 601816 h 6706386"/>
              <a:gd name="connsiteX599" fmla="*/ 9623299 w 9907829"/>
              <a:gd name="connsiteY599" fmla="*/ 700727 h 6706386"/>
              <a:gd name="connsiteX600" fmla="*/ 9623298 w 9907829"/>
              <a:gd name="connsiteY600" fmla="*/ 700731 h 6706386"/>
              <a:gd name="connsiteX601" fmla="*/ 9623299 w 9907829"/>
              <a:gd name="connsiteY601" fmla="*/ 700734 h 6706386"/>
              <a:gd name="connsiteX602" fmla="*/ 9524387 w 9907829"/>
              <a:gd name="connsiteY602" fmla="*/ 799647 h 6706386"/>
              <a:gd name="connsiteX603" fmla="*/ 9425476 w 9907829"/>
              <a:gd name="connsiteY603" fmla="*/ 700734 h 6706386"/>
              <a:gd name="connsiteX604" fmla="*/ 9425477 w 9907829"/>
              <a:gd name="connsiteY604" fmla="*/ 700731 h 6706386"/>
              <a:gd name="connsiteX605" fmla="*/ 9425476 w 9907829"/>
              <a:gd name="connsiteY605" fmla="*/ 700727 h 6706386"/>
              <a:gd name="connsiteX606" fmla="*/ 9524387 w 9907829"/>
              <a:gd name="connsiteY606" fmla="*/ 601816 h 6706386"/>
              <a:gd name="connsiteX607" fmla="*/ 3397667 w 9907829"/>
              <a:gd name="connsiteY607" fmla="*/ 601815 h 6706386"/>
              <a:gd name="connsiteX608" fmla="*/ 3496579 w 9907829"/>
              <a:gd name="connsiteY608" fmla="*/ 700726 h 6706386"/>
              <a:gd name="connsiteX609" fmla="*/ 3496579 w 9907829"/>
              <a:gd name="connsiteY609" fmla="*/ 700729 h 6706386"/>
              <a:gd name="connsiteX610" fmla="*/ 3496579 w 9907829"/>
              <a:gd name="connsiteY610" fmla="*/ 700733 h 6706386"/>
              <a:gd name="connsiteX611" fmla="*/ 3397667 w 9907829"/>
              <a:gd name="connsiteY611" fmla="*/ 799643 h 6706386"/>
              <a:gd name="connsiteX612" fmla="*/ 3383469 w 9907829"/>
              <a:gd name="connsiteY612" fmla="*/ 796774 h 6706386"/>
              <a:gd name="connsiteX613" fmla="*/ 3359090 w 9907829"/>
              <a:gd name="connsiteY613" fmla="*/ 791860 h 6706386"/>
              <a:gd name="connsiteX614" fmla="*/ 3306263 w 9907829"/>
              <a:gd name="connsiteY614" fmla="*/ 739212 h 6706386"/>
              <a:gd name="connsiteX615" fmla="*/ 3298794 w 9907829"/>
              <a:gd name="connsiteY615" fmla="*/ 700922 h 6706386"/>
              <a:gd name="connsiteX616" fmla="*/ 3298756 w 9907829"/>
              <a:gd name="connsiteY616" fmla="*/ 700733 h 6706386"/>
              <a:gd name="connsiteX617" fmla="*/ 3298757 w 9907829"/>
              <a:gd name="connsiteY617" fmla="*/ 700729 h 6706386"/>
              <a:gd name="connsiteX618" fmla="*/ 3298756 w 9907829"/>
              <a:gd name="connsiteY618" fmla="*/ 700726 h 6706386"/>
              <a:gd name="connsiteX619" fmla="*/ 3298794 w 9907829"/>
              <a:gd name="connsiteY619" fmla="*/ 700536 h 6706386"/>
              <a:gd name="connsiteX620" fmla="*/ 3306263 w 9907829"/>
              <a:gd name="connsiteY620" fmla="*/ 662246 h 6706386"/>
              <a:gd name="connsiteX621" fmla="*/ 3359090 w 9907829"/>
              <a:gd name="connsiteY621" fmla="*/ 609599 h 6706386"/>
              <a:gd name="connsiteX622" fmla="*/ 3382942 w 9907829"/>
              <a:gd name="connsiteY622" fmla="*/ 604790 h 6706386"/>
              <a:gd name="connsiteX623" fmla="*/ 8967528 w 9907829"/>
              <a:gd name="connsiteY623" fmla="*/ 560709 h 6706386"/>
              <a:gd name="connsiteX624" fmla="*/ 9107546 w 9907829"/>
              <a:gd name="connsiteY624" fmla="*/ 700727 h 6706386"/>
              <a:gd name="connsiteX625" fmla="*/ 9107545 w 9907829"/>
              <a:gd name="connsiteY625" fmla="*/ 700731 h 6706386"/>
              <a:gd name="connsiteX626" fmla="*/ 9107546 w 9907829"/>
              <a:gd name="connsiteY626" fmla="*/ 700734 h 6706386"/>
              <a:gd name="connsiteX627" fmla="*/ 8967528 w 9907829"/>
              <a:gd name="connsiteY627" fmla="*/ 840753 h 6706386"/>
              <a:gd name="connsiteX628" fmla="*/ 8827512 w 9907829"/>
              <a:gd name="connsiteY628" fmla="*/ 700734 h 6706386"/>
              <a:gd name="connsiteX629" fmla="*/ 8827513 w 9907829"/>
              <a:gd name="connsiteY629" fmla="*/ 700731 h 6706386"/>
              <a:gd name="connsiteX630" fmla="*/ 8827512 w 9907829"/>
              <a:gd name="connsiteY630" fmla="*/ 700727 h 6706386"/>
              <a:gd name="connsiteX631" fmla="*/ 8827837 w 9907829"/>
              <a:gd name="connsiteY631" fmla="*/ 699122 h 6706386"/>
              <a:gd name="connsiteX632" fmla="*/ 8838551 w 9907829"/>
              <a:gd name="connsiteY632" fmla="*/ 646071 h 6706386"/>
              <a:gd name="connsiteX633" fmla="*/ 8913135 w 9907829"/>
              <a:gd name="connsiteY633" fmla="*/ 571667 h 6706386"/>
              <a:gd name="connsiteX634" fmla="*/ 8962419 w 9907829"/>
              <a:gd name="connsiteY634" fmla="*/ 561746 h 6706386"/>
              <a:gd name="connsiteX635" fmla="*/ 3954526 w 9907829"/>
              <a:gd name="connsiteY635" fmla="*/ 560708 h 6706386"/>
              <a:gd name="connsiteX636" fmla="*/ 4094542 w 9907829"/>
              <a:gd name="connsiteY636" fmla="*/ 700726 h 6706386"/>
              <a:gd name="connsiteX637" fmla="*/ 4094542 w 9907829"/>
              <a:gd name="connsiteY637" fmla="*/ 700729 h 6706386"/>
              <a:gd name="connsiteX638" fmla="*/ 4094542 w 9907829"/>
              <a:gd name="connsiteY638" fmla="*/ 700733 h 6706386"/>
              <a:gd name="connsiteX639" fmla="*/ 3954526 w 9907829"/>
              <a:gd name="connsiteY639" fmla="*/ 840752 h 6706386"/>
              <a:gd name="connsiteX640" fmla="*/ 3814508 w 9907829"/>
              <a:gd name="connsiteY640" fmla="*/ 700733 h 6706386"/>
              <a:gd name="connsiteX641" fmla="*/ 3814509 w 9907829"/>
              <a:gd name="connsiteY641" fmla="*/ 700729 h 6706386"/>
              <a:gd name="connsiteX642" fmla="*/ 3814508 w 9907829"/>
              <a:gd name="connsiteY642" fmla="*/ 700726 h 6706386"/>
              <a:gd name="connsiteX643" fmla="*/ 3814798 w 9907829"/>
              <a:gd name="connsiteY643" fmla="*/ 699297 h 6706386"/>
              <a:gd name="connsiteX644" fmla="*/ 3825547 w 9907829"/>
              <a:gd name="connsiteY644" fmla="*/ 646068 h 6706386"/>
              <a:gd name="connsiteX645" fmla="*/ 3900132 w 9907829"/>
              <a:gd name="connsiteY645" fmla="*/ 571664 h 6706386"/>
              <a:gd name="connsiteX646" fmla="*/ 3950168 w 9907829"/>
              <a:gd name="connsiteY646" fmla="*/ 561592 h 6706386"/>
              <a:gd name="connsiteX647" fmla="*/ 8410672 w 9907829"/>
              <a:gd name="connsiteY647" fmla="*/ 526027 h 6706386"/>
              <a:gd name="connsiteX648" fmla="*/ 8585372 w 9907829"/>
              <a:gd name="connsiteY648" fmla="*/ 700727 h 6706386"/>
              <a:gd name="connsiteX649" fmla="*/ 8585371 w 9907829"/>
              <a:gd name="connsiteY649" fmla="*/ 700731 h 6706386"/>
              <a:gd name="connsiteX650" fmla="*/ 8585372 w 9907829"/>
              <a:gd name="connsiteY650" fmla="*/ 700734 h 6706386"/>
              <a:gd name="connsiteX651" fmla="*/ 8410672 w 9907829"/>
              <a:gd name="connsiteY651" fmla="*/ 875437 h 6706386"/>
              <a:gd name="connsiteX652" fmla="*/ 8235971 w 9907829"/>
              <a:gd name="connsiteY652" fmla="*/ 700734 h 6706386"/>
              <a:gd name="connsiteX653" fmla="*/ 8235973 w 9907829"/>
              <a:gd name="connsiteY653" fmla="*/ 700731 h 6706386"/>
              <a:gd name="connsiteX654" fmla="*/ 8235971 w 9907829"/>
              <a:gd name="connsiteY654" fmla="*/ 700727 h 6706386"/>
              <a:gd name="connsiteX655" fmla="*/ 8410672 w 9907829"/>
              <a:gd name="connsiteY655" fmla="*/ 526027 h 6706386"/>
              <a:gd name="connsiteX656" fmla="*/ 4511383 w 9907829"/>
              <a:gd name="connsiteY656" fmla="*/ 523456 h 6706386"/>
              <a:gd name="connsiteX657" fmla="*/ 4525910 w 9907829"/>
              <a:gd name="connsiteY657" fmla="*/ 526391 h 6706386"/>
              <a:gd name="connsiteX658" fmla="*/ 4580269 w 9907829"/>
              <a:gd name="connsiteY658" fmla="*/ 537344 h 6706386"/>
              <a:gd name="connsiteX659" fmla="*/ 4580329 w 9907829"/>
              <a:gd name="connsiteY659" fmla="*/ 537384 h 6706386"/>
              <a:gd name="connsiteX660" fmla="*/ 4580539 w 9907829"/>
              <a:gd name="connsiteY660" fmla="*/ 537427 h 6706386"/>
              <a:gd name="connsiteX661" fmla="*/ 4613420 w 9907829"/>
              <a:gd name="connsiteY661" fmla="*/ 559640 h 6706386"/>
              <a:gd name="connsiteX662" fmla="*/ 4636628 w 9907829"/>
              <a:gd name="connsiteY662" fmla="*/ 575248 h 6706386"/>
              <a:gd name="connsiteX663" fmla="*/ 4636716 w 9907829"/>
              <a:gd name="connsiteY663" fmla="*/ 575377 h 6706386"/>
              <a:gd name="connsiteX664" fmla="*/ 4636869 w 9907829"/>
              <a:gd name="connsiteY664" fmla="*/ 575481 h 6706386"/>
              <a:gd name="connsiteX665" fmla="*/ 4655387 w 9907829"/>
              <a:gd name="connsiteY665" fmla="*/ 603014 h 6706386"/>
              <a:gd name="connsiteX666" fmla="*/ 4674683 w 9907829"/>
              <a:gd name="connsiteY666" fmla="*/ 631578 h 6706386"/>
              <a:gd name="connsiteX667" fmla="*/ 4674721 w 9907829"/>
              <a:gd name="connsiteY667" fmla="*/ 631762 h 6706386"/>
              <a:gd name="connsiteX668" fmla="*/ 4674773 w 9907829"/>
              <a:gd name="connsiteY668" fmla="*/ 631841 h 6706386"/>
              <a:gd name="connsiteX669" fmla="*/ 4688653 w 9907829"/>
              <a:gd name="connsiteY669" fmla="*/ 700726 h 6706386"/>
              <a:gd name="connsiteX670" fmla="*/ 4688653 w 9907829"/>
              <a:gd name="connsiteY670" fmla="*/ 700729 h 6706386"/>
              <a:gd name="connsiteX671" fmla="*/ 4688653 w 9907829"/>
              <a:gd name="connsiteY671" fmla="*/ 700733 h 6706386"/>
              <a:gd name="connsiteX672" fmla="*/ 4674773 w 9907829"/>
              <a:gd name="connsiteY672" fmla="*/ 769618 h 6706386"/>
              <a:gd name="connsiteX673" fmla="*/ 4674721 w 9907829"/>
              <a:gd name="connsiteY673" fmla="*/ 769698 h 6706386"/>
              <a:gd name="connsiteX674" fmla="*/ 4674683 w 9907829"/>
              <a:gd name="connsiteY674" fmla="*/ 769882 h 6706386"/>
              <a:gd name="connsiteX675" fmla="*/ 4655424 w 9907829"/>
              <a:gd name="connsiteY675" fmla="*/ 798388 h 6706386"/>
              <a:gd name="connsiteX676" fmla="*/ 4636869 w 9907829"/>
              <a:gd name="connsiteY676" fmla="*/ 825980 h 6706386"/>
              <a:gd name="connsiteX677" fmla="*/ 4636716 w 9907829"/>
              <a:gd name="connsiteY677" fmla="*/ 826084 h 6706386"/>
              <a:gd name="connsiteX678" fmla="*/ 4636628 w 9907829"/>
              <a:gd name="connsiteY678" fmla="*/ 826212 h 6706386"/>
              <a:gd name="connsiteX679" fmla="*/ 4613620 w 9907829"/>
              <a:gd name="connsiteY679" fmla="*/ 841687 h 6706386"/>
              <a:gd name="connsiteX680" fmla="*/ 4580539 w 9907829"/>
              <a:gd name="connsiteY680" fmla="*/ 864035 h 6706386"/>
              <a:gd name="connsiteX681" fmla="*/ 4580326 w 9907829"/>
              <a:gd name="connsiteY681" fmla="*/ 864079 h 6706386"/>
              <a:gd name="connsiteX682" fmla="*/ 4580269 w 9907829"/>
              <a:gd name="connsiteY682" fmla="*/ 864118 h 6706386"/>
              <a:gd name="connsiteX683" fmla="*/ 4527549 w 9907829"/>
              <a:gd name="connsiteY683" fmla="*/ 874740 h 6706386"/>
              <a:gd name="connsiteX684" fmla="*/ 4511383 w 9907829"/>
              <a:gd name="connsiteY684" fmla="*/ 878004 h 6706386"/>
              <a:gd name="connsiteX685" fmla="*/ 4334114 w 9907829"/>
              <a:gd name="connsiteY685" fmla="*/ 700733 h 6706386"/>
              <a:gd name="connsiteX686" fmla="*/ 4334115 w 9907829"/>
              <a:gd name="connsiteY686" fmla="*/ 700729 h 6706386"/>
              <a:gd name="connsiteX687" fmla="*/ 4334114 w 9907829"/>
              <a:gd name="connsiteY687" fmla="*/ 700726 h 6706386"/>
              <a:gd name="connsiteX688" fmla="*/ 4511383 w 9907829"/>
              <a:gd name="connsiteY688" fmla="*/ 523456 h 6706386"/>
              <a:gd name="connsiteX689" fmla="*/ 7853813 w 9907829"/>
              <a:gd name="connsiteY689" fmla="*/ 495840 h 6706386"/>
              <a:gd name="connsiteX690" fmla="*/ 8058701 w 9907829"/>
              <a:gd name="connsiteY690" fmla="*/ 700727 h 6706386"/>
              <a:gd name="connsiteX691" fmla="*/ 8058699 w 9907829"/>
              <a:gd name="connsiteY691" fmla="*/ 700731 h 6706386"/>
              <a:gd name="connsiteX692" fmla="*/ 8058701 w 9907829"/>
              <a:gd name="connsiteY692" fmla="*/ 700734 h 6706386"/>
              <a:gd name="connsiteX693" fmla="*/ 7853813 w 9907829"/>
              <a:gd name="connsiteY693" fmla="*/ 905624 h 6706386"/>
              <a:gd name="connsiteX694" fmla="*/ 7840604 w 9907829"/>
              <a:gd name="connsiteY694" fmla="*/ 902954 h 6706386"/>
              <a:gd name="connsiteX695" fmla="*/ 7773839 w 9907829"/>
              <a:gd name="connsiteY695" fmla="*/ 889499 h 6706386"/>
              <a:gd name="connsiteX696" fmla="*/ 7664953 w 9907829"/>
              <a:gd name="connsiteY696" fmla="*/ 780429 h 6706386"/>
              <a:gd name="connsiteX697" fmla="*/ 7649199 w 9907829"/>
              <a:gd name="connsiteY697" fmla="*/ 702084 h 6706386"/>
              <a:gd name="connsiteX698" fmla="*/ 7648926 w 9907829"/>
              <a:gd name="connsiteY698" fmla="*/ 700734 h 6706386"/>
              <a:gd name="connsiteX699" fmla="*/ 7648927 w 9907829"/>
              <a:gd name="connsiteY699" fmla="*/ 700731 h 6706386"/>
              <a:gd name="connsiteX700" fmla="*/ 7648926 w 9907829"/>
              <a:gd name="connsiteY700" fmla="*/ 700727 h 6706386"/>
              <a:gd name="connsiteX701" fmla="*/ 7649199 w 9907829"/>
              <a:gd name="connsiteY701" fmla="*/ 699377 h 6706386"/>
              <a:gd name="connsiteX702" fmla="*/ 7664953 w 9907829"/>
              <a:gd name="connsiteY702" fmla="*/ 621032 h 6706386"/>
              <a:gd name="connsiteX703" fmla="*/ 7773839 w 9907829"/>
              <a:gd name="connsiteY703" fmla="*/ 511965 h 6706386"/>
              <a:gd name="connsiteX704" fmla="*/ 7842361 w 9907829"/>
              <a:gd name="connsiteY704" fmla="*/ 498155 h 6706386"/>
              <a:gd name="connsiteX705" fmla="*/ 5068241 w 9907829"/>
              <a:gd name="connsiteY705" fmla="*/ 493269 h 6706386"/>
              <a:gd name="connsiteX706" fmla="*/ 5275698 w 9907829"/>
              <a:gd name="connsiteY706" fmla="*/ 700726 h 6706386"/>
              <a:gd name="connsiteX707" fmla="*/ 5275697 w 9907829"/>
              <a:gd name="connsiteY707" fmla="*/ 700729 h 6706386"/>
              <a:gd name="connsiteX708" fmla="*/ 5275698 w 9907829"/>
              <a:gd name="connsiteY708" fmla="*/ 700733 h 6706386"/>
              <a:gd name="connsiteX709" fmla="*/ 5068241 w 9907829"/>
              <a:gd name="connsiteY709" fmla="*/ 908192 h 6706386"/>
              <a:gd name="connsiteX710" fmla="*/ 4860783 w 9907829"/>
              <a:gd name="connsiteY710" fmla="*/ 700733 h 6706386"/>
              <a:gd name="connsiteX711" fmla="*/ 4860785 w 9907829"/>
              <a:gd name="connsiteY711" fmla="*/ 700729 h 6706386"/>
              <a:gd name="connsiteX712" fmla="*/ 4860783 w 9907829"/>
              <a:gd name="connsiteY712" fmla="*/ 700726 h 6706386"/>
              <a:gd name="connsiteX713" fmla="*/ 4861236 w 9907829"/>
              <a:gd name="connsiteY713" fmla="*/ 698502 h 6706386"/>
              <a:gd name="connsiteX714" fmla="*/ 4877122 w 9907829"/>
              <a:gd name="connsiteY714" fmla="*/ 619816 h 6706386"/>
              <a:gd name="connsiteX715" fmla="*/ 4987595 w 9907829"/>
              <a:gd name="connsiteY715" fmla="*/ 509525 h 6706386"/>
              <a:gd name="connsiteX716" fmla="*/ 5061344 w 9907829"/>
              <a:gd name="connsiteY716" fmla="*/ 494667 h 6706386"/>
              <a:gd name="connsiteX717" fmla="*/ 7296313 w 9907829"/>
              <a:gd name="connsiteY717" fmla="*/ 471433 h 6706386"/>
              <a:gd name="connsiteX718" fmla="*/ 7525607 w 9907829"/>
              <a:gd name="connsiteY718" fmla="*/ 700727 h 6706386"/>
              <a:gd name="connsiteX719" fmla="*/ 7525605 w 9907829"/>
              <a:gd name="connsiteY719" fmla="*/ 700731 h 6706386"/>
              <a:gd name="connsiteX720" fmla="*/ 7525607 w 9907829"/>
              <a:gd name="connsiteY720" fmla="*/ 700734 h 6706386"/>
              <a:gd name="connsiteX721" fmla="*/ 7296313 w 9907829"/>
              <a:gd name="connsiteY721" fmla="*/ 930031 h 6706386"/>
              <a:gd name="connsiteX722" fmla="*/ 7067019 w 9907829"/>
              <a:gd name="connsiteY722" fmla="*/ 700734 h 6706386"/>
              <a:gd name="connsiteX723" fmla="*/ 7067020 w 9907829"/>
              <a:gd name="connsiteY723" fmla="*/ 700731 h 6706386"/>
              <a:gd name="connsiteX724" fmla="*/ 7067019 w 9907829"/>
              <a:gd name="connsiteY724" fmla="*/ 700727 h 6706386"/>
              <a:gd name="connsiteX725" fmla="*/ 7296313 w 9907829"/>
              <a:gd name="connsiteY725" fmla="*/ 471433 h 6706386"/>
              <a:gd name="connsiteX726" fmla="*/ 5625740 w 9907829"/>
              <a:gd name="connsiteY726" fmla="*/ 471431 h 6706386"/>
              <a:gd name="connsiteX727" fmla="*/ 5855035 w 9907829"/>
              <a:gd name="connsiteY727" fmla="*/ 700726 h 6706386"/>
              <a:gd name="connsiteX728" fmla="*/ 5855033 w 9907829"/>
              <a:gd name="connsiteY728" fmla="*/ 700729 h 6706386"/>
              <a:gd name="connsiteX729" fmla="*/ 5855035 w 9907829"/>
              <a:gd name="connsiteY729" fmla="*/ 700734 h 6706386"/>
              <a:gd name="connsiteX730" fmla="*/ 5625740 w 9907829"/>
              <a:gd name="connsiteY730" fmla="*/ 930031 h 6706386"/>
              <a:gd name="connsiteX731" fmla="*/ 5602468 w 9907829"/>
              <a:gd name="connsiteY731" fmla="*/ 927681 h 6706386"/>
              <a:gd name="connsiteX732" fmla="*/ 5579376 w 9907829"/>
              <a:gd name="connsiteY732" fmla="*/ 925359 h 6706386"/>
              <a:gd name="connsiteX733" fmla="*/ 5414389 w 9907829"/>
              <a:gd name="connsiteY733" fmla="*/ 789933 h 6706386"/>
              <a:gd name="connsiteX734" fmla="*/ 5396752 w 9907829"/>
              <a:gd name="connsiteY734" fmla="*/ 702248 h 6706386"/>
              <a:gd name="connsiteX735" fmla="*/ 5396446 w 9907829"/>
              <a:gd name="connsiteY735" fmla="*/ 700734 h 6706386"/>
              <a:gd name="connsiteX736" fmla="*/ 5396447 w 9907829"/>
              <a:gd name="connsiteY736" fmla="*/ 700729 h 6706386"/>
              <a:gd name="connsiteX737" fmla="*/ 5396446 w 9907829"/>
              <a:gd name="connsiteY737" fmla="*/ 700726 h 6706386"/>
              <a:gd name="connsiteX738" fmla="*/ 5396751 w 9907829"/>
              <a:gd name="connsiteY738" fmla="*/ 699216 h 6706386"/>
              <a:gd name="connsiteX739" fmla="*/ 5414389 w 9907829"/>
              <a:gd name="connsiteY739" fmla="*/ 611527 h 6706386"/>
              <a:gd name="connsiteX740" fmla="*/ 5579376 w 9907829"/>
              <a:gd name="connsiteY740" fmla="*/ 476103 h 6706386"/>
              <a:gd name="connsiteX741" fmla="*/ 5606191 w 9907829"/>
              <a:gd name="connsiteY741" fmla="*/ 473405 h 6706386"/>
              <a:gd name="connsiteX742" fmla="*/ 6181956 w 9907829"/>
              <a:gd name="connsiteY742" fmla="*/ 461149 h 6706386"/>
              <a:gd name="connsiteX743" fmla="*/ 6421527 w 9907829"/>
              <a:gd name="connsiteY743" fmla="*/ 700721 h 6706386"/>
              <a:gd name="connsiteX744" fmla="*/ 6254533 w 9907829"/>
              <a:gd name="connsiteY744" fmla="*/ 929373 h 6706386"/>
              <a:gd name="connsiteX745" fmla="*/ 6460706 w 9907829"/>
              <a:gd name="connsiteY745" fmla="*/ 1069390 h 6706386"/>
              <a:gd name="connsiteX746" fmla="*/ 6666879 w 9907829"/>
              <a:gd name="connsiteY746" fmla="*/ 929373 h 6706386"/>
              <a:gd name="connsiteX747" fmla="*/ 6499885 w 9907829"/>
              <a:gd name="connsiteY747" fmla="*/ 700721 h 6706386"/>
              <a:gd name="connsiteX748" fmla="*/ 6738813 w 9907829"/>
              <a:gd name="connsiteY748" fmla="*/ 461149 h 6706386"/>
              <a:gd name="connsiteX749" fmla="*/ 6978385 w 9907829"/>
              <a:gd name="connsiteY749" fmla="*/ 700721 h 6706386"/>
              <a:gd name="connsiteX750" fmla="*/ 6811392 w 9907829"/>
              <a:gd name="connsiteY750" fmla="*/ 929373 h 6706386"/>
              <a:gd name="connsiteX751" fmla="*/ 7023345 w 9907829"/>
              <a:gd name="connsiteY751" fmla="*/ 1077739 h 6706386"/>
              <a:gd name="connsiteX752" fmla="*/ 7296315 w 9907829"/>
              <a:gd name="connsiteY752" fmla="*/ 930657 h 6706386"/>
              <a:gd name="connsiteX753" fmla="*/ 7587268 w 9907829"/>
              <a:gd name="connsiteY753" fmla="*/ 1107927 h 6706386"/>
              <a:gd name="connsiteX754" fmla="*/ 7853172 w 9907829"/>
              <a:gd name="connsiteY754" fmla="*/ 952495 h 6706386"/>
              <a:gd name="connsiteX755" fmla="*/ 8149905 w 9907829"/>
              <a:gd name="connsiteY755" fmla="*/ 1185001 h 6706386"/>
              <a:gd name="connsiteX756" fmla="*/ 8410029 w 9907829"/>
              <a:gd name="connsiteY756" fmla="*/ 987177 h 6706386"/>
              <a:gd name="connsiteX757" fmla="*/ 8680430 w 9907829"/>
              <a:gd name="connsiteY757" fmla="*/ 1257578 h 6706386"/>
              <a:gd name="connsiteX758" fmla="*/ 8552616 w 9907829"/>
              <a:gd name="connsiteY758" fmla="*/ 1487515 h 6706386"/>
              <a:gd name="connsiteX759" fmla="*/ 8714472 w 9907829"/>
              <a:gd name="connsiteY759" fmla="*/ 1628817 h 6706386"/>
              <a:gd name="connsiteX760" fmla="*/ 8966887 w 9907829"/>
              <a:gd name="connsiteY760" fmla="*/ 1501646 h 6706386"/>
              <a:gd name="connsiteX761" fmla="*/ 9274540 w 9907829"/>
              <a:gd name="connsiteY761" fmla="*/ 1754704 h 6706386"/>
              <a:gd name="connsiteX762" fmla="*/ 9523745 w 9907829"/>
              <a:gd name="connsiteY762" fmla="*/ 1558166 h 6706386"/>
              <a:gd name="connsiteX763" fmla="*/ 9780658 w 9907829"/>
              <a:gd name="connsiteY763" fmla="*/ 1815078 h 6706386"/>
              <a:gd name="connsiteX764" fmla="*/ 9616877 w 9907829"/>
              <a:gd name="connsiteY764" fmla="*/ 2054007 h 6706386"/>
              <a:gd name="connsiteX765" fmla="*/ 9835252 w 9907829"/>
              <a:gd name="connsiteY765" fmla="*/ 2258894 h 6706386"/>
              <a:gd name="connsiteX766" fmla="*/ 9907186 w 9907829"/>
              <a:gd name="connsiteY766" fmla="*/ 2165122 h 6706386"/>
              <a:gd name="connsiteX767" fmla="*/ 9907186 w 9907829"/>
              <a:gd name="connsiteY767" fmla="*/ 6706386 h 6706386"/>
              <a:gd name="connsiteX768" fmla="*/ 1456023 w 9907829"/>
              <a:gd name="connsiteY768" fmla="*/ 6706386 h 6706386"/>
              <a:gd name="connsiteX769" fmla="*/ 1475320 w 9907829"/>
              <a:gd name="connsiteY769" fmla="*/ 6664783 h 6706386"/>
              <a:gd name="connsiteX770" fmla="*/ 1600564 w 9907829"/>
              <a:gd name="connsiteY770" fmla="*/ 6556398 h 6706386"/>
              <a:gd name="connsiteX771" fmla="*/ 1414303 w 9907829"/>
              <a:gd name="connsiteY771" fmla="*/ 6270583 h 6706386"/>
              <a:gd name="connsiteX772" fmla="*/ 1583865 w 9907829"/>
              <a:gd name="connsiteY772" fmla="*/ 5993117 h 6706386"/>
              <a:gd name="connsiteX773" fmla="*/ 1412376 w 9907829"/>
              <a:gd name="connsiteY773" fmla="*/ 5713725 h 6706386"/>
              <a:gd name="connsiteX774" fmla="*/ 1587719 w 9907829"/>
              <a:gd name="connsiteY774" fmla="*/ 5432406 h 6706386"/>
              <a:gd name="connsiteX775" fmla="*/ 1418157 w 9907829"/>
              <a:gd name="connsiteY775" fmla="*/ 5156867 h 6706386"/>
              <a:gd name="connsiteX776" fmla="*/ 1622402 w 9907829"/>
              <a:gd name="connsiteY776" fmla="*/ 4866556 h 6706386"/>
              <a:gd name="connsiteX777" fmla="*/ 1439994 w 9907829"/>
              <a:gd name="connsiteY777" fmla="*/ 4600009 h 6706386"/>
              <a:gd name="connsiteX778" fmla="*/ 1726452 w 9907829"/>
              <a:gd name="connsiteY778" fmla="*/ 4313552 h 6706386"/>
              <a:gd name="connsiteX779" fmla="*/ 1952535 w 9907829"/>
              <a:gd name="connsiteY779" fmla="*/ 4424666 h 6706386"/>
              <a:gd name="connsiteX780" fmla="*/ 2056584 w 9907829"/>
              <a:gd name="connsiteY780" fmla="*/ 4301991 h 6706386"/>
              <a:gd name="connsiteX781" fmla="*/ 1957032 w 9907829"/>
              <a:gd name="connsiteY781" fmla="*/ 4152981 h 6706386"/>
              <a:gd name="connsiteX782" fmla="*/ 1726452 w 9907829"/>
              <a:gd name="connsiteY782" fmla="*/ 4298780 h 6706386"/>
              <a:gd name="connsiteX783" fmla="*/ 1470824 w 9907829"/>
              <a:gd name="connsiteY783" fmla="*/ 4043152 h 6706386"/>
              <a:gd name="connsiteX784" fmla="*/ 1726452 w 9907829"/>
              <a:gd name="connsiteY784" fmla="*/ 3787524 h 6706386"/>
              <a:gd name="connsiteX785" fmla="*/ 1957032 w 9907829"/>
              <a:gd name="connsiteY785" fmla="*/ 3933321 h 6706386"/>
              <a:gd name="connsiteX786" fmla="*/ 2116959 w 9907829"/>
              <a:gd name="connsiteY786" fmla="*/ 3741280 h 6706386"/>
              <a:gd name="connsiteX787" fmla="*/ 1978227 w 9907829"/>
              <a:gd name="connsiteY787" fmla="*/ 3485652 h 6706386"/>
              <a:gd name="connsiteX788" fmla="*/ 2283309 w 9907829"/>
              <a:gd name="connsiteY788" fmla="*/ 3180568 h 6706386"/>
              <a:gd name="connsiteX789" fmla="*/ 2516458 w 9907829"/>
              <a:gd name="connsiteY789" fmla="*/ 3289114 h 6706386"/>
              <a:gd name="connsiteX790" fmla="*/ 2622434 w 9907829"/>
              <a:gd name="connsiteY790" fmla="*/ 3177999 h 6706386"/>
              <a:gd name="connsiteX791" fmla="*/ 2520311 w 9907829"/>
              <a:gd name="connsiteY791" fmla="*/ 3009721 h 6706386"/>
              <a:gd name="connsiteX792" fmla="*/ 2283309 w 9907829"/>
              <a:gd name="connsiteY792" fmla="*/ 3180568 h 6706386"/>
              <a:gd name="connsiteX793" fmla="*/ 2032820 w 9907829"/>
              <a:gd name="connsiteY793" fmla="*/ 2930079 h 6706386"/>
              <a:gd name="connsiteX794" fmla="*/ 2283309 w 9907829"/>
              <a:gd name="connsiteY794" fmla="*/ 2679589 h 6706386"/>
              <a:gd name="connsiteX795" fmla="*/ 2520311 w 9907829"/>
              <a:gd name="connsiteY795" fmla="*/ 2850436 h 6706386"/>
              <a:gd name="connsiteX796" fmla="*/ 2732265 w 9907829"/>
              <a:gd name="connsiteY796" fmla="*/ 2617930 h 6706386"/>
              <a:gd name="connsiteX797" fmla="*/ 2571694 w 9907829"/>
              <a:gd name="connsiteY797" fmla="*/ 2371936 h 6706386"/>
              <a:gd name="connsiteX798" fmla="*/ 2840168 w 9907829"/>
              <a:gd name="connsiteY798" fmla="*/ 2103463 h 6706386"/>
              <a:gd name="connsiteX799" fmla="*/ 3084876 w 9907829"/>
              <a:gd name="connsiteY799" fmla="*/ 2261464 h 6706386"/>
              <a:gd name="connsiteX800" fmla="*/ 3303897 w 9907829"/>
              <a:gd name="connsiteY800" fmla="*/ 2054007 h 6706386"/>
              <a:gd name="connsiteX801" fmla="*/ 3140113 w 9907829"/>
              <a:gd name="connsiteY801" fmla="*/ 1815078 h 6706386"/>
              <a:gd name="connsiteX802" fmla="*/ 3397026 w 9907829"/>
              <a:gd name="connsiteY802" fmla="*/ 1558166 h 6706386"/>
              <a:gd name="connsiteX803" fmla="*/ 3646231 w 9907829"/>
              <a:gd name="connsiteY803" fmla="*/ 1754704 h 6706386"/>
              <a:gd name="connsiteX804" fmla="*/ 3953882 w 9907829"/>
              <a:gd name="connsiteY804" fmla="*/ 1501646 h 6706386"/>
              <a:gd name="connsiteX805" fmla="*/ 4206301 w 9907829"/>
              <a:gd name="connsiteY805" fmla="*/ 1628817 h 6706386"/>
              <a:gd name="connsiteX806" fmla="*/ 4368154 w 9907829"/>
              <a:gd name="connsiteY806" fmla="*/ 1487515 h 6706386"/>
              <a:gd name="connsiteX807" fmla="*/ 4240341 w 9907829"/>
              <a:gd name="connsiteY807" fmla="*/ 1257578 h 6706386"/>
              <a:gd name="connsiteX808" fmla="*/ 4510741 w 9907829"/>
              <a:gd name="connsiteY808" fmla="*/ 987177 h 6706386"/>
              <a:gd name="connsiteX809" fmla="*/ 4770864 w 9907829"/>
              <a:gd name="connsiteY809" fmla="*/ 1185001 h 6706386"/>
              <a:gd name="connsiteX810" fmla="*/ 5067599 w 9907829"/>
              <a:gd name="connsiteY810" fmla="*/ 952495 h 6706386"/>
              <a:gd name="connsiteX811" fmla="*/ 5333505 w 9907829"/>
              <a:gd name="connsiteY811" fmla="*/ 1107927 h 6706386"/>
              <a:gd name="connsiteX812" fmla="*/ 5624456 w 9907829"/>
              <a:gd name="connsiteY812" fmla="*/ 930657 h 6706386"/>
              <a:gd name="connsiteX813" fmla="*/ 5897426 w 9907829"/>
              <a:gd name="connsiteY813" fmla="*/ 1077739 h 6706386"/>
              <a:gd name="connsiteX814" fmla="*/ 6109379 w 9907829"/>
              <a:gd name="connsiteY814" fmla="*/ 929373 h 6706386"/>
              <a:gd name="connsiteX815" fmla="*/ 5942386 w 9907829"/>
              <a:gd name="connsiteY815" fmla="*/ 700721 h 6706386"/>
              <a:gd name="connsiteX816" fmla="*/ 6181956 w 9907829"/>
              <a:gd name="connsiteY816" fmla="*/ 461149 h 6706386"/>
              <a:gd name="connsiteX817" fmla="*/ 2840168 w 9907829"/>
              <a:gd name="connsiteY817" fmla="*/ 113689 h 6706386"/>
              <a:gd name="connsiteX818" fmla="*/ 2869713 w 9907829"/>
              <a:gd name="connsiteY818" fmla="*/ 143233 h 6706386"/>
              <a:gd name="connsiteX819" fmla="*/ 2869581 w 9907829"/>
              <a:gd name="connsiteY819" fmla="*/ 143551 h 6706386"/>
              <a:gd name="connsiteX820" fmla="*/ 2869713 w 9907829"/>
              <a:gd name="connsiteY820" fmla="*/ 143871 h 6706386"/>
              <a:gd name="connsiteX821" fmla="*/ 2840168 w 9907829"/>
              <a:gd name="connsiteY821" fmla="*/ 173415 h 6706386"/>
              <a:gd name="connsiteX822" fmla="*/ 2810622 w 9907829"/>
              <a:gd name="connsiteY822" fmla="*/ 143871 h 6706386"/>
              <a:gd name="connsiteX823" fmla="*/ 2810753 w 9907829"/>
              <a:gd name="connsiteY823" fmla="*/ 143551 h 6706386"/>
              <a:gd name="connsiteX824" fmla="*/ 2810622 w 9907829"/>
              <a:gd name="connsiteY824" fmla="*/ 143233 h 6706386"/>
              <a:gd name="connsiteX825" fmla="*/ 2840168 w 9907829"/>
              <a:gd name="connsiteY825" fmla="*/ 113689 h 6706386"/>
              <a:gd name="connsiteX826" fmla="*/ 3397667 w 9907829"/>
              <a:gd name="connsiteY826" fmla="*/ 93779 h 6706386"/>
              <a:gd name="connsiteX827" fmla="*/ 3447123 w 9907829"/>
              <a:gd name="connsiteY827" fmla="*/ 143233 h 6706386"/>
              <a:gd name="connsiteX828" fmla="*/ 3446990 w 9907829"/>
              <a:gd name="connsiteY828" fmla="*/ 143553 h 6706386"/>
              <a:gd name="connsiteX829" fmla="*/ 3447123 w 9907829"/>
              <a:gd name="connsiteY829" fmla="*/ 143871 h 6706386"/>
              <a:gd name="connsiteX830" fmla="*/ 3397667 w 9907829"/>
              <a:gd name="connsiteY830" fmla="*/ 193326 h 6706386"/>
              <a:gd name="connsiteX831" fmla="*/ 3348213 w 9907829"/>
              <a:gd name="connsiteY831" fmla="*/ 143871 h 6706386"/>
              <a:gd name="connsiteX832" fmla="*/ 3348344 w 9907829"/>
              <a:gd name="connsiteY832" fmla="*/ 143553 h 6706386"/>
              <a:gd name="connsiteX833" fmla="*/ 3348213 w 9907829"/>
              <a:gd name="connsiteY833" fmla="*/ 143233 h 6706386"/>
              <a:gd name="connsiteX834" fmla="*/ 3397667 w 9907829"/>
              <a:gd name="connsiteY834" fmla="*/ 93779 h 6706386"/>
              <a:gd name="connsiteX835" fmla="*/ 3954524 w 9907829"/>
              <a:gd name="connsiteY835" fmla="*/ 71299 h 6706386"/>
              <a:gd name="connsiteX836" fmla="*/ 4026460 w 9907829"/>
              <a:gd name="connsiteY836" fmla="*/ 143235 h 6706386"/>
              <a:gd name="connsiteX837" fmla="*/ 4026397 w 9907829"/>
              <a:gd name="connsiteY837" fmla="*/ 143553 h 6706386"/>
              <a:gd name="connsiteX838" fmla="*/ 4026460 w 9907829"/>
              <a:gd name="connsiteY838" fmla="*/ 143871 h 6706386"/>
              <a:gd name="connsiteX839" fmla="*/ 3954524 w 9907829"/>
              <a:gd name="connsiteY839" fmla="*/ 215806 h 6706386"/>
              <a:gd name="connsiteX840" fmla="*/ 3882590 w 9907829"/>
              <a:gd name="connsiteY840" fmla="*/ 143871 h 6706386"/>
              <a:gd name="connsiteX841" fmla="*/ 3882654 w 9907829"/>
              <a:gd name="connsiteY841" fmla="*/ 143553 h 6706386"/>
              <a:gd name="connsiteX842" fmla="*/ 3882590 w 9907829"/>
              <a:gd name="connsiteY842" fmla="*/ 143235 h 6706386"/>
              <a:gd name="connsiteX843" fmla="*/ 3954524 w 9907829"/>
              <a:gd name="connsiteY843" fmla="*/ 71299 h 6706386"/>
              <a:gd name="connsiteX844" fmla="*/ 4511383 w 9907829"/>
              <a:gd name="connsiteY844" fmla="*/ 47529 h 6706386"/>
              <a:gd name="connsiteX845" fmla="*/ 4607725 w 9907829"/>
              <a:gd name="connsiteY845" fmla="*/ 143871 h 6706386"/>
              <a:gd name="connsiteX846" fmla="*/ 4607725 w 9907829"/>
              <a:gd name="connsiteY846" fmla="*/ 143873 h 6706386"/>
              <a:gd name="connsiteX847" fmla="*/ 4607725 w 9907829"/>
              <a:gd name="connsiteY847" fmla="*/ 143877 h 6706386"/>
              <a:gd name="connsiteX848" fmla="*/ 4511383 w 9907829"/>
              <a:gd name="connsiteY848" fmla="*/ 240219 h 6706386"/>
              <a:gd name="connsiteX849" fmla="*/ 4415041 w 9907829"/>
              <a:gd name="connsiteY849" fmla="*/ 143877 h 6706386"/>
              <a:gd name="connsiteX850" fmla="*/ 4415042 w 9907829"/>
              <a:gd name="connsiteY850" fmla="*/ 143873 h 6706386"/>
              <a:gd name="connsiteX851" fmla="*/ 4415041 w 9907829"/>
              <a:gd name="connsiteY851" fmla="*/ 143871 h 6706386"/>
              <a:gd name="connsiteX852" fmla="*/ 4511383 w 9907829"/>
              <a:gd name="connsiteY852" fmla="*/ 47529 h 6706386"/>
              <a:gd name="connsiteX853" fmla="*/ 5068241 w 9907829"/>
              <a:gd name="connsiteY853" fmla="*/ 26334 h 6706386"/>
              <a:gd name="connsiteX854" fmla="*/ 5185778 w 9907829"/>
              <a:gd name="connsiteY854" fmla="*/ 143871 h 6706386"/>
              <a:gd name="connsiteX855" fmla="*/ 5185778 w 9907829"/>
              <a:gd name="connsiteY855" fmla="*/ 143874 h 6706386"/>
              <a:gd name="connsiteX856" fmla="*/ 5185778 w 9907829"/>
              <a:gd name="connsiteY856" fmla="*/ 143877 h 6706386"/>
              <a:gd name="connsiteX857" fmla="*/ 5068241 w 9907829"/>
              <a:gd name="connsiteY857" fmla="*/ 261414 h 6706386"/>
              <a:gd name="connsiteX858" fmla="*/ 4950704 w 9907829"/>
              <a:gd name="connsiteY858" fmla="*/ 143877 h 6706386"/>
              <a:gd name="connsiteX859" fmla="*/ 4950705 w 9907829"/>
              <a:gd name="connsiteY859" fmla="*/ 143874 h 6706386"/>
              <a:gd name="connsiteX860" fmla="*/ 4950704 w 9907829"/>
              <a:gd name="connsiteY860" fmla="*/ 143871 h 6706386"/>
              <a:gd name="connsiteX861" fmla="*/ 4950925 w 9907829"/>
              <a:gd name="connsiteY861" fmla="*/ 142777 h 6706386"/>
              <a:gd name="connsiteX862" fmla="*/ 4959946 w 9907829"/>
              <a:gd name="connsiteY862" fmla="*/ 97875 h 6706386"/>
              <a:gd name="connsiteX863" fmla="*/ 5022508 w 9907829"/>
              <a:gd name="connsiteY863" fmla="*/ 35492 h 6706386"/>
              <a:gd name="connsiteX864" fmla="*/ 5064898 w 9907829"/>
              <a:gd name="connsiteY864" fmla="*/ 27009 h 6706386"/>
              <a:gd name="connsiteX865" fmla="*/ 7296313 w 9907829"/>
              <a:gd name="connsiteY865" fmla="*/ 10283 h 6706386"/>
              <a:gd name="connsiteX866" fmla="*/ 7429266 w 9907829"/>
              <a:gd name="connsiteY866" fmla="*/ 143235 h 6706386"/>
              <a:gd name="connsiteX867" fmla="*/ 7429201 w 9907829"/>
              <a:gd name="connsiteY867" fmla="*/ 143553 h 6706386"/>
              <a:gd name="connsiteX868" fmla="*/ 7429266 w 9907829"/>
              <a:gd name="connsiteY868" fmla="*/ 143871 h 6706386"/>
              <a:gd name="connsiteX869" fmla="*/ 7296313 w 9907829"/>
              <a:gd name="connsiteY869" fmla="*/ 276822 h 6706386"/>
              <a:gd name="connsiteX870" fmla="*/ 7163362 w 9907829"/>
              <a:gd name="connsiteY870" fmla="*/ 143871 h 6706386"/>
              <a:gd name="connsiteX871" fmla="*/ 7163425 w 9907829"/>
              <a:gd name="connsiteY871" fmla="*/ 143553 h 6706386"/>
              <a:gd name="connsiteX872" fmla="*/ 7163362 w 9907829"/>
              <a:gd name="connsiteY872" fmla="*/ 143235 h 6706386"/>
              <a:gd name="connsiteX873" fmla="*/ 7296313 w 9907829"/>
              <a:gd name="connsiteY873" fmla="*/ 10283 h 6706386"/>
              <a:gd name="connsiteX874" fmla="*/ 5625740 w 9907829"/>
              <a:gd name="connsiteY874" fmla="*/ 10283 h 6706386"/>
              <a:gd name="connsiteX875" fmla="*/ 5758691 w 9907829"/>
              <a:gd name="connsiteY875" fmla="*/ 143234 h 6706386"/>
              <a:gd name="connsiteX876" fmla="*/ 5758627 w 9907829"/>
              <a:gd name="connsiteY876" fmla="*/ 143553 h 6706386"/>
              <a:gd name="connsiteX877" fmla="*/ 5758691 w 9907829"/>
              <a:gd name="connsiteY877" fmla="*/ 143871 h 6706386"/>
              <a:gd name="connsiteX878" fmla="*/ 5625740 w 9907829"/>
              <a:gd name="connsiteY878" fmla="*/ 276822 h 6706386"/>
              <a:gd name="connsiteX879" fmla="*/ 5492788 w 9907829"/>
              <a:gd name="connsiteY879" fmla="*/ 143871 h 6706386"/>
              <a:gd name="connsiteX880" fmla="*/ 5492852 w 9907829"/>
              <a:gd name="connsiteY880" fmla="*/ 143553 h 6706386"/>
              <a:gd name="connsiteX881" fmla="*/ 5492788 w 9907829"/>
              <a:gd name="connsiteY881" fmla="*/ 143234 h 6706386"/>
              <a:gd name="connsiteX882" fmla="*/ 5625740 w 9907829"/>
              <a:gd name="connsiteY882" fmla="*/ 10283 h 6706386"/>
              <a:gd name="connsiteX883" fmla="*/ 6182597 w 9907829"/>
              <a:gd name="connsiteY883" fmla="*/ 1 h 6706386"/>
              <a:gd name="connsiteX884" fmla="*/ 6325827 w 9907829"/>
              <a:gd name="connsiteY884" fmla="*/ 143228 h 6706386"/>
              <a:gd name="connsiteX885" fmla="*/ 6325761 w 9907829"/>
              <a:gd name="connsiteY885" fmla="*/ 143553 h 6706386"/>
              <a:gd name="connsiteX886" fmla="*/ 6325827 w 9907829"/>
              <a:gd name="connsiteY886" fmla="*/ 143876 h 6706386"/>
              <a:gd name="connsiteX887" fmla="*/ 6182597 w 9907829"/>
              <a:gd name="connsiteY887" fmla="*/ 287105 h 6706386"/>
              <a:gd name="connsiteX888" fmla="*/ 6039369 w 9907829"/>
              <a:gd name="connsiteY888" fmla="*/ 143876 h 6706386"/>
              <a:gd name="connsiteX889" fmla="*/ 6039435 w 9907829"/>
              <a:gd name="connsiteY889" fmla="*/ 143554 h 6706386"/>
              <a:gd name="connsiteX890" fmla="*/ 6039369 w 9907829"/>
              <a:gd name="connsiteY890" fmla="*/ 143228 h 6706386"/>
              <a:gd name="connsiteX891" fmla="*/ 6182597 w 9907829"/>
              <a:gd name="connsiteY891" fmla="*/ 1 h 6706386"/>
              <a:gd name="connsiteX892" fmla="*/ 6739456 w 9907829"/>
              <a:gd name="connsiteY892" fmla="*/ 0 h 6706386"/>
              <a:gd name="connsiteX893" fmla="*/ 6882684 w 9907829"/>
              <a:gd name="connsiteY893" fmla="*/ 143228 h 6706386"/>
              <a:gd name="connsiteX894" fmla="*/ 6882619 w 9907829"/>
              <a:gd name="connsiteY894" fmla="*/ 143553 h 6706386"/>
              <a:gd name="connsiteX895" fmla="*/ 6882684 w 9907829"/>
              <a:gd name="connsiteY895" fmla="*/ 143877 h 6706386"/>
              <a:gd name="connsiteX896" fmla="*/ 6739456 w 9907829"/>
              <a:gd name="connsiteY896" fmla="*/ 287105 h 6706386"/>
              <a:gd name="connsiteX897" fmla="*/ 6596227 w 9907829"/>
              <a:gd name="connsiteY897" fmla="*/ 143877 h 6706386"/>
              <a:gd name="connsiteX898" fmla="*/ 6596293 w 9907829"/>
              <a:gd name="connsiteY898" fmla="*/ 143554 h 6706386"/>
              <a:gd name="connsiteX899" fmla="*/ 6596227 w 9907829"/>
              <a:gd name="connsiteY899" fmla="*/ 143228 h 6706386"/>
              <a:gd name="connsiteX900" fmla="*/ 6739456 w 9907829"/>
              <a:gd name="connsiteY900" fmla="*/ 0 h 6706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</a:cxnLst>
            <a:rect l="l" t="t" r="r" b="b"/>
            <a:pathLst>
              <a:path w="9907829" h="6706386">
                <a:moveTo>
                  <a:pt x="1169593" y="6629618"/>
                </a:moveTo>
                <a:cubicBezTo>
                  <a:pt x="1224187" y="6629618"/>
                  <a:pt x="1273643" y="6651777"/>
                  <a:pt x="1309450" y="6687585"/>
                </a:cubicBezTo>
                <a:lnTo>
                  <a:pt x="1322130" y="6706386"/>
                </a:lnTo>
                <a:lnTo>
                  <a:pt x="1017056" y="6706386"/>
                </a:lnTo>
                <a:lnTo>
                  <a:pt x="1029737" y="6687585"/>
                </a:lnTo>
                <a:cubicBezTo>
                  <a:pt x="1065544" y="6651777"/>
                  <a:pt x="1115000" y="6629618"/>
                  <a:pt x="1169593" y="6629618"/>
                </a:cubicBezTo>
                <a:close/>
                <a:moveTo>
                  <a:pt x="55237" y="6215347"/>
                </a:moveTo>
                <a:lnTo>
                  <a:pt x="55307" y="6215361"/>
                </a:lnTo>
                <a:lnTo>
                  <a:pt x="76965" y="6219732"/>
                </a:lnTo>
                <a:cubicBezTo>
                  <a:pt x="96985" y="6228192"/>
                  <a:pt x="110954" y="6247944"/>
                  <a:pt x="110472" y="6270583"/>
                </a:cubicBezTo>
                <a:cubicBezTo>
                  <a:pt x="111115" y="6301414"/>
                  <a:pt x="86068" y="6325821"/>
                  <a:pt x="55237" y="6325821"/>
                </a:cubicBezTo>
                <a:cubicBezTo>
                  <a:pt x="47690" y="6325821"/>
                  <a:pt x="40465" y="6324295"/>
                  <a:pt x="33871" y="6321525"/>
                </a:cubicBezTo>
                <a:lnTo>
                  <a:pt x="33795" y="6321474"/>
                </a:lnTo>
                <a:lnTo>
                  <a:pt x="33600" y="6321435"/>
                </a:lnTo>
                <a:lnTo>
                  <a:pt x="24284" y="6315109"/>
                </a:lnTo>
                <a:lnTo>
                  <a:pt x="16299" y="6309763"/>
                </a:lnTo>
                <a:lnTo>
                  <a:pt x="16253" y="6309654"/>
                </a:lnTo>
                <a:lnTo>
                  <a:pt x="16058" y="6309523"/>
                </a:lnTo>
                <a:cubicBezTo>
                  <a:pt x="6103" y="6299486"/>
                  <a:pt x="0" y="6285676"/>
                  <a:pt x="0" y="6270583"/>
                </a:cubicBezTo>
                <a:cubicBezTo>
                  <a:pt x="0" y="6255489"/>
                  <a:pt x="6103" y="6241681"/>
                  <a:pt x="16058" y="6231646"/>
                </a:cubicBezTo>
                <a:lnTo>
                  <a:pt x="16253" y="6231513"/>
                </a:lnTo>
                <a:lnTo>
                  <a:pt x="16299" y="6231404"/>
                </a:lnTo>
                <a:lnTo>
                  <a:pt x="24276" y="6226065"/>
                </a:lnTo>
                <a:lnTo>
                  <a:pt x="33600" y="6219732"/>
                </a:lnTo>
                <a:lnTo>
                  <a:pt x="33795" y="6219693"/>
                </a:lnTo>
                <a:lnTo>
                  <a:pt x="33871" y="6219642"/>
                </a:lnTo>
                <a:lnTo>
                  <a:pt x="55202" y="6215355"/>
                </a:lnTo>
                <a:close/>
                <a:moveTo>
                  <a:pt x="612736" y="6148550"/>
                </a:moveTo>
                <a:cubicBezTo>
                  <a:pt x="680176" y="6148550"/>
                  <a:pt x="734770" y="6203144"/>
                  <a:pt x="734770" y="6270583"/>
                </a:cubicBezTo>
                <a:cubicBezTo>
                  <a:pt x="734770" y="6338023"/>
                  <a:pt x="680176" y="6392617"/>
                  <a:pt x="612736" y="6392617"/>
                </a:cubicBezTo>
                <a:cubicBezTo>
                  <a:pt x="545297" y="6392617"/>
                  <a:pt x="490703" y="6338023"/>
                  <a:pt x="490703" y="6270583"/>
                </a:cubicBezTo>
                <a:cubicBezTo>
                  <a:pt x="490703" y="6203144"/>
                  <a:pt x="545297" y="6148550"/>
                  <a:pt x="612736" y="6148550"/>
                </a:cubicBezTo>
                <a:close/>
                <a:moveTo>
                  <a:pt x="1169594" y="6059273"/>
                </a:moveTo>
                <a:cubicBezTo>
                  <a:pt x="1286489" y="6059273"/>
                  <a:pt x="1380904" y="6153688"/>
                  <a:pt x="1380904" y="6270583"/>
                </a:cubicBezTo>
                <a:lnTo>
                  <a:pt x="1380838" y="6270905"/>
                </a:lnTo>
                <a:lnTo>
                  <a:pt x="1380904" y="6271227"/>
                </a:lnTo>
                <a:cubicBezTo>
                  <a:pt x="1380904" y="6388121"/>
                  <a:pt x="1286489" y="6482537"/>
                  <a:pt x="1169594" y="6482537"/>
                </a:cubicBezTo>
                <a:cubicBezTo>
                  <a:pt x="1052699" y="6482537"/>
                  <a:pt x="958283" y="6387479"/>
                  <a:pt x="958283" y="6271227"/>
                </a:cubicBezTo>
                <a:lnTo>
                  <a:pt x="958349" y="6270905"/>
                </a:lnTo>
                <a:lnTo>
                  <a:pt x="958283" y="6270583"/>
                </a:lnTo>
                <a:cubicBezTo>
                  <a:pt x="958283" y="6153688"/>
                  <a:pt x="1052699" y="6059273"/>
                  <a:pt x="1169594" y="6059273"/>
                </a:cubicBezTo>
                <a:close/>
                <a:moveTo>
                  <a:pt x="55237" y="5658490"/>
                </a:moveTo>
                <a:lnTo>
                  <a:pt x="55274" y="5658497"/>
                </a:lnTo>
                <a:lnTo>
                  <a:pt x="76604" y="5662785"/>
                </a:lnTo>
                <a:lnTo>
                  <a:pt x="76679" y="5662836"/>
                </a:lnTo>
                <a:lnTo>
                  <a:pt x="76875" y="5662875"/>
                </a:lnTo>
                <a:lnTo>
                  <a:pt x="86311" y="5669282"/>
                </a:lnTo>
                <a:lnTo>
                  <a:pt x="94175" y="5674547"/>
                </a:lnTo>
                <a:lnTo>
                  <a:pt x="94219" y="5674653"/>
                </a:lnTo>
                <a:lnTo>
                  <a:pt x="94417" y="5674787"/>
                </a:lnTo>
                <a:cubicBezTo>
                  <a:pt x="104372" y="5684823"/>
                  <a:pt x="110472" y="5698632"/>
                  <a:pt x="110472" y="5713725"/>
                </a:cubicBezTo>
                <a:cubicBezTo>
                  <a:pt x="110472" y="5728819"/>
                  <a:pt x="104372" y="5742628"/>
                  <a:pt x="94417" y="5752664"/>
                </a:cubicBezTo>
                <a:lnTo>
                  <a:pt x="94219" y="5752798"/>
                </a:lnTo>
                <a:lnTo>
                  <a:pt x="94175" y="5752904"/>
                </a:lnTo>
                <a:lnTo>
                  <a:pt x="86269" y="5758197"/>
                </a:lnTo>
                <a:lnTo>
                  <a:pt x="76874" y="5764576"/>
                </a:lnTo>
                <a:lnTo>
                  <a:pt x="76679" y="5764616"/>
                </a:lnTo>
                <a:lnTo>
                  <a:pt x="76604" y="5764666"/>
                </a:lnTo>
                <a:cubicBezTo>
                  <a:pt x="70010" y="5767437"/>
                  <a:pt x="62784" y="5768962"/>
                  <a:pt x="55237" y="5768962"/>
                </a:cubicBezTo>
                <a:cubicBezTo>
                  <a:pt x="47690" y="5768962"/>
                  <a:pt x="40465" y="5767437"/>
                  <a:pt x="33871" y="5764666"/>
                </a:cubicBezTo>
                <a:lnTo>
                  <a:pt x="33795" y="5764616"/>
                </a:lnTo>
                <a:lnTo>
                  <a:pt x="33600" y="5764576"/>
                </a:lnTo>
                <a:lnTo>
                  <a:pt x="24251" y="5758228"/>
                </a:lnTo>
                <a:lnTo>
                  <a:pt x="16299" y="5752904"/>
                </a:lnTo>
                <a:lnTo>
                  <a:pt x="16255" y="5752797"/>
                </a:lnTo>
                <a:lnTo>
                  <a:pt x="16058" y="5752664"/>
                </a:lnTo>
                <a:cubicBezTo>
                  <a:pt x="6103" y="5742628"/>
                  <a:pt x="0" y="5728819"/>
                  <a:pt x="0" y="5713725"/>
                </a:cubicBezTo>
                <a:cubicBezTo>
                  <a:pt x="0" y="5698632"/>
                  <a:pt x="6103" y="5684823"/>
                  <a:pt x="16058" y="5674787"/>
                </a:cubicBezTo>
                <a:lnTo>
                  <a:pt x="16255" y="5674654"/>
                </a:lnTo>
                <a:lnTo>
                  <a:pt x="16299" y="5674547"/>
                </a:lnTo>
                <a:lnTo>
                  <a:pt x="24238" y="5669234"/>
                </a:lnTo>
                <a:lnTo>
                  <a:pt x="33600" y="5662875"/>
                </a:lnTo>
                <a:lnTo>
                  <a:pt x="33795" y="5662836"/>
                </a:lnTo>
                <a:lnTo>
                  <a:pt x="33871" y="5662785"/>
                </a:lnTo>
                <a:lnTo>
                  <a:pt x="55202" y="5658497"/>
                </a:lnTo>
                <a:close/>
                <a:moveTo>
                  <a:pt x="612736" y="5590407"/>
                </a:moveTo>
                <a:cubicBezTo>
                  <a:pt x="680818" y="5590407"/>
                  <a:pt x="736054" y="5645644"/>
                  <a:pt x="736054" y="5713725"/>
                </a:cubicBezTo>
                <a:cubicBezTo>
                  <a:pt x="736054" y="5781807"/>
                  <a:pt x="680818" y="5837044"/>
                  <a:pt x="612736" y="5837044"/>
                </a:cubicBezTo>
                <a:cubicBezTo>
                  <a:pt x="544012" y="5837044"/>
                  <a:pt x="488776" y="5781807"/>
                  <a:pt x="489419" y="5713725"/>
                </a:cubicBezTo>
                <a:cubicBezTo>
                  <a:pt x="488776" y="5645644"/>
                  <a:pt x="544012" y="5590407"/>
                  <a:pt x="612736" y="5590407"/>
                </a:cubicBezTo>
                <a:close/>
                <a:moveTo>
                  <a:pt x="1163664" y="5500788"/>
                </a:moveTo>
                <a:lnTo>
                  <a:pt x="1168703" y="5501137"/>
                </a:lnTo>
                <a:lnTo>
                  <a:pt x="1169494" y="5500982"/>
                </a:lnTo>
                <a:lnTo>
                  <a:pt x="1171160" y="5501306"/>
                </a:lnTo>
                <a:lnTo>
                  <a:pt x="1205348" y="5503673"/>
                </a:lnTo>
                <a:lnTo>
                  <a:pt x="1228727" y="5512507"/>
                </a:lnTo>
                <a:lnTo>
                  <a:pt x="1249493" y="5516548"/>
                </a:lnTo>
                <a:lnTo>
                  <a:pt x="1262800" y="5525385"/>
                </a:lnTo>
                <a:lnTo>
                  <a:pt x="1281583" y="5532483"/>
                </a:lnTo>
                <a:lnTo>
                  <a:pt x="1302288" y="5551608"/>
                </a:lnTo>
                <a:lnTo>
                  <a:pt x="1319819" y="5563249"/>
                </a:lnTo>
                <a:lnTo>
                  <a:pt x="1327634" y="5575016"/>
                </a:lnTo>
                <a:lnTo>
                  <a:pt x="1341451" y="5587778"/>
                </a:lnTo>
                <a:lnTo>
                  <a:pt x="1353491" y="5613955"/>
                </a:lnTo>
                <a:lnTo>
                  <a:pt x="1366520" y="5633576"/>
                </a:lnTo>
                <a:lnTo>
                  <a:pt x="1369458" y="5648668"/>
                </a:lnTo>
                <a:lnTo>
                  <a:pt x="1376727" y="5664474"/>
                </a:lnTo>
                <a:lnTo>
                  <a:pt x="1377574" y="5690377"/>
                </a:lnTo>
                <a:lnTo>
                  <a:pt x="1382088" y="5713576"/>
                </a:lnTo>
                <a:lnTo>
                  <a:pt x="1378872" y="5730102"/>
                </a:lnTo>
                <a:lnTo>
                  <a:pt x="1379484" y="5748846"/>
                </a:lnTo>
                <a:lnTo>
                  <a:pt x="1370703" y="5772081"/>
                </a:lnTo>
                <a:lnTo>
                  <a:pt x="1366520" y="5793574"/>
                </a:lnTo>
                <a:lnTo>
                  <a:pt x="1357375" y="5807346"/>
                </a:lnTo>
                <a:lnTo>
                  <a:pt x="1350673" y="5825080"/>
                </a:lnTo>
                <a:lnTo>
                  <a:pt x="1332617" y="5844631"/>
                </a:lnTo>
                <a:lnTo>
                  <a:pt x="1319819" y="5863902"/>
                </a:lnTo>
                <a:lnTo>
                  <a:pt x="1306885" y="5872491"/>
                </a:lnTo>
                <a:lnTo>
                  <a:pt x="1295378" y="5884949"/>
                </a:lnTo>
                <a:lnTo>
                  <a:pt x="1271775" y="5895806"/>
                </a:lnTo>
                <a:lnTo>
                  <a:pt x="1249493" y="5910602"/>
                </a:lnTo>
                <a:lnTo>
                  <a:pt x="1232357" y="5913937"/>
                </a:lnTo>
                <a:lnTo>
                  <a:pt x="1218684" y="5920225"/>
                </a:lnTo>
                <a:cubicBezTo>
                  <a:pt x="1204402" y="5923598"/>
                  <a:pt x="1190114" y="5925443"/>
                  <a:pt x="1175995" y="5925867"/>
                </a:cubicBezTo>
                <a:lnTo>
                  <a:pt x="1172342" y="5925615"/>
                </a:lnTo>
                <a:lnTo>
                  <a:pt x="1169494" y="5926168"/>
                </a:lnTo>
                <a:lnTo>
                  <a:pt x="1163502" y="5925002"/>
                </a:lnTo>
                <a:lnTo>
                  <a:pt x="1134312" y="5922982"/>
                </a:lnTo>
                <a:lnTo>
                  <a:pt x="1114348" y="5915438"/>
                </a:lnTo>
                <a:lnTo>
                  <a:pt x="1089495" y="5910602"/>
                </a:lnTo>
                <a:lnTo>
                  <a:pt x="1073571" y="5900026"/>
                </a:lnTo>
                <a:lnTo>
                  <a:pt x="1058076" y="5894170"/>
                </a:lnTo>
                <a:lnTo>
                  <a:pt x="1040996" y="5878397"/>
                </a:lnTo>
                <a:lnTo>
                  <a:pt x="1019168" y="5863901"/>
                </a:lnTo>
                <a:lnTo>
                  <a:pt x="1009439" y="5849250"/>
                </a:lnTo>
                <a:lnTo>
                  <a:pt x="998208" y="5838876"/>
                </a:lnTo>
                <a:lnTo>
                  <a:pt x="988420" y="5817597"/>
                </a:lnTo>
                <a:lnTo>
                  <a:pt x="972468" y="5793574"/>
                </a:lnTo>
                <a:lnTo>
                  <a:pt x="968872" y="5775098"/>
                </a:lnTo>
                <a:lnTo>
                  <a:pt x="962932" y="5762182"/>
                </a:lnTo>
                <a:lnTo>
                  <a:pt x="962240" y="5741014"/>
                </a:lnTo>
                <a:lnTo>
                  <a:pt x="956901" y="5713576"/>
                </a:lnTo>
                <a:lnTo>
                  <a:pt x="960705" y="5694026"/>
                </a:lnTo>
                <a:lnTo>
                  <a:pt x="960175" y="5677809"/>
                </a:lnTo>
                <a:lnTo>
                  <a:pt x="967773" y="5657705"/>
                </a:lnTo>
                <a:lnTo>
                  <a:pt x="972468" y="5633577"/>
                </a:lnTo>
                <a:lnTo>
                  <a:pt x="982734" y="5618115"/>
                </a:lnTo>
                <a:lnTo>
                  <a:pt x="988986" y="5601574"/>
                </a:lnTo>
                <a:lnTo>
                  <a:pt x="1005827" y="5583340"/>
                </a:lnTo>
                <a:lnTo>
                  <a:pt x="1019168" y="5563249"/>
                </a:lnTo>
                <a:lnTo>
                  <a:pt x="1032653" y="5554295"/>
                </a:lnTo>
                <a:lnTo>
                  <a:pt x="1044281" y="5541705"/>
                </a:lnTo>
                <a:lnTo>
                  <a:pt x="1068135" y="5530733"/>
                </a:lnTo>
                <a:lnTo>
                  <a:pt x="1089496" y="5516549"/>
                </a:lnTo>
                <a:lnTo>
                  <a:pt x="1105926" y="5513352"/>
                </a:lnTo>
                <a:lnTo>
                  <a:pt x="1120975" y="5506430"/>
                </a:lnTo>
                <a:cubicBezTo>
                  <a:pt x="1135259" y="5503057"/>
                  <a:pt x="1149545" y="5501211"/>
                  <a:pt x="1163664" y="5500788"/>
                </a:cubicBezTo>
                <a:close/>
                <a:moveTo>
                  <a:pt x="55236" y="5103558"/>
                </a:moveTo>
                <a:cubicBezTo>
                  <a:pt x="84783" y="5103558"/>
                  <a:pt x="108546" y="5127323"/>
                  <a:pt x="108546" y="5156867"/>
                </a:cubicBezTo>
                <a:cubicBezTo>
                  <a:pt x="108546" y="5186412"/>
                  <a:pt x="84783" y="5210177"/>
                  <a:pt x="55236" y="5210177"/>
                </a:cubicBezTo>
                <a:cubicBezTo>
                  <a:pt x="25691" y="5210177"/>
                  <a:pt x="1928" y="5186412"/>
                  <a:pt x="1928" y="5156867"/>
                </a:cubicBezTo>
                <a:cubicBezTo>
                  <a:pt x="1928" y="5127323"/>
                  <a:pt x="25691" y="5103558"/>
                  <a:pt x="55236" y="5103558"/>
                </a:cubicBezTo>
                <a:close/>
                <a:moveTo>
                  <a:pt x="612737" y="5039330"/>
                </a:moveTo>
                <a:cubicBezTo>
                  <a:pt x="677607" y="5039330"/>
                  <a:pt x="729632" y="5091997"/>
                  <a:pt x="729632" y="5156225"/>
                </a:cubicBezTo>
                <a:lnTo>
                  <a:pt x="729567" y="5156546"/>
                </a:lnTo>
                <a:lnTo>
                  <a:pt x="729632" y="5156868"/>
                </a:lnTo>
                <a:cubicBezTo>
                  <a:pt x="729632" y="5221095"/>
                  <a:pt x="677607" y="5273763"/>
                  <a:pt x="612737" y="5273763"/>
                </a:cubicBezTo>
                <a:cubicBezTo>
                  <a:pt x="548509" y="5273763"/>
                  <a:pt x="495841" y="5221738"/>
                  <a:pt x="495841" y="5156868"/>
                </a:cubicBezTo>
                <a:lnTo>
                  <a:pt x="495906" y="5156546"/>
                </a:lnTo>
                <a:lnTo>
                  <a:pt x="495841" y="5156225"/>
                </a:lnTo>
                <a:cubicBezTo>
                  <a:pt x="495841" y="5091354"/>
                  <a:pt x="548509" y="5039330"/>
                  <a:pt x="612737" y="5039330"/>
                </a:cubicBezTo>
                <a:close/>
                <a:moveTo>
                  <a:pt x="1169613" y="4950499"/>
                </a:moveTo>
                <a:lnTo>
                  <a:pt x="1195685" y="4955573"/>
                </a:lnTo>
                <a:lnTo>
                  <a:pt x="1216778" y="4956262"/>
                </a:lnTo>
                <a:lnTo>
                  <a:pt x="1229649" y="4962181"/>
                </a:lnTo>
                <a:lnTo>
                  <a:pt x="1247196" y="4965595"/>
                </a:lnTo>
                <a:lnTo>
                  <a:pt x="1270009" y="4980745"/>
                </a:lnTo>
                <a:lnTo>
                  <a:pt x="1291155" y="4990472"/>
                </a:lnTo>
                <a:lnTo>
                  <a:pt x="1301465" y="5001633"/>
                </a:lnTo>
                <a:lnTo>
                  <a:pt x="1315397" y="5010885"/>
                </a:lnTo>
                <a:lnTo>
                  <a:pt x="1329181" y="5031642"/>
                </a:lnTo>
                <a:lnTo>
                  <a:pt x="1344780" y="5048532"/>
                </a:lnTo>
                <a:lnTo>
                  <a:pt x="1350571" y="5063854"/>
                </a:lnTo>
                <a:lnTo>
                  <a:pt x="1360687" y="5079086"/>
                </a:lnTo>
                <a:lnTo>
                  <a:pt x="1365312" y="5102861"/>
                </a:lnTo>
                <a:lnTo>
                  <a:pt x="1372721" y="5122463"/>
                </a:lnTo>
                <a:lnTo>
                  <a:pt x="1372204" y="5138277"/>
                </a:lnTo>
                <a:lnTo>
                  <a:pt x="1375783" y="5156669"/>
                </a:lnTo>
                <a:lnTo>
                  <a:pt x="1370760" y="5182484"/>
                </a:lnTo>
                <a:lnTo>
                  <a:pt x="1370047" y="5204287"/>
                </a:lnTo>
                <a:lnTo>
                  <a:pt x="1363928" y="5217591"/>
                </a:lnTo>
                <a:lnTo>
                  <a:pt x="1360687" y="5234251"/>
                </a:lnTo>
                <a:lnTo>
                  <a:pt x="1346303" y="5255911"/>
                </a:lnTo>
                <a:lnTo>
                  <a:pt x="1335838" y="5278665"/>
                </a:lnTo>
                <a:lnTo>
                  <a:pt x="1323828" y="5289757"/>
                </a:lnTo>
                <a:lnTo>
                  <a:pt x="1315397" y="5302453"/>
                </a:lnTo>
                <a:lnTo>
                  <a:pt x="1296482" y="5315014"/>
                </a:lnTo>
                <a:lnTo>
                  <a:pt x="1277778" y="5332289"/>
                </a:lnTo>
                <a:lnTo>
                  <a:pt x="1260811" y="5338701"/>
                </a:lnTo>
                <a:lnTo>
                  <a:pt x="1247196" y="5347742"/>
                </a:lnTo>
                <a:lnTo>
                  <a:pt x="1225945" y="5351877"/>
                </a:lnTo>
                <a:lnTo>
                  <a:pt x="1203846" y="5360229"/>
                </a:lnTo>
                <a:lnTo>
                  <a:pt x="1186017" y="5359647"/>
                </a:lnTo>
                <a:lnTo>
                  <a:pt x="1169613" y="5362838"/>
                </a:lnTo>
                <a:lnTo>
                  <a:pt x="1146587" y="5358358"/>
                </a:lnTo>
                <a:lnTo>
                  <a:pt x="1122022" y="5357556"/>
                </a:lnTo>
                <a:lnTo>
                  <a:pt x="1107032" y="5350662"/>
                </a:lnTo>
                <a:lnTo>
                  <a:pt x="1092031" y="5347742"/>
                </a:lnTo>
                <a:lnTo>
                  <a:pt x="1072527" y="5334791"/>
                </a:lnTo>
                <a:lnTo>
                  <a:pt x="1047644" y="5323346"/>
                </a:lnTo>
                <a:lnTo>
                  <a:pt x="1035514" y="5310212"/>
                </a:lnTo>
                <a:lnTo>
                  <a:pt x="1023829" y="5302453"/>
                </a:lnTo>
                <a:lnTo>
                  <a:pt x="1012269" y="5285044"/>
                </a:lnTo>
                <a:lnTo>
                  <a:pt x="994020" y="5265285"/>
                </a:lnTo>
                <a:lnTo>
                  <a:pt x="987246" y="5247363"/>
                </a:lnTo>
                <a:lnTo>
                  <a:pt x="978540" y="5234251"/>
                </a:lnTo>
                <a:lnTo>
                  <a:pt x="974558" y="5213789"/>
                </a:lnTo>
                <a:lnTo>
                  <a:pt x="966080" y="5191355"/>
                </a:lnTo>
                <a:lnTo>
                  <a:pt x="966671" y="5173257"/>
                </a:lnTo>
                <a:lnTo>
                  <a:pt x="963444" y="5156669"/>
                </a:lnTo>
                <a:lnTo>
                  <a:pt x="967974" y="5133385"/>
                </a:lnTo>
                <a:lnTo>
                  <a:pt x="968753" y="5109531"/>
                </a:lnTo>
                <a:lnTo>
                  <a:pt x="976245" y="5090879"/>
                </a:lnTo>
                <a:lnTo>
                  <a:pt x="978540" y="5079086"/>
                </a:lnTo>
                <a:lnTo>
                  <a:pt x="984720" y="5069781"/>
                </a:lnTo>
                <a:lnTo>
                  <a:pt x="991864" y="5051994"/>
                </a:lnTo>
                <a:lnTo>
                  <a:pt x="1017963" y="5019720"/>
                </a:lnTo>
                <a:lnTo>
                  <a:pt x="1023829" y="5010885"/>
                </a:lnTo>
                <a:lnTo>
                  <a:pt x="1026588" y="5009053"/>
                </a:lnTo>
                <a:lnTo>
                  <a:pt x="1029511" y="5005438"/>
                </a:lnTo>
                <a:cubicBezTo>
                  <a:pt x="1044109" y="4991981"/>
                  <a:pt x="1060569" y="4980701"/>
                  <a:pt x="1078330" y="4971943"/>
                </a:cubicBezTo>
                <a:lnTo>
                  <a:pt x="1086423" y="4969319"/>
                </a:lnTo>
                <a:lnTo>
                  <a:pt x="1092031" y="4965595"/>
                </a:lnTo>
                <a:lnTo>
                  <a:pt x="1106743" y="4962733"/>
                </a:lnTo>
                <a:lnTo>
                  <a:pt x="1134954" y="4953588"/>
                </a:lnTo>
                <a:lnTo>
                  <a:pt x="1151038" y="4954113"/>
                </a:lnTo>
                <a:close/>
                <a:moveTo>
                  <a:pt x="55236" y="4551839"/>
                </a:moveTo>
                <a:cubicBezTo>
                  <a:pt x="81571" y="4551839"/>
                  <a:pt x="102766" y="4573034"/>
                  <a:pt x="102766" y="4599368"/>
                </a:cubicBezTo>
                <a:lnTo>
                  <a:pt x="102633" y="4599689"/>
                </a:lnTo>
                <a:lnTo>
                  <a:pt x="102766" y="4600011"/>
                </a:lnTo>
                <a:cubicBezTo>
                  <a:pt x="102766" y="4626344"/>
                  <a:pt x="81571" y="4647540"/>
                  <a:pt x="55236" y="4647540"/>
                </a:cubicBezTo>
                <a:cubicBezTo>
                  <a:pt x="28903" y="4647540"/>
                  <a:pt x="7709" y="4626344"/>
                  <a:pt x="7709" y="4600011"/>
                </a:cubicBezTo>
                <a:lnTo>
                  <a:pt x="7841" y="4599690"/>
                </a:lnTo>
                <a:lnTo>
                  <a:pt x="7709" y="4599368"/>
                </a:lnTo>
                <a:cubicBezTo>
                  <a:pt x="7709" y="4573034"/>
                  <a:pt x="28903" y="4551839"/>
                  <a:pt x="55236" y="4551839"/>
                </a:cubicBezTo>
                <a:close/>
                <a:moveTo>
                  <a:pt x="612736" y="4495318"/>
                </a:moveTo>
                <a:cubicBezTo>
                  <a:pt x="670542" y="4495318"/>
                  <a:pt x="716785" y="4542205"/>
                  <a:pt x="716785" y="4599368"/>
                </a:cubicBezTo>
                <a:lnTo>
                  <a:pt x="716721" y="4599689"/>
                </a:lnTo>
                <a:lnTo>
                  <a:pt x="716785" y="4600011"/>
                </a:lnTo>
                <a:cubicBezTo>
                  <a:pt x="716785" y="4657174"/>
                  <a:pt x="670542" y="4704060"/>
                  <a:pt x="612736" y="4704060"/>
                </a:cubicBezTo>
                <a:cubicBezTo>
                  <a:pt x="554931" y="4704060"/>
                  <a:pt x="508045" y="4657174"/>
                  <a:pt x="508686" y="4600011"/>
                </a:cubicBezTo>
                <a:lnTo>
                  <a:pt x="508751" y="4599689"/>
                </a:lnTo>
                <a:lnTo>
                  <a:pt x="508686" y="4599368"/>
                </a:lnTo>
                <a:cubicBezTo>
                  <a:pt x="508045" y="4542205"/>
                  <a:pt x="554931" y="4495318"/>
                  <a:pt x="612736" y="4495318"/>
                </a:cubicBezTo>
                <a:close/>
                <a:moveTo>
                  <a:pt x="1169593" y="4413107"/>
                </a:moveTo>
                <a:cubicBezTo>
                  <a:pt x="1272359" y="4413107"/>
                  <a:pt x="1355855" y="4496604"/>
                  <a:pt x="1355855" y="4599368"/>
                </a:cubicBezTo>
                <a:lnTo>
                  <a:pt x="1355790" y="4599689"/>
                </a:lnTo>
                <a:lnTo>
                  <a:pt x="1355855" y="4600009"/>
                </a:lnTo>
                <a:cubicBezTo>
                  <a:pt x="1355855" y="4702775"/>
                  <a:pt x="1272359" y="4786271"/>
                  <a:pt x="1169593" y="4786271"/>
                </a:cubicBezTo>
                <a:cubicBezTo>
                  <a:pt x="1066829" y="4786271"/>
                  <a:pt x="983332" y="4702775"/>
                  <a:pt x="983332" y="4600009"/>
                </a:cubicBezTo>
                <a:lnTo>
                  <a:pt x="983398" y="4599689"/>
                </a:lnTo>
                <a:lnTo>
                  <a:pt x="983332" y="4599368"/>
                </a:lnTo>
                <a:cubicBezTo>
                  <a:pt x="983332" y="4496604"/>
                  <a:pt x="1066829" y="4413107"/>
                  <a:pt x="1169593" y="4413107"/>
                </a:cubicBezTo>
                <a:close/>
                <a:moveTo>
                  <a:pt x="55236" y="4004616"/>
                </a:moveTo>
                <a:cubicBezTo>
                  <a:pt x="76431" y="4004616"/>
                  <a:pt x="93132" y="4021957"/>
                  <a:pt x="93132" y="4042511"/>
                </a:cubicBezTo>
                <a:lnTo>
                  <a:pt x="92996" y="4042831"/>
                </a:lnTo>
                <a:lnTo>
                  <a:pt x="93132" y="4043152"/>
                </a:lnTo>
                <a:cubicBezTo>
                  <a:pt x="93132" y="4063705"/>
                  <a:pt x="76431" y="4081047"/>
                  <a:pt x="55236" y="4081047"/>
                </a:cubicBezTo>
                <a:cubicBezTo>
                  <a:pt x="34684" y="4081047"/>
                  <a:pt x="17342" y="4064347"/>
                  <a:pt x="17342" y="4043152"/>
                </a:cubicBezTo>
                <a:lnTo>
                  <a:pt x="17479" y="4042833"/>
                </a:lnTo>
                <a:lnTo>
                  <a:pt x="17342" y="4042511"/>
                </a:lnTo>
                <a:cubicBezTo>
                  <a:pt x="17342" y="4021315"/>
                  <a:pt x="34684" y="4004616"/>
                  <a:pt x="55236" y="4004616"/>
                </a:cubicBezTo>
                <a:close/>
                <a:moveTo>
                  <a:pt x="612736" y="3957728"/>
                </a:moveTo>
                <a:cubicBezTo>
                  <a:pt x="659622" y="3957728"/>
                  <a:pt x="697517" y="3995623"/>
                  <a:pt x="697517" y="4042509"/>
                </a:cubicBezTo>
                <a:lnTo>
                  <a:pt x="697452" y="4042830"/>
                </a:lnTo>
                <a:lnTo>
                  <a:pt x="697517" y="4043152"/>
                </a:lnTo>
                <a:cubicBezTo>
                  <a:pt x="697517" y="4090038"/>
                  <a:pt x="659622" y="4127933"/>
                  <a:pt x="612736" y="4127933"/>
                </a:cubicBezTo>
                <a:cubicBezTo>
                  <a:pt x="565207" y="4127933"/>
                  <a:pt x="527312" y="4089396"/>
                  <a:pt x="527955" y="4043152"/>
                </a:cubicBezTo>
                <a:lnTo>
                  <a:pt x="528019" y="4042830"/>
                </a:lnTo>
                <a:lnTo>
                  <a:pt x="527955" y="4042509"/>
                </a:lnTo>
                <a:cubicBezTo>
                  <a:pt x="527312" y="3995623"/>
                  <a:pt x="565207" y="3957728"/>
                  <a:pt x="612736" y="3957728"/>
                </a:cubicBezTo>
                <a:close/>
                <a:moveTo>
                  <a:pt x="1169594" y="3880655"/>
                </a:moveTo>
                <a:cubicBezTo>
                  <a:pt x="1258871" y="3880655"/>
                  <a:pt x="1331449" y="3953234"/>
                  <a:pt x="1331449" y="4042511"/>
                </a:cubicBezTo>
                <a:lnTo>
                  <a:pt x="1331384" y="4042831"/>
                </a:lnTo>
                <a:lnTo>
                  <a:pt x="1331449" y="4043153"/>
                </a:lnTo>
                <a:cubicBezTo>
                  <a:pt x="1331449" y="4132430"/>
                  <a:pt x="1258871" y="4205007"/>
                  <a:pt x="1169594" y="4205007"/>
                </a:cubicBezTo>
                <a:cubicBezTo>
                  <a:pt x="1080316" y="4205007"/>
                  <a:pt x="1007739" y="4132430"/>
                  <a:pt x="1007739" y="4043153"/>
                </a:cubicBezTo>
                <a:lnTo>
                  <a:pt x="1007805" y="4042831"/>
                </a:lnTo>
                <a:lnTo>
                  <a:pt x="1007739" y="4042511"/>
                </a:lnTo>
                <a:cubicBezTo>
                  <a:pt x="1007739" y="3953234"/>
                  <a:pt x="1080316" y="3880655"/>
                  <a:pt x="1169594" y="3880655"/>
                </a:cubicBezTo>
                <a:close/>
                <a:moveTo>
                  <a:pt x="612736" y="3420142"/>
                </a:moveTo>
                <a:cubicBezTo>
                  <a:pt x="649346" y="3420142"/>
                  <a:pt x="678891" y="3449686"/>
                  <a:pt x="678891" y="3486296"/>
                </a:cubicBezTo>
                <a:lnTo>
                  <a:pt x="678891" y="3486300"/>
                </a:lnTo>
                <a:lnTo>
                  <a:pt x="678891" y="3486302"/>
                </a:lnTo>
                <a:cubicBezTo>
                  <a:pt x="678891" y="3522911"/>
                  <a:pt x="649346" y="3551814"/>
                  <a:pt x="612736" y="3551814"/>
                </a:cubicBezTo>
                <a:cubicBezTo>
                  <a:pt x="576125" y="3551814"/>
                  <a:pt x="546581" y="3522270"/>
                  <a:pt x="546581" y="3486302"/>
                </a:cubicBezTo>
                <a:lnTo>
                  <a:pt x="546582" y="3486300"/>
                </a:lnTo>
                <a:lnTo>
                  <a:pt x="546581" y="3486296"/>
                </a:lnTo>
                <a:lnTo>
                  <a:pt x="546680" y="3485811"/>
                </a:lnTo>
                <a:lnTo>
                  <a:pt x="551769" y="3460250"/>
                </a:lnTo>
                <a:cubicBezTo>
                  <a:pt x="558453" y="3444353"/>
                  <a:pt x="571118" y="3431827"/>
                  <a:pt x="586954" y="3425244"/>
                </a:cubicBezTo>
                <a:lnTo>
                  <a:pt x="611347" y="3420421"/>
                </a:lnTo>
                <a:close/>
                <a:moveTo>
                  <a:pt x="1169593" y="3357198"/>
                </a:moveTo>
                <a:cubicBezTo>
                  <a:pt x="1187256" y="3357198"/>
                  <a:pt x="1204116" y="3360770"/>
                  <a:pt x="1219471" y="3367244"/>
                </a:cubicBezTo>
                <a:lnTo>
                  <a:pt x="1219560" y="3367304"/>
                </a:lnTo>
                <a:lnTo>
                  <a:pt x="1219741" y="3367341"/>
                </a:lnTo>
                <a:lnTo>
                  <a:pt x="1240198" y="3381172"/>
                </a:lnTo>
                <a:lnTo>
                  <a:pt x="1260316" y="3394691"/>
                </a:lnTo>
                <a:lnTo>
                  <a:pt x="1260421" y="3394846"/>
                </a:lnTo>
                <a:lnTo>
                  <a:pt x="1260556" y="3394939"/>
                </a:lnTo>
                <a:lnTo>
                  <a:pt x="1272451" y="3412638"/>
                </a:lnTo>
                <a:lnTo>
                  <a:pt x="1287914" y="3435505"/>
                </a:lnTo>
                <a:lnTo>
                  <a:pt x="1287956" y="3435710"/>
                </a:lnTo>
                <a:lnTo>
                  <a:pt x="1288005" y="3435783"/>
                </a:lnTo>
                <a:lnTo>
                  <a:pt x="1297800" y="3484414"/>
                </a:lnTo>
                <a:lnTo>
                  <a:pt x="1298050" y="3485654"/>
                </a:lnTo>
                <a:lnTo>
                  <a:pt x="1298050" y="3485657"/>
                </a:lnTo>
                <a:lnTo>
                  <a:pt x="1298050" y="3485659"/>
                </a:lnTo>
                <a:lnTo>
                  <a:pt x="1297801" y="3486892"/>
                </a:lnTo>
                <a:lnTo>
                  <a:pt x="1288005" y="3535531"/>
                </a:lnTo>
                <a:lnTo>
                  <a:pt x="1287955" y="3535604"/>
                </a:lnTo>
                <a:lnTo>
                  <a:pt x="1287914" y="3535806"/>
                </a:lnTo>
                <a:lnTo>
                  <a:pt x="1272620" y="3558425"/>
                </a:lnTo>
                <a:lnTo>
                  <a:pt x="1260556" y="3576375"/>
                </a:lnTo>
                <a:lnTo>
                  <a:pt x="1260419" y="3576469"/>
                </a:lnTo>
                <a:lnTo>
                  <a:pt x="1260316" y="3576620"/>
                </a:lnTo>
                <a:lnTo>
                  <a:pt x="1240760" y="3589763"/>
                </a:lnTo>
                <a:lnTo>
                  <a:pt x="1219741" y="3603973"/>
                </a:lnTo>
                <a:lnTo>
                  <a:pt x="1219554" y="3604012"/>
                </a:lnTo>
                <a:lnTo>
                  <a:pt x="1219471" y="3604067"/>
                </a:lnTo>
                <a:cubicBezTo>
                  <a:pt x="1204116" y="3610541"/>
                  <a:pt x="1187256" y="3614112"/>
                  <a:pt x="1169593" y="3614112"/>
                </a:cubicBezTo>
                <a:lnTo>
                  <a:pt x="1168035" y="3613798"/>
                </a:lnTo>
                <a:lnTo>
                  <a:pt x="1119355" y="3604063"/>
                </a:lnTo>
                <a:cubicBezTo>
                  <a:pt x="1088485" y="3591119"/>
                  <a:pt x="1063797" y="3566571"/>
                  <a:pt x="1050912" y="3535803"/>
                </a:cubicBezTo>
                <a:lnTo>
                  <a:pt x="1041163" y="3485790"/>
                </a:lnTo>
                <a:lnTo>
                  <a:pt x="1041137" y="3485659"/>
                </a:lnTo>
                <a:lnTo>
                  <a:pt x="1041138" y="3485657"/>
                </a:lnTo>
                <a:lnTo>
                  <a:pt x="1041137" y="3485654"/>
                </a:lnTo>
                <a:lnTo>
                  <a:pt x="1041163" y="3485523"/>
                </a:lnTo>
                <a:lnTo>
                  <a:pt x="1050912" y="3435511"/>
                </a:lnTo>
                <a:cubicBezTo>
                  <a:pt x="1063797" y="3404743"/>
                  <a:pt x="1088485" y="3380195"/>
                  <a:pt x="1119355" y="3367250"/>
                </a:cubicBezTo>
                <a:lnTo>
                  <a:pt x="1166602" y="3357803"/>
                </a:lnTo>
                <a:close/>
                <a:moveTo>
                  <a:pt x="1726451" y="3271775"/>
                </a:moveTo>
                <a:cubicBezTo>
                  <a:pt x="1844632" y="3271775"/>
                  <a:pt x="1940331" y="3367477"/>
                  <a:pt x="1940331" y="3485654"/>
                </a:cubicBezTo>
                <a:lnTo>
                  <a:pt x="1940331" y="3485657"/>
                </a:lnTo>
                <a:lnTo>
                  <a:pt x="1940331" y="3485659"/>
                </a:lnTo>
                <a:cubicBezTo>
                  <a:pt x="1940331" y="3603840"/>
                  <a:pt x="1844632" y="3699535"/>
                  <a:pt x="1726451" y="3699535"/>
                </a:cubicBezTo>
                <a:cubicBezTo>
                  <a:pt x="1608271" y="3699535"/>
                  <a:pt x="1512572" y="3603840"/>
                  <a:pt x="1512572" y="3485659"/>
                </a:cubicBezTo>
                <a:lnTo>
                  <a:pt x="1512573" y="3485657"/>
                </a:lnTo>
                <a:lnTo>
                  <a:pt x="1512572" y="3485654"/>
                </a:lnTo>
                <a:cubicBezTo>
                  <a:pt x="1512572" y="3367477"/>
                  <a:pt x="1608271" y="3271775"/>
                  <a:pt x="1726451" y="3271775"/>
                </a:cubicBezTo>
                <a:close/>
                <a:moveTo>
                  <a:pt x="612736" y="2881269"/>
                </a:moveTo>
                <a:cubicBezTo>
                  <a:pt x="638427" y="2881269"/>
                  <a:pt x="659622" y="2902465"/>
                  <a:pt x="659622" y="2928156"/>
                </a:cubicBezTo>
                <a:lnTo>
                  <a:pt x="659487" y="2928480"/>
                </a:lnTo>
                <a:lnTo>
                  <a:pt x="659622" y="2928804"/>
                </a:lnTo>
                <a:cubicBezTo>
                  <a:pt x="659622" y="2954495"/>
                  <a:pt x="638427" y="2975691"/>
                  <a:pt x="612736" y="2975691"/>
                </a:cubicBezTo>
                <a:cubicBezTo>
                  <a:pt x="599891" y="2975691"/>
                  <a:pt x="588169" y="2970392"/>
                  <a:pt x="579659" y="2961882"/>
                </a:cubicBezTo>
                <a:lnTo>
                  <a:pt x="579503" y="2961508"/>
                </a:lnTo>
                <a:lnTo>
                  <a:pt x="579417" y="2961474"/>
                </a:lnTo>
                <a:lnTo>
                  <a:pt x="576618" y="2954598"/>
                </a:lnTo>
                <a:lnTo>
                  <a:pt x="565849" y="2928804"/>
                </a:lnTo>
                <a:lnTo>
                  <a:pt x="565982" y="2928480"/>
                </a:lnTo>
                <a:lnTo>
                  <a:pt x="565849" y="2928156"/>
                </a:lnTo>
                <a:cubicBezTo>
                  <a:pt x="565849" y="2902465"/>
                  <a:pt x="587045" y="2881269"/>
                  <a:pt x="612736" y="2881269"/>
                </a:cubicBezTo>
                <a:close/>
                <a:moveTo>
                  <a:pt x="1169593" y="2834388"/>
                </a:moveTo>
                <a:cubicBezTo>
                  <a:pt x="1221618" y="2834388"/>
                  <a:pt x="1263367" y="2876781"/>
                  <a:pt x="1263367" y="2928162"/>
                </a:cubicBezTo>
                <a:lnTo>
                  <a:pt x="1263302" y="2928480"/>
                </a:lnTo>
                <a:lnTo>
                  <a:pt x="1263367" y="2928800"/>
                </a:lnTo>
                <a:cubicBezTo>
                  <a:pt x="1263367" y="2980182"/>
                  <a:pt x="1221618" y="3022571"/>
                  <a:pt x="1169593" y="3022571"/>
                </a:cubicBezTo>
                <a:cubicBezTo>
                  <a:pt x="1117568" y="3022571"/>
                  <a:pt x="1075178" y="2980823"/>
                  <a:pt x="1075821" y="2928800"/>
                </a:cubicBezTo>
                <a:lnTo>
                  <a:pt x="1075886" y="2928480"/>
                </a:lnTo>
                <a:lnTo>
                  <a:pt x="1075821" y="2928162"/>
                </a:lnTo>
                <a:cubicBezTo>
                  <a:pt x="1075178" y="2876781"/>
                  <a:pt x="1117568" y="2834388"/>
                  <a:pt x="1169593" y="2834388"/>
                </a:cubicBezTo>
                <a:close/>
                <a:moveTo>
                  <a:pt x="1726451" y="2766301"/>
                </a:moveTo>
                <a:cubicBezTo>
                  <a:pt x="1816370" y="2766301"/>
                  <a:pt x="1888947" y="2838877"/>
                  <a:pt x="1888947" y="2928798"/>
                </a:cubicBezTo>
                <a:lnTo>
                  <a:pt x="1888947" y="2928802"/>
                </a:lnTo>
                <a:lnTo>
                  <a:pt x="1888947" y="2928807"/>
                </a:lnTo>
                <a:cubicBezTo>
                  <a:pt x="1888947" y="3018725"/>
                  <a:pt x="1816370" y="3091304"/>
                  <a:pt x="1726451" y="3091304"/>
                </a:cubicBezTo>
                <a:cubicBezTo>
                  <a:pt x="1636531" y="3091304"/>
                  <a:pt x="1563954" y="3018725"/>
                  <a:pt x="1563954" y="2928807"/>
                </a:cubicBezTo>
                <a:lnTo>
                  <a:pt x="1563955" y="2928802"/>
                </a:lnTo>
                <a:lnTo>
                  <a:pt x="1563954" y="2928798"/>
                </a:lnTo>
                <a:cubicBezTo>
                  <a:pt x="1563954" y="2838877"/>
                  <a:pt x="1636531" y="2766301"/>
                  <a:pt x="1726451" y="2766301"/>
                </a:cubicBezTo>
                <a:close/>
                <a:moveTo>
                  <a:pt x="1169593" y="2310279"/>
                </a:moveTo>
                <a:cubicBezTo>
                  <a:pt x="1203635" y="2310279"/>
                  <a:pt x="1230610" y="2337899"/>
                  <a:pt x="1230610" y="2371297"/>
                </a:cubicBezTo>
                <a:lnTo>
                  <a:pt x="1230476" y="2371620"/>
                </a:lnTo>
                <a:lnTo>
                  <a:pt x="1230610" y="2371944"/>
                </a:lnTo>
                <a:cubicBezTo>
                  <a:pt x="1230610" y="2405343"/>
                  <a:pt x="1203635" y="2432962"/>
                  <a:pt x="1169593" y="2432962"/>
                </a:cubicBezTo>
                <a:cubicBezTo>
                  <a:pt x="1136194" y="2432962"/>
                  <a:pt x="1108577" y="2405983"/>
                  <a:pt x="1108577" y="2371944"/>
                </a:cubicBezTo>
                <a:lnTo>
                  <a:pt x="1108712" y="2371620"/>
                </a:lnTo>
                <a:lnTo>
                  <a:pt x="1108577" y="2371297"/>
                </a:lnTo>
                <a:cubicBezTo>
                  <a:pt x="1108577" y="2337256"/>
                  <a:pt x="1136194" y="2310279"/>
                  <a:pt x="1169593" y="2310279"/>
                </a:cubicBezTo>
                <a:close/>
                <a:moveTo>
                  <a:pt x="1726451" y="2253761"/>
                </a:moveTo>
                <a:cubicBezTo>
                  <a:pt x="1791322" y="2253761"/>
                  <a:pt x="1843989" y="2306430"/>
                  <a:pt x="1843989" y="2371298"/>
                </a:cubicBezTo>
                <a:lnTo>
                  <a:pt x="1843924" y="2371620"/>
                </a:lnTo>
                <a:lnTo>
                  <a:pt x="1843989" y="2371944"/>
                </a:lnTo>
                <a:cubicBezTo>
                  <a:pt x="1843989" y="2436813"/>
                  <a:pt x="1791322" y="2489484"/>
                  <a:pt x="1726451" y="2489484"/>
                </a:cubicBezTo>
                <a:cubicBezTo>
                  <a:pt x="1661581" y="2489484"/>
                  <a:pt x="1608913" y="2436813"/>
                  <a:pt x="1608913" y="2371944"/>
                </a:cubicBezTo>
                <a:lnTo>
                  <a:pt x="1608979" y="2371620"/>
                </a:lnTo>
                <a:lnTo>
                  <a:pt x="1608913" y="2371298"/>
                </a:lnTo>
                <a:cubicBezTo>
                  <a:pt x="1608913" y="2306430"/>
                  <a:pt x="1661581" y="2253761"/>
                  <a:pt x="1726451" y="2253761"/>
                </a:cubicBezTo>
                <a:close/>
                <a:moveTo>
                  <a:pt x="2283309" y="2185682"/>
                </a:moveTo>
                <a:cubicBezTo>
                  <a:pt x="2386075" y="2185682"/>
                  <a:pt x="2468929" y="2268534"/>
                  <a:pt x="2468929" y="2371298"/>
                </a:cubicBezTo>
                <a:lnTo>
                  <a:pt x="2468866" y="2371620"/>
                </a:lnTo>
                <a:lnTo>
                  <a:pt x="2468929" y="2371946"/>
                </a:lnTo>
                <a:cubicBezTo>
                  <a:pt x="2468929" y="2474711"/>
                  <a:pt x="2386075" y="2557571"/>
                  <a:pt x="2283309" y="2557571"/>
                </a:cubicBezTo>
                <a:cubicBezTo>
                  <a:pt x="2180545" y="2557571"/>
                  <a:pt x="2097690" y="2474711"/>
                  <a:pt x="2097690" y="2371946"/>
                </a:cubicBezTo>
                <a:lnTo>
                  <a:pt x="2097756" y="2371620"/>
                </a:lnTo>
                <a:lnTo>
                  <a:pt x="2097690" y="2371298"/>
                </a:lnTo>
                <a:cubicBezTo>
                  <a:pt x="2097690" y="2268534"/>
                  <a:pt x="2180545" y="2185682"/>
                  <a:pt x="2283309" y="2185682"/>
                </a:cubicBezTo>
                <a:close/>
                <a:moveTo>
                  <a:pt x="1169594" y="1778474"/>
                </a:moveTo>
                <a:cubicBezTo>
                  <a:pt x="1189504" y="1778474"/>
                  <a:pt x="1205562" y="1794531"/>
                  <a:pt x="1205562" y="1814442"/>
                </a:cubicBezTo>
                <a:lnTo>
                  <a:pt x="1205428" y="1814767"/>
                </a:lnTo>
                <a:lnTo>
                  <a:pt x="1205562" y="1815092"/>
                </a:lnTo>
                <a:cubicBezTo>
                  <a:pt x="1205562" y="1835003"/>
                  <a:pt x="1189504" y="1851060"/>
                  <a:pt x="1169594" y="1851060"/>
                </a:cubicBezTo>
                <a:cubicBezTo>
                  <a:pt x="1149683" y="1851060"/>
                  <a:pt x="1133626" y="1835003"/>
                  <a:pt x="1133626" y="1815092"/>
                </a:cubicBezTo>
                <a:lnTo>
                  <a:pt x="1133762" y="1814767"/>
                </a:lnTo>
                <a:lnTo>
                  <a:pt x="1133626" y="1814442"/>
                </a:lnTo>
                <a:cubicBezTo>
                  <a:pt x="1133626" y="1794531"/>
                  <a:pt x="1149683" y="1778474"/>
                  <a:pt x="1169594" y="1778474"/>
                </a:cubicBezTo>
                <a:close/>
                <a:moveTo>
                  <a:pt x="1726452" y="1741232"/>
                </a:moveTo>
                <a:cubicBezTo>
                  <a:pt x="1766916" y="1741232"/>
                  <a:pt x="1799672" y="1773988"/>
                  <a:pt x="1799672" y="1814452"/>
                </a:cubicBezTo>
                <a:lnTo>
                  <a:pt x="1799608" y="1814767"/>
                </a:lnTo>
                <a:lnTo>
                  <a:pt x="1799672" y="1815083"/>
                </a:lnTo>
                <a:cubicBezTo>
                  <a:pt x="1799672" y="1855547"/>
                  <a:pt x="1766916" y="1888303"/>
                  <a:pt x="1726452" y="1888303"/>
                </a:cubicBezTo>
                <a:cubicBezTo>
                  <a:pt x="1685988" y="1888303"/>
                  <a:pt x="1653232" y="1854904"/>
                  <a:pt x="1653232" y="1815083"/>
                </a:cubicBezTo>
                <a:lnTo>
                  <a:pt x="1653296" y="1814767"/>
                </a:lnTo>
                <a:lnTo>
                  <a:pt x="1653232" y="1814452"/>
                </a:lnTo>
                <a:cubicBezTo>
                  <a:pt x="1653232" y="1773988"/>
                  <a:pt x="1685988" y="1741232"/>
                  <a:pt x="1726452" y="1741232"/>
                </a:cubicBezTo>
                <a:close/>
                <a:moveTo>
                  <a:pt x="9907829" y="1731583"/>
                </a:moveTo>
                <a:lnTo>
                  <a:pt x="9907829" y="1898575"/>
                </a:lnTo>
                <a:cubicBezTo>
                  <a:pt x="9895625" y="1872884"/>
                  <a:pt x="9888560" y="1845266"/>
                  <a:pt x="9888560" y="1815080"/>
                </a:cubicBezTo>
                <a:cubicBezTo>
                  <a:pt x="9888560" y="1784891"/>
                  <a:pt x="9895625" y="1756631"/>
                  <a:pt x="9907829" y="1731583"/>
                </a:cubicBezTo>
                <a:close/>
                <a:moveTo>
                  <a:pt x="2283183" y="1688074"/>
                </a:moveTo>
                <a:cubicBezTo>
                  <a:pt x="2315564" y="1688073"/>
                  <a:pt x="2347946" y="1700426"/>
                  <a:pt x="2372650" y="1725132"/>
                </a:cubicBezTo>
                <a:cubicBezTo>
                  <a:pt x="2397358" y="1749839"/>
                  <a:pt x="2409711" y="1782221"/>
                  <a:pt x="2409711" y="1814602"/>
                </a:cubicBezTo>
                <a:lnTo>
                  <a:pt x="2409710" y="1814607"/>
                </a:lnTo>
                <a:lnTo>
                  <a:pt x="2409711" y="1814611"/>
                </a:lnTo>
                <a:cubicBezTo>
                  <a:pt x="2409711" y="1846993"/>
                  <a:pt x="2397358" y="1879375"/>
                  <a:pt x="2372650" y="1904081"/>
                </a:cubicBezTo>
                <a:cubicBezTo>
                  <a:pt x="2323240" y="1953492"/>
                  <a:pt x="2243126" y="1953492"/>
                  <a:pt x="2193714" y="1904081"/>
                </a:cubicBezTo>
                <a:cubicBezTo>
                  <a:pt x="2169009" y="1879375"/>
                  <a:pt x="2156655" y="1846993"/>
                  <a:pt x="2156655" y="1814611"/>
                </a:cubicBezTo>
                <a:lnTo>
                  <a:pt x="2156655" y="1814607"/>
                </a:lnTo>
                <a:lnTo>
                  <a:pt x="2156655" y="1814602"/>
                </a:lnTo>
                <a:cubicBezTo>
                  <a:pt x="2156655" y="1782221"/>
                  <a:pt x="2169009" y="1749839"/>
                  <a:pt x="2193714" y="1725133"/>
                </a:cubicBezTo>
                <a:cubicBezTo>
                  <a:pt x="2218420" y="1700426"/>
                  <a:pt x="2250800" y="1688074"/>
                  <a:pt x="2283183" y="1688074"/>
                </a:cubicBezTo>
                <a:close/>
                <a:moveTo>
                  <a:pt x="2840168" y="1624326"/>
                </a:moveTo>
                <a:lnTo>
                  <a:pt x="2859379" y="1628209"/>
                </a:lnTo>
                <a:lnTo>
                  <a:pt x="2914040" y="1639228"/>
                </a:lnTo>
                <a:lnTo>
                  <a:pt x="2914096" y="1639266"/>
                </a:lnTo>
                <a:lnTo>
                  <a:pt x="2914312" y="1639310"/>
                </a:lnTo>
                <a:lnTo>
                  <a:pt x="2950154" y="1663524"/>
                </a:lnTo>
                <a:lnTo>
                  <a:pt x="2974485" y="1679893"/>
                </a:lnTo>
                <a:lnTo>
                  <a:pt x="2974572" y="1680020"/>
                </a:lnTo>
                <a:lnTo>
                  <a:pt x="2974726" y="1680125"/>
                </a:lnTo>
                <a:lnTo>
                  <a:pt x="2994843" y="1710029"/>
                </a:lnTo>
                <a:lnTo>
                  <a:pt x="3015300" y="1740308"/>
                </a:lnTo>
                <a:lnTo>
                  <a:pt x="3015336" y="1740490"/>
                </a:lnTo>
                <a:lnTo>
                  <a:pt x="3015391" y="1740569"/>
                </a:lnTo>
                <a:cubicBezTo>
                  <a:pt x="3024984" y="1763300"/>
                  <a:pt x="3030282" y="1788269"/>
                  <a:pt x="3030282" y="1814442"/>
                </a:cubicBezTo>
                <a:lnTo>
                  <a:pt x="3030281" y="1814448"/>
                </a:lnTo>
                <a:lnTo>
                  <a:pt x="3030282" y="1814453"/>
                </a:lnTo>
                <a:cubicBezTo>
                  <a:pt x="3030282" y="1840626"/>
                  <a:pt x="3024984" y="1865594"/>
                  <a:pt x="3015391" y="1888324"/>
                </a:cubicBezTo>
                <a:lnTo>
                  <a:pt x="3015336" y="1888403"/>
                </a:lnTo>
                <a:lnTo>
                  <a:pt x="3015300" y="1888585"/>
                </a:lnTo>
                <a:lnTo>
                  <a:pt x="2994895" y="1918790"/>
                </a:lnTo>
                <a:lnTo>
                  <a:pt x="2974726" y="1948769"/>
                </a:lnTo>
                <a:lnTo>
                  <a:pt x="2974572" y="1948874"/>
                </a:lnTo>
                <a:lnTo>
                  <a:pt x="2974485" y="1948999"/>
                </a:lnTo>
                <a:lnTo>
                  <a:pt x="2950250" y="1965305"/>
                </a:lnTo>
                <a:lnTo>
                  <a:pt x="2914312" y="1989583"/>
                </a:lnTo>
                <a:lnTo>
                  <a:pt x="2914096" y="1989627"/>
                </a:lnTo>
                <a:lnTo>
                  <a:pt x="2914040" y="1989664"/>
                </a:lnTo>
                <a:lnTo>
                  <a:pt x="2859639" y="2000631"/>
                </a:lnTo>
                <a:lnTo>
                  <a:pt x="2840168" y="2004566"/>
                </a:lnTo>
                <a:cubicBezTo>
                  <a:pt x="2735475" y="2004566"/>
                  <a:pt x="2650053" y="1919786"/>
                  <a:pt x="2650053" y="1814453"/>
                </a:cubicBezTo>
                <a:lnTo>
                  <a:pt x="2650055" y="1814448"/>
                </a:lnTo>
                <a:lnTo>
                  <a:pt x="2650053" y="1814442"/>
                </a:lnTo>
                <a:cubicBezTo>
                  <a:pt x="2650053" y="1709107"/>
                  <a:pt x="2735475" y="1624326"/>
                  <a:pt x="2840168" y="1624326"/>
                </a:cubicBezTo>
                <a:close/>
                <a:moveTo>
                  <a:pt x="1726452" y="1217762"/>
                </a:moveTo>
                <a:cubicBezTo>
                  <a:pt x="1748290" y="1217762"/>
                  <a:pt x="1766273" y="1235745"/>
                  <a:pt x="1766273" y="1257583"/>
                </a:cubicBezTo>
                <a:lnTo>
                  <a:pt x="1766272" y="1257587"/>
                </a:lnTo>
                <a:lnTo>
                  <a:pt x="1766273" y="1257592"/>
                </a:lnTo>
                <a:cubicBezTo>
                  <a:pt x="1766273" y="1279428"/>
                  <a:pt x="1748290" y="1297412"/>
                  <a:pt x="1726452" y="1297412"/>
                </a:cubicBezTo>
                <a:cubicBezTo>
                  <a:pt x="1704614" y="1297412"/>
                  <a:pt x="1686631" y="1279428"/>
                  <a:pt x="1686631" y="1257592"/>
                </a:cubicBezTo>
                <a:lnTo>
                  <a:pt x="1686633" y="1257587"/>
                </a:lnTo>
                <a:lnTo>
                  <a:pt x="1686631" y="1257583"/>
                </a:lnTo>
                <a:cubicBezTo>
                  <a:pt x="1686631" y="1235745"/>
                  <a:pt x="1704614" y="1217762"/>
                  <a:pt x="1726452" y="1217762"/>
                </a:cubicBezTo>
                <a:close/>
                <a:moveTo>
                  <a:pt x="2283309" y="1183722"/>
                </a:moveTo>
                <a:lnTo>
                  <a:pt x="2289931" y="1185063"/>
                </a:lnTo>
                <a:lnTo>
                  <a:pt x="2311921" y="1189491"/>
                </a:lnTo>
                <a:lnTo>
                  <a:pt x="2311979" y="1189530"/>
                </a:lnTo>
                <a:lnTo>
                  <a:pt x="2312191" y="1189572"/>
                </a:lnTo>
                <a:lnTo>
                  <a:pt x="2325865" y="1198842"/>
                </a:lnTo>
                <a:lnTo>
                  <a:pt x="2335415" y="1205247"/>
                </a:lnTo>
                <a:lnTo>
                  <a:pt x="2335503" y="1205376"/>
                </a:lnTo>
                <a:lnTo>
                  <a:pt x="2335655" y="1205479"/>
                </a:lnTo>
                <a:lnTo>
                  <a:pt x="2343315" y="1216902"/>
                </a:lnTo>
                <a:lnTo>
                  <a:pt x="2351320" y="1228711"/>
                </a:lnTo>
                <a:lnTo>
                  <a:pt x="2351358" y="1228894"/>
                </a:lnTo>
                <a:lnTo>
                  <a:pt x="2351411" y="1228973"/>
                </a:lnTo>
                <a:cubicBezTo>
                  <a:pt x="2355124" y="1237794"/>
                  <a:pt x="2357170" y="1247468"/>
                  <a:pt x="2357170" y="1257585"/>
                </a:cubicBezTo>
                <a:lnTo>
                  <a:pt x="2357170" y="1257589"/>
                </a:lnTo>
                <a:lnTo>
                  <a:pt x="2357170" y="1257593"/>
                </a:lnTo>
                <a:cubicBezTo>
                  <a:pt x="2357170" y="1267709"/>
                  <a:pt x="2355124" y="1277383"/>
                  <a:pt x="2351411" y="1286203"/>
                </a:cubicBezTo>
                <a:lnTo>
                  <a:pt x="2351358" y="1286284"/>
                </a:lnTo>
                <a:lnTo>
                  <a:pt x="2351320" y="1286467"/>
                </a:lnTo>
                <a:lnTo>
                  <a:pt x="2343311" y="1298281"/>
                </a:lnTo>
                <a:lnTo>
                  <a:pt x="2335655" y="1309697"/>
                </a:lnTo>
                <a:lnTo>
                  <a:pt x="2335503" y="1309802"/>
                </a:lnTo>
                <a:lnTo>
                  <a:pt x="2335415" y="1309930"/>
                </a:lnTo>
                <a:lnTo>
                  <a:pt x="2325840" y="1316351"/>
                </a:lnTo>
                <a:lnTo>
                  <a:pt x="2312191" y="1325604"/>
                </a:lnTo>
                <a:lnTo>
                  <a:pt x="2311981" y="1325647"/>
                </a:lnTo>
                <a:lnTo>
                  <a:pt x="2311921" y="1325687"/>
                </a:lnTo>
                <a:lnTo>
                  <a:pt x="2289573" y="1330186"/>
                </a:lnTo>
                <a:lnTo>
                  <a:pt x="2283309" y="1331454"/>
                </a:lnTo>
                <a:cubicBezTo>
                  <a:pt x="2242846" y="1331454"/>
                  <a:pt x="2209446" y="1298698"/>
                  <a:pt x="2209446" y="1257593"/>
                </a:cubicBezTo>
                <a:lnTo>
                  <a:pt x="2209449" y="1257589"/>
                </a:lnTo>
                <a:lnTo>
                  <a:pt x="2209446" y="1257585"/>
                </a:lnTo>
                <a:cubicBezTo>
                  <a:pt x="2209446" y="1216478"/>
                  <a:pt x="2242846" y="1183722"/>
                  <a:pt x="2283309" y="1183722"/>
                </a:cubicBezTo>
                <a:close/>
                <a:moveTo>
                  <a:pt x="2840166" y="1135550"/>
                </a:moveTo>
                <a:cubicBezTo>
                  <a:pt x="2907607" y="1135550"/>
                  <a:pt x="2962201" y="1190144"/>
                  <a:pt x="2962201" y="1257583"/>
                </a:cubicBezTo>
                <a:lnTo>
                  <a:pt x="2962201" y="1257588"/>
                </a:lnTo>
                <a:lnTo>
                  <a:pt x="2962201" y="1257592"/>
                </a:lnTo>
                <a:cubicBezTo>
                  <a:pt x="2962201" y="1325031"/>
                  <a:pt x="2907607" y="1379625"/>
                  <a:pt x="2840166" y="1379625"/>
                </a:cubicBezTo>
                <a:cubicBezTo>
                  <a:pt x="2772728" y="1379625"/>
                  <a:pt x="2718134" y="1325031"/>
                  <a:pt x="2718134" y="1257592"/>
                </a:cubicBezTo>
                <a:lnTo>
                  <a:pt x="2718135" y="1257588"/>
                </a:lnTo>
                <a:lnTo>
                  <a:pt x="2718134" y="1257583"/>
                </a:lnTo>
                <a:cubicBezTo>
                  <a:pt x="2718134" y="1190144"/>
                  <a:pt x="2772728" y="1135550"/>
                  <a:pt x="2840166" y="1135550"/>
                </a:cubicBezTo>
                <a:close/>
                <a:moveTo>
                  <a:pt x="9524387" y="1083526"/>
                </a:moveTo>
                <a:cubicBezTo>
                  <a:pt x="9620729" y="1083526"/>
                  <a:pt x="9698445" y="1161885"/>
                  <a:pt x="9698445" y="1257586"/>
                </a:cubicBezTo>
                <a:lnTo>
                  <a:pt x="9698379" y="1257912"/>
                </a:lnTo>
                <a:lnTo>
                  <a:pt x="9698445" y="1258239"/>
                </a:lnTo>
                <a:cubicBezTo>
                  <a:pt x="9698445" y="1353939"/>
                  <a:pt x="9620729" y="1432296"/>
                  <a:pt x="9524387" y="1432296"/>
                </a:cubicBezTo>
                <a:cubicBezTo>
                  <a:pt x="9428045" y="1432296"/>
                  <a:pt x="9350329" y="1354579"/>
                  <a:pt x="9350329" y="1258239"/>
                </a:cubicBezTo>
                <a:lnTo>
                  <a:pt x="9350396" y="1257911"/>
                </a:lnTo>
                <a:lnTo>
                  <a:pt x="9350329" y="1257586"/>
                </a:lnTo>
                <a:cubicBezTo>
                  <a:pt x="9350329" y="1161243"/>
                  <a:pt x="9428045" y="1083526"/>
                  <a:pt x="9524387" y="1083526"/>
                </a:cubicBezTo>
                <a:close/>
                <a:moveTo>
                  <a:pt x="3397667" y="1083526"/>
                </a:moveTo>
                <a:cubicBezTo>
                  <a:pt x="3494010" y="1083526"/>
                  <a:pt x="3571726" y="1161884"/>
                  <a:pt x="3571726" y="1257583"/>
                </a:cubicBezTo>
                <a:lnTo>
                  <a:pt x="3571660" y="1257910"/>
                </a:lnTo>
                <a:lnTo>
                  <a:pt x="3571726" y="1258237"/>
                </a:lnTo>
                <a:cubicBezTo>
                  <a:pt x="3571726" y="1353936"/>
                  <a:pt x="3494010" y="1432293"/>
                  <a:pt x="3397667" y="1432293"/>
                </a:cubicBezTo>
                <a:cubicBezTo>
                  <a:pt x="3301968" y="1432293"/>
                  <a:pt x="3223609" y="1354576"/>
                  <a:pt x="3223609" y="1258237"/>
                </a:cubicBezTo>
                <a:lnTo>
                  <a:pt x="3223676" y="1257910"/>
                </a:lnTo>
                <a:lnTo>
                  <a:pt x="3223609" y="1257583"/>
                </a:lnTo>
                <a:cubicBezTo>
                  <a:pt x="3223609" y="1161241"/>
                  <a:pt x="3301968" y="1083526"/>
                  <a:pt x="3397667" y="1083526"/>
                </a:cubicBezTo>
                <a:close/>
                <a:moveTo>
                  <a:pt x="3985091" y="1035050"/>
                </a:moveTo>
                <a:lnTo>
                  <a:pt x="3999885" y="1038730"/>
                </a:lnTo>
                <a:lnTo>
                  <a:pt x="4006300" y="1038985"/>
                </a:lnTo>
                <a:lnTo>
                  <a:pt x="4012914" y="1041971"/>
                </a:lnTo>
                <a:lnTo>
                  <a:pt x="4032126" y="1046750"/>
                </a:lnTo>
                <a:cubicBezTo>
                  <a:pt x="4047339" y="1052324"/>
                  <a:pt x="4061989" y="1059550"/>
                  <a:pt x="4075781" y="1068355"/>
                </a:cubicBezTo>
                <a:lnTo>
                  <a:pt x="4081393" y="1072885"/>
                </a:lnTo>
                <a:lnTo>
                  <a:pt x="4084846" y="1074445"/>
                </a:lnTo>
                <a:lnTo>
                  <a:pt x="4089571" y="1079489"/>
                </a:lnTo>
                <a:lnTo>
                  <a:pt x="4114288" y="1099448"/>
                </a:lnTo>
                <a:lnTo>
                  <a:pt x="4145805" y="1139522"/>
                </a:lnTo>
                <a:lnTo>
                  <a:pt x="4145875" y="1139595"/>
                </a:lnTo>
                <a:cubicBezTo>
                  <a:pt x="4162191" y="1166001"/>
                  <a:pt x="4172383" y="1194462"/>
                  <a:pt x="4176845" y="1223321"/>
                </a:cubicBezTo>
                <a:lnTo>
                  <a:pt x="4176845" y="1223333"/>
                </a:lnTo>
                <a:lnTo>
                  <a:pt x="4176845" y="1223336"/>
                </a:lnTo>
                <a:cubicBezTo>
                  <a:pt x="4190230" y="1309913"/>
                  <a:pt x="4152028" y="1400071"/>
                  <a:pt x="4072815" y="1449022"/>
                </a:cubicBezTo>
                <a:cubicBezTo>
                  <a:pt x="3967198" y="1514291"/>
                  <a:pt x="3828668" y="1481581"/>
                  <a:pt x="3763402" y="1375963"/>
                </a:cubicBezTo>
                <a:cubicBezTo>
                  <a:pt x="3747085" y="1349560"/>
                  <a:pt x="3736893" y="1321098"/>
                  <a:pt x="3732430" y="1292239"/>
                </a:cubicBezTo>
                <a:lnTo>
                  <a:pt x="3732432" y="1292226"/>
                </a:lnTo>
                <a:lnTo>
                  <a:pt x="3732430" y="1292225"/>
                </a:lnTo>
                <a:cubicBezTo>
                  <a:pt x="3719046" y="1205646"/>
                  <a:pt x="3757249" y="1115485"/>
                  <a:pt x="3836462" y="1066536"/>
                </a:cubicBezTo>
                <a:cubicBezTo>
                  <a:pt x="3862866" y="1050219"/>
                  <a:pt x="3891327" y="1040027"/>
                  <a:pt x="3920187" y="1035565"/>
                </a:cubicBezTo>
                <a:lnTo>
                  <a:pt x="3920506" y="1035578"/>
                </a:lnTo>
                <a:close/>
                <a:moveTo>
                  <a:pt x="8967529" y="1032788"/>
                </a:moveTo>
                <a:cubicBezTo>
                  <a:pt x="9091682" y="1032788"/>
                  <a:pt x="9192327" y="1133433"/>
                  <a:pt x="9192327" y="1257587"/>
                </a:cubicBezTo>
                <a:lnTo>
                  <a:pt x="9192326" y="1257592"/>
                </a:lnTo>
                <a:lnTo>
                  <a:pt x="9192327" y="1257597"/>
                </a:lnTo>
                <a:cubicBezTo>
                  <a:pt x="9192327" y="1381748"/>
                  <a:pt x="9091682" y="1482394"/>
                  <a:pt x="8967529" y="1482394"/>
                </a:cubicBezTo>
                <a:cubicBezTo>
                  <a:pt x="8843376" y="1482394"/>
                  <a:pt x="8742731" y="1381748"/>
                  <a:pt x="8742731" y="1257597"/>
                </a:cubicBezTo>
                <a:lnTo>
                  <a:pt x="8742732" y="1257592"/>
                </a:lnTo>
                <a:lnTo>
                  <a:pt x="8742731" y="1257587"/>
                </a:lnTo>
                <a:cubicBezTo>
                  <a:pt x="8742731" y="1133433"/>
                  <a:pt x="8843376" y="1032788"/>
                  <a:pt x="8967529" y="1032788"/>
                </a:cubicBezTo>
                <a:close/>
                <a:moveTo>
                  <a:pt x="2283309" y="662831"/>
                </a:moveTo>
                <a:cubicBezTo>
                  <a:pt x="2293586" y="662831"/>
                  <a:pt x="2303059" y="667006"/>
                  <a:pt x="2309964" y="673830"/>
                </a:cubicBezTo>
                <a:lnTo>
                  <a:pt x="2310039" y="674008"/>
                </a:lnTo>
                <a:lnTo>
                  <a:pt x="2310206" y="674077"/>
                </a:lnTo>
                <a:lnTo>
                  <a:pt x="2320996" y="700227"/>
                </a:lnTo>
                <a:lnTo>
                  <a:pt x="2321205" y="700726"/>
                </a:lnTo>
                <a:lnTo>
                  <a:pt x="2321202" y="700728"/>
                </a:lnTo>
                <a:lnTo>
                  <a:pt x="2321205" y="700732"/>
                </a:lnTo>
                <a:lnTo>
                  <a:pt x="2320996" y="701231"/>
                </a:lnTo>
                <a:lnTo>
                  <a:pt x="2310206" y="727380"/>
                </a:lnTo>
                <a:lnTo>
                  <a:pt x="2310039" y="727450"/>
                </a:lnTo>
                <a:lnTo>
                  <a:pt x="2309964" y="727628"/>
                </a:lnTo>
                <a:cubicBezTo>
                  <a:pt x="2303059" y="734451"/>
                  <a:pt x="2293586" y="738627"/>
                  <a:pt x="2283309" y="738627"/>
                </a:cubicBezTo>
                <a:lnTo>
                  <a:pt x="2282587" y="738324"/>
                </a:lnTo>
                <a:lnTo>
                  <a:pt x="2256415" y="727622"/>
                </a:lnTo>
                <a:lnTo>
                  <a:pt x="2245705" y="701435"/>
                </a:lnTo>
                <a:lnTo>
                  <a:pt x="2245414" y="700732"/>
                </a:lnTo>
                <a:lnTo>
                  <a:pt x="2245417" y="700728"/>
                </a:lnTo>
                <a:lnTo>
                  <a:pt x="2245414" y="700726"/>
                </a:lnTo>
                <a:lnTo>
                  <a:pt x="2245705" y="700022"/>
                </a:lnTo>
                <a:lnTo>
                  <a:pt x="2256415" y="673836"/>
                </a:lnTo>
                <a:lnTo>
                  <a:pt x="2282587" y="663133"/>
                </a:lnTo>
                <a:close/>
                <a:moveTo>
                  <a:pt x="2840166" y="635213"/>
                </a:moveTo>
                <a:cubicBezTo>
                  <a:pt x="2876135" y="635213"/>
                  <a:pt x="2905681" y="664758"/>
                  <a:pt x="2905681" y="700726"/>
                </a:cubicBezTo>
                <a:lnTo>
                  <a:pt x="2905681" y="700729"/>
                </a:lnTo>
                <a:lnTo>
                  <a:pt x="2905681" y="700732"/>
                </a:lnTo>
                <a:cubicBezTo>
                  <a:pt x="2905681" y="736700"/>
                  <a:pt x="2876135" y="766245"/>
                  <a:pt x="2840166" y="766245"/>
                </a:cubicBezTo>
                <a:cubicBezTo>
                  <a:pt x="2804200" y="766245"/>
                  <a:pt x="2774655" y="736700"/>
                  <a:pt x="2774655" y="700732"/>
                </a:cubicBezTo>
                <a:lnTo>
                  <a:pt x="2774657" y="700729"/>
                </a:lnTo>
                <a:lnTo>
                  <a:pt x="2774655" y="700726"/>
                </a:lnTo>
                <a:cubicBezTo>
                  <a:pt x="2774655" y="664758"/>
                  <a:pt x="2804200" y="635213"/>
                  <a:pt x="2840166" y="635213"/>
                </a:cubicBezTo>
                <a:close/>
                <a:moveTo>
                  <a:pt x="9524387" y="601816"/>
                </a:moveTo>
                <a:cubicBezTo>
                  <a:pt x="9579014" y="601816"/>
                  <a:pt x="9623299" y="646100"/>
                  <a:pt x="9623299" y="700727"/>
                </a:cubicBezTo>
                <a:lnTo>
                  <a:pt x="9623298" y="700731"/>
                </a:lnTo>
                <a:lnTo>
                  <a:pt x="9623299" y="700734"/>
                </a:lnTo>
                <a:cubicBezTo>
                  <a:pt x="9623299" y="755361"/>
                  <a:pt x="9579015" y="799647"/>
                  <a:pt x="9524387" y="799647"/>
                </a:cubicBezTo>
                <a:cubicBezTo>
                  <a:pt x="9469760" y="799647"/>
                  <a:pt x="9425476" y="755361"/>
                  <a:pt x="9425476" y="700734"/>
                </a:cubicBezTo>
                <a:lnTo>
                  <a:pt x="9425477" y="700731"/>
                </a:lnTo>
                <a:lnTo>
                  <a:pt x="9425476" y="700727"/>
                </a:lnTo>
                <a:cubicBezTo>
                  <a:pt x="9425476" y="646100"/>
                  <a:pt x="9469760" y="601816"/>
                  <a:pt x="9524387" y="601816"/>
                </a:cubicBezTo>
                <a:close/>
                <a:moveTo>
                  <a:pt x="3397667" y="601815"/>
                </a:moveTo>
                <a:cubicBezTo>
                  <a:pt x="3452261" y="601815"/>
                  <a:pt x="3496579" y="646132"/>
                  <a:pt x="3496579" y="700726"/>
                </a:cubicBezTo>
                <a:lnTo>
                  <a:pt x="3496579" y="700729"/>
                </a:lnTo>
                <a:lnTo>
                  <a:pt x="3496579" y="700733"/>
                </a:lnTo>
                <a:cubicBezTo>
                  <a:pt x="3496579" y="755326"/>
                  <a:pt x="3452261" y="799643"/>
                  <a:pt x="3397667" y="799643"/>
                </a:cubicBezTo>
                <a:lnTo>
                  <a:pt x="3383469" y="796774"/>
                </a:lnTo>
                <a:lnTo>
                  <a:pt x="3359090" y="791860"/>
                </a:lnTo>
                <a:cubicBezTo>
                  <a:pt x="3335326" y="781844"/>
                  <a:pt x="3316220" y="762876"/>
                  <a:pt x="3306263" y="739212"/>
                </a:cubicBezTo>
                <a:lnTo>
                  <a:pt x="3298794" y="700922"/>
                </a:lnTo>
                <a:lnTo>
                  <a:pt x="3298756" y="700733"/>
                </a:lnTo>
                <a:lnTo>
                  <a:pt x="3298757" y="700729"/>
                </a:lnTo>
                <a:lnTo>
                  <a:pt x="3298756" y="700726"/>
                </a:lnTo>
                <a:lnTo>
                  <a:pt x="3298794" y="700536"/>
                </a:lnTo>
                <a:lnTo>
                  <a:pt x="3306263" y="662246"/>
                </a:lnTo>
                <a:cubicBezTo>
                  <a:pt x="3316220" y="638581"/>
                  <a:pt x="3335326" y="619615"/>
                  <a:pt x="3359090" y="609599"/>
                </a:cubicBezTo>
                <a:lnTo>
                  <a:pt x="3382942" y="604790"/>
                </a:lnTo>
                <a:close/>
                <a:moveTo>
                  <a:pt x="8967528" y="560709"/>
                </a:moveTo>
                <a:cubicBezTo>
                  <a:pt x="9044603" y="560709"/>
                  <a:pt x="9107546" y="623652"/>
                  <a:pt x="9107546" y="700727"/>
                </a:cubicBezTo>
                <a:lnTo>
                  <a:pt x="9107545" y="700731"/>
                </a:lnTo>
                <a:lnTo>
                  <a:pt x="9107546" y="700734"/>
                </a:lnTo>
                <a:cubicBezTo>
                  <a:pt x="9107546" y="777808"/>
                  <a:pt x="9044603" y="840753"/>
                  <a:pt x="8967528" y="840753"/>
                </a:cubicBezTo>
                <a:cubicBezTo>
                  <a:pt x="8890455" y="840753"/>
                  <a:pt x="8827512" y="777808"/>
                  <a:pt x="8827512" y="700734"/>
                </a:cubicBezTo>
                <a:lnTo>
                  <a:pt x="8827513" y="700731"/>
                </a:lnTo>
                <a:lnTo>
                  <a:pt x="8827512" y="700727"/>
                </a:lnTo>
                <a:lnTo>
                  <a:pt x="8827837" y="699122"/>
                </a:lnTo>
                <a:lnTo>
                  <a:pt x="8838551" y="646071"/>
                </a:lnTo>
                <a:cubicBezTo>
                  <a:pt x="8852761" y="612532"/>
                  <a:pt x="8879656" y="585776"/>
                  <a:pt x="8913135" y="571667"/>
                </a:cubicBezTo>
                <a:lnTo>
                  <a:pt x="8962419" y="561746"/>
                </a:lnTo>
                <a:close/>
                <a:moveTo>
                  <a:pt x="3954526" y="560708"/>
                </a:moveTo>
                <a:cubicBezTo>
                  <a:pt x="4031598" y="560708"/>
                  <a:pt x="4094542" y="623651"/>
                  <a:pt x="4094542" y="700726"/>
                </a:cubicBezTo>
                <a:lnTo>
                  <a:pt x="4094542" y="700729"/>
                </a:lnTo>
                <a:lnTo>
                  <a:pt x="4094542" y="700733"/>
                </a:lnTo>
                <a:cubicBezTo>
                  <a:pt x="4094542" y="777806"/>
                  <a:pt x="4031598" y="840752"/>
                  <a:pt x="3954526" y="840752"/>
                </a:cubicBezTo>
                <a:cubicBezTo>
                  <a:pt x="3877451" y="840752"/>
                  <a:pt x="3814508" y="777806"/>
                  <a:pt x="3814508" y="700733"/>
                </a:cubicBezTo>
                <a:lnTo>
                  <a:pt x="3814509" y="700729"/>
                </a:lnTo>
                <a:lnTo>
                  <a:pt x="3814508" y="700726"/>
                </a:lnTo>
                <a:lnTo>
                  <a:pt x="3814798" y="699297"/>
                </a:lnTo>
                <a:lnTo>
                  <a:pt x="3825547" y="646068"/>
                </a:lnTo>
                <a:cubicBezTo>
                  <a:pt x="3839757" y="612529"/>
                  <a:pt x="3866654" y="585775"/>
                  <a:pt x="3900132" y="571664"/>
                </a:cubicBezTo>
                <a:lnTo>
                  <a:pt x="3950168" y="561592"/>
                </a:lnTo>
                <a:close/>
                <a:moveTo>
                  <a:pt x="8410672" y="526027"/>
                </a:moveTo>
                <a:cubicBezTo>
                  <a:pt x="8507014" y="526027"/>
                  <a:pt x="8585372" y="604385"/>
                  <a:pt x="8585372" y="700727"/>
                </a:cubicBezTo>
                <a:lnTo>
                  <a:pt x="8585371" y="700731"/>
                </a:lnTo>
                <a:lnTo>
                  <a:pt x="8585372" y="700734"/>
                </a:lnTo>
                <a:cubicBezTo>
                  <a:pt x="8585372" y="797076"/>
                  <a:pt x="8507014" y="875437"/>
                  <a:pt x="8410672" y="875437"/>
                </a:cubicBezTo>
                <a:cubicBezTo>
                  <a:pt x="8314330" y="875437"/>
                  <a:pt x="8235971" y="797076"/>
                  <a:pt x="8235971" y="700734"/>
                </a:cubicBezTo>
                <a:lnTo>
                  <a:pt x="8235973" y="700731"/>
                </a:lnTo>
                <a:lnTo>
                  <a:pt x="8235971" y="700727"/>
                </a:lnTo>
                <a:cubicBezTo>
                  <a:pt x="8235971" y="604385"/>
                  <a:pt x="8314330" y="526027"/>
                  <a:pt x="8410672" y="526027"/>
                </a:cubicBezTo>
                <a:close/>
                <a:moveTo>
                  <a:pt x="4511383" y="523456"/>
                </a:moveTo>
                <a:lnTo>
                  <a:pt x="4525910" y="526391"/>
                </a:lnTo>
                <a:lnTo>
                  <a:pt x="4580269" y="537344"/>
                </a:lnTo>
                <a:lnTo>
                  <a:pt x="4580329" y="537384"/>
                </a:lnTo>
                <a:lnTo>
                  <a:pt x="4580539" y="537427"/>
                </a:lnTo>
                <a:lnTo>
                  <a:pt x="4613420" y="559640"/>
                </a:lnTo>
                <a:lnTo>
                  <a:pt x="4636628" y="575248"/>
                </a:lnTo>
                <a:lnTo>
                  <a:pt x="4636716" y="575377"/>
                </a:lnTo>
                <a:lnTo>
                  <a:pt x="4636869" y="575481"/>
                </a:lnTo>
                <a:lnTo>
                  <a:pt x="4655387" y="603014"/>
                </a:lnTo>
                <a:lnTo>
                  <a:pt x="4674683" y="631578"/>
                </a:lnTo>
                <a:lnTo>
                  <a:pt x="4674721" y="631762"/>
                </a:lnTo>
                <a:lnTo>
                  <a:pt x="4674773" y="631841"/>
                </a:lnTo>
                <a:cubicBezTo>
                  <a:pt x="4683715" y="653037"/>
                  <a:pt x="4688653" y="676319"/>
                  <a:pt x="4688653" y="700726"/>
                </a:cubicBezTo>
                <a:lnTo>
                  <a:pt x="4688653" y="700729"/>
                </a:lnTo>
                <a:lnTo>
                  <a:pt x="4688653" y="700733"/>
                </a:lnTo>
                <a:cubicBezTo>
                  <a:pt x="4688653" y="725140"/>
                  <a:pt x="4683715" y="748423"/>
                  <a:pt x="4674773" y="769618"/>
                </a:cubicBezTo>
                <a:lnTo>
                  <a:pt x="4674721" y="769698"/>
                </a:lnTo>
                <a:lnTo>
                  <a:pt x="4674683" y="769882"/>
                </a:lnTo>
                <a:lnTo>
                  <a:pt x="4655424" y="798388"/>
                </a:lnTo>
                <a:lnTo>
                  <a:pt x="4636869" y="825980"/>
                </a:lnTo>
                <a:lnTo>
                  <a:pt x="4636716" y="826084"/>
                </a:lnTo>
                <a:lnTo>
                  <a:pt x="4636628" y="826212"/>
                </a:lnTo>
                <a:lnTo>
                  <a:pt x="4613620" y="841687"/>
                </a:lnTo>
                <a:lnTo>
                  <a:pt x="4580539" y="864035"/>
                </a:lnTo>
                <a:lnTo>
                  <a:pt x="4580326" y="864079"/>
                </a:lnTo>
                <a:lnTo>
                  <a:pt x="4580269" y="864118"/>
                </a:lnTo>
                <a:lnTo>
                  <a:pt x="4527549" y="874740"/>
                </a:lnTo>
                <a:lnTo>
                  <a:pt x="4511383" y="878004"/>
                </a:lnTo>
                <a:cubicBezTo>
                  <a:pt x="4413757" y="878004"/>
                  <a:pt x="4334114" y="799002"/>
                  <a:pt x="4334114" y="700733"/>
                </a:cubicBezTo>
                <a:lnTo>
                  <a:pt x="4334115" y="700729"/>
                </a:lnTo>
                <a:lnTo>
                  <a:pt x="4334114" y="700726"/>
                </a:lnTo>
                <a:cubicBezTo>
                  <a:pt x="4334114" y="602457"/>
                  <a:pt x="4413757" y="523456"/>
                  <a:pt x="4511383" y="523456"/>
                </a:cubicBezTo>
                <a:close/>
                <a:moveTo>
                  <a:pt x="7853813" y="495840"/>
                </a:moveTo>
                <a:cubicBezTo>
                  <a:pt x="7966855" y="495840"/>
                  <a:pt x="8058701" y="587686"/>
                  <a:pt x="8058701" y="700727"/>
                </a:cubicBezTo>
                <a:lnTo>
                  <a:pt x="8058699" y="700731"/>
                </a:lnTo>
                <a:lnTo>
                  <a:pt x="8058701" y="700734"/>
                </a:lnTo>
                <a:cubicBezTo>
                  <a:pt x="8058701" y="813775"/>
                  <a:pt x="7966855" y="905624"/>
                  <a:pt x="7853813" y="905624"/>
                </a:cubicBezTo>
                <a:lnTo>
                  <a:pt x="7840604" y="902954"/>
                </a:lnTo>
                <a:lnTo>
                  <a:pt x="7773839" y="889499"/>
                </a:lnTo>
                <a:cubicBezTo>
                  <a:pt x="7724765" y="868744"/>
                  <a:pt x="7685606" y="829445"/>
                  <a:pt x="7664953" y="780429"/>
                </a:cubicBezTo>
                <a:lnTo>
                  <a:pt x="7649199" y="702084"/>
                </a:lnTo>
                <a:lnTo>
                  <a:pt x="7648926" y="700734"/>
                </a:lnTo>
                <a:lnTo>
                  <a:pt x="7648927" y="700731"/>
                </a:lnTo>
                <a:lnTo>
                  <a:pt x="7648926" y="700727"/>
                </a:lnTo>
                <a:lnTo>
                  <a:pt x="7649199" y="699377"/>
                </a:lnTo>
                <a:lnTo>
                  <a:pt x="7664953" y="621032"/>
                </a:lnTo>
                <a:cubicBezTo>
                  <a:pt x="7685606" y="572018"/>
                  <a:pt x="7724765" y="532719"/>
                  <a:pt x="7773839" y="511965"/>
                </a:cubicBezTo>
                <a:lnTo>
                  <a:pt x="7842361" y="498155"/>
                </a:lnTo>
                <a:close/>
                <a:moveTo>
                  <a:pt x="5068241" y="493269"/>
                </a:moveTo>
                <a:cubicBezTo>
                  <a:pt x="5182568" y="493269"/>
                  <a:pt x="5275698" y="586400"/>
                  <a:pt x="5275698" y="700726"/>
                </a:cubicBezTo>
                <a:lnTo>
                  <a:pt x="5275697" y="700729"/>
                </a:lnTo>
                <a:lnTo>
                  <a:pt x="5275698" y="700733"/>
                </a:lnTo>
                <a:cubicBezTo>
                  <a:pt x="5275698" y="815060"/>
                  <a:pt x="5182568" y="908192"/>
                  <a:pt x="5068241" y="908192"/>
                </a:cubicBezTo>
                <a:cubicBezTo>
                  <a:pt x="4953915" y="908192"/>
                  <a:pt x="4860783" y="815060"/>
                  <a:pt x="4860783" y="700733"/>
                </a:cubicBezTo>
                <a:lnTo>
                  <a:pt x="4860785" y="700729"/>
                </a:lnTo>
                <a:lnTo>
                  <a:pt x="4860783" y="700726"/>
                </a:lnTo>
                <a:lnTo>
                  <a:pt x="4861236" y="698502"/>
                </a:lnTo>
                <a:lnTo>
                  <a:pt x="4877122" y="619816"/>
                </a:lnTo>
                <a:cubicBezTo>
                  <a:pt x="4898156" y="570140"/>
                  <a:pt x="4937979" y="530459"/>
                  <a:pt x="4987595" y="509525"/>
                </a:cubicBezTo>
                <a:lnTo>
                  <a:pt x="5061344" y="494667"/>
                </a:lnTo>
                <a:close/>
                <a:moveTo>
                  <a:pt x="7296313" y="471433"/>
                </a:moveTo>
                <a:cubicBezTo>
                  <a:pt x="7422842" y="471433"/>
                  <a:pt x="7525607" y="574198"/>
                  <a:pt x="7525607" y="700727"/>
                </a:cubicBezTo>
                <a:lnTo>
                  <a:pt x="7525605" y="700731"/>
                </a:lnTo>
                <a:lnTo>
                  <a:pt x="7525607" y="700734"/>
                </a:lnTo>
                <a:cubicBezTo>
                  <a:pt x="7525607" y="827266"/>
                  <a:pt x="7422842" y="930031"/>
                  <a:pt x="7296313" y="930031"/>
                </a:cubicBezTo>
                <a:cubicBezTo>
                  <a:pt x="7169785" y="930031"/>
                  <a:pt x="7067019" y="827266"/>
                  <a:pt x="7067019" y="700734"/>
                </a:cubicBezTo>
                <a:lnTo>
                  <a:pt x="7067020" y="700731"/>
                </a:lnTo>
                <a:lnTo>
                  <a:pt x="7067019" y="700727"/>
                </a:lnTo>
                <a:cubicBezTo>
                  <a:pt x="7067019" y="574198"/>
                  <a:pt x="7169785" y="471433"/>
                  <a:pt x="7296313" y="471433"/>
                </a:cubicBezTo>
                <a:close/>
                <a:moveTo>
                  <a:pt x="5625740" y="471431"/>
                </a:moveTo>
                <a:cubicBezTo>
                  <a:pt x="5752269" y="471431"/>
                  <a:pt x="5855035" y="574197"/>
                  <a:pt x="5855035" y="700726"/>
                </a:cubicBezTo>
                <a:lnTo>
                  <a:pt x="5855033" y="700729"/>
                </a:lnTo>
                <a:lnTo>
                  <a:pt x="5855035" y="700734"/>
                </a:lnTo>
                <a:cubicBezTo>
                  <a:pt x="5855035" y="827266"/>
                  <a:pt x="5752269" y="930031"/>
                  <a:pt x="5625740" y="930031"/>
                </a:cubicBezTo>
                <a:lnTo>
                  <a:pt x="5602468" y="927681"/>
                </a:lnTo>
                <a:lnTo>
                  <a:pt x="5579376" y="925359"/>
                </a:lnTo>
                <a:cubicBezTo>
                  <a:pt x="5504560" y="910074"/>
                  <a:pt x="5443293" y="858502"/>
                  <a:pt x="5414389" y="789933"/>
                </a:cubicBezTo>
                <a:lnTo>
                  <a:pt x="5396752" y="702248"/>
                </a:lnTo>
                <a:lnTo>
                  <a:pt x="5396446" y="700734"/>
                </a:lnTo>
                <a:lnTo>
                  <a:pt x="5396447" y="700729"/>
                </a:lnTo>
                <a:lnTo>
                  <a:pt x="5396446" y="700726"/>
                </a:lnTo>
                <a:lnTo>
                  <a:pt x="5396751" y="699216"/>
                </a:lnTo>
                <a:lnTo>
                  <a:pt x="5414389" y="611527"/>
                </a:lnTo>
                <a:cubicBezTo>
                  <a:pt x="5443293" y="542959"/>
                  <a:pt x="5504560" y="491388"/>
                  <a:pt x="5579376" y="476103"/>
                </a:cubicBezTo>
                <a:lnTo>
                  <a:pt x="5606191" y="473405"/>
                </a:lnTo>
                <a:close/>
                <a:moveTo>
                  <a:pt x="6181956" y="461149"/>
                </a:moveTo>
                <a:cubicBezTo>
                  <a:pt x="6314266" y="461149"/>
                  <a:pt x="6421527" y="568411"/>
                  <a:pt x="6421527" y="700721"/>
                </a:cubicBezTo>
                <a:cubicBezTo>
                  <a:pt x="6421527" y="807981"/>
                  <a:pt x="6351519" y="898543"/>
                  <a:pt x="6254533" y="929373"/>
                </a:cubicBezTo>
                <a:cubicBezTo>
                  <a:pt x="6339957" y="947999"/>
                  <a:pt x="6413177" y="999381"/>
                  <a:pt x="6460706" y="1069390"/>
                </a:cubicBezTo>
                <a:cubicBezTo>
                  <a:pt x="6508235" y="999381"/>
                  <a:pt x="6581455" y="947999"/>
                  <a:pt x="6666879" y="929373"/>
                </a:cubicBezTo>
                <a:cubicBezTo>
                  <a:pt x="6569894" y="898543"/>
                  <a:pt x="6499885" y="807981"/>
                  <a:pt x="6499885" y="700721"/>
                </a:cubicBezTo>
                <a:cubicBezTo>
                  <a:pt x="6499885" y="568411"/>
                  <a:pt x="6606505" y="461149"/>
                  <a:pt x="6738813" y="461149"/>
                </a:cubicBezTo>
                <a:cubicBezTo>
                  <a:pt x="6871125" y="461149"/>
                  <a:pt x="6978385" y="568411"/>
                  <a:pt x="6978385" y="700721"/>
                </a:cubicBezTo>
                <a:cubicBezTo>
                  <a:pt x="6978385" y="807981"/>
                  <a:pt x="6908377" y="898543"/>
                  <a:pt x="6811392" y="929373"/>
                </a:cubicBezTo>
                <a:cubicBezTo>
                  <a:pt x="6900669" y="949283"/>
                  <a:pt x="6975815" y="1003235"/>
                  <a:pt x="7023345" y="1077739"/>
                </a:cubicBezTo>
                <a:cubicBezTo>
                  <a:pt x="7081791" y="989105"/>
                  <a:pt x="7181988" y="930657"/>
                  <a:pt x="7296315" y="930657"/>
                </a:cubicBezTo>
                <a:cubicBezTo>
                  <a:pt x="7422843" y="930657"/>
                  <a:pt x="7532674" y="1002593"/>
                  <a:pt x="7587268" y="1107927"/>
                </a:cubicBezTo>
                <a:cubicBezTo>
                  <a:pt x="7639293" y="1015438"/>
                  <a:pt x="7738845" y="952495"/>
                  <a:pt x="7853172" y="952495"/>
                </a:cubicBezTo>
                <a:cubicBezTo>
                  <a:pt x="7997043" y="952495"/>
                  <a:pt x="8117149" y="1051406"/>
                  <a:pt x="8149905" y="1185001"/>
                </a:cubicBezTo>
                <a:cubicBezTo>
                  <a:pt x="8181377" y="1070674"/>
                  <a:pt x="8286069" y="987177"/>
                  <a:pt x="8410029" y="987177"/>
                </a:cubicBezTo>
                <a:cubicBezTo>
                  <a:pt x="8559039" y="987177"/>
                  <a:pt x="8680430" y="1107927"/>
                  <a:pt x="8680430" y="1257578"/>
                </a:cubicBezTo>
                <a:cubicBezTo>
                  <a:pt x="8680430" y="1354563"/>
                  <a:pt x="8629689" y="1439986"/>
                  <a:pt x="8552616" y="1487515"/>
                </a:cubicBezTo>
                <a:cubicBezTo>
                  <a:pt x="8620055" y="1517060"/>
                  <a:pt x="8676577" y="1566515"/>
                  <a:pt x="8714472" y="1628817"/>
                </a:cubicBezTo>
                <a:cubicBezTo>
                  <a:pt x="8771634" y="1551743"/>
                  <a:pt x="8863480" y="1501646"/>
                  <a:pt x="8966887" y="1501646"/>
                </a:cubicBezTo>
                <a:cubicBezTo>
                  <a:pt x="9119108" y="1501646"/>
                  <a:pt x="9246279" y="1610832"/>
                  <a:pt x="9274540" y="1754704"/>
                </a:cubicBezTo>
                <a:cubicBezTo>
                  <a:pt x="9301516" y="1641662"/>
                  <a:pt x="9402996" y="1558166"/>
                  <a:pt x="9523745" y="1558166"/>
                </a:cubicBezTo>
                <a:cubicBezTo>
                  <a:pt x="9665690" y="1558166"/>
                  <a:pt x="9780658" y="1673134"/>
                  <a:pt x="9780658" y="1815078"/>
                </a:cubicBezTo>
                <a:cubicBezTo>
                  <a:pt x="9780658" y="1923624"/>
                  <a:pt x="9712576" y="2016755"/>
                  <a:pt x="9616877" y="2054007"/>
                </a:cubicBezTo>
                <a:cubicBezTo>
                  <a:pt x="9718356" y="2083552"/>
                  <a:pt x="9799284" y="2159983"/>
                  <a:pt x="9835252" y="2258894"/>
                </a:cubicBezTo>
                <a:cubicBezTo>
                  <a:pt x="9851951" y="2222927"/>
                  <a:pt x="9877001" y="2190813"/>
                  <a:pt x="9907186" y="2165122"/>
                </a:cubicBezTo>
                <a:lnTo>
                  <a:pt x="9907186" y="6706386"/>
                </a:lnTo>
                <a:lnTo>
                  <a:pt x="1456023" y="6706386"/>
                </a:lnTo>
                <a:lnTo>
                  <a:pt x="1475320" y="6664783"/>
                </a:lnTo>
                <a:cubicBezTo>
                  <a:pt x="1505828" y="6617896"/>
                  <a:pt x="1549182" y="6580162"/>
                  <a:pt x="1600564" y="6556398"/>
                </a:cubicBezTo>
                <a:cubicBezTo>
                  <a:pt x="1490735" y="6507585"/>
                  <a:pt x="1414303" y="6398397"/>
                  <a:pt x="1414303" y="6270583"/>
                </a:cubicBezTo>
                <a:cubicBezTo>
                  <a:pt x="1414303" y="6149834"/>
                  <a:pt x="1483027" y="6045142"/>
                  <a:pt x="1583865" y="5993117"/>
                </a:cubicBezTo>
                <a:cubicBezTo>
                  <a:pt x="1481743" y="5941093"/>
                  <a:pt x="1412376" y="5835758"/>
                  <a:pt x="1412376" y="5713725"/>
                </a:cubicBezTo>
                <a:cubicBezTo>
                  <a:pt x="1412376" y="5590407"/>
                  <a:pt x="1484312" y="5483146"/>
                  <a:pt x="1587719" y="5432406"/>
                </a:cubicBezTo>
                <a:cubicBezTo>
                  <a:pt x="1487523" y="5381665"/>
                  <a:pt x="1418157" y="5277616"/>
                  <a:pt x="1418157" y="5156867"/>
                </a:cubicBezTo>
                <a:cubicBezTo>
                  <a:pt x="1418157" y="5023273"/>
                  <a:pt x="1503580" y="4909589"/>
                  <a:pt x="1622402" y="4866556"/>
                </a:cubicBezTo>
                <a:cubicBezTo>
                  <a:pt x="1515783" y="4824808"/>
                  <a:pt x="1439994" y="4721401"/>
                  <a:pt x="1439994" y="4600009"/>
                </a:cubicBezTo>
                <a:cubicBezTo>
                  <a:pt x="1439994" y="4442008"/>
                  <a:pt x="1568451" y="4313552"/>
                  <a:pt x="1726452" y="4313552"/>
                </a:cubicBezTo>
                <a:cubicBezTo>
                  <a:pt x="1818298" y="4313552"/>
                  <a:pt x="1899868" y="4357227"/>
                  <a:pt x="1952535" y="4424666"/>
                </a:cubicBezTo>
                <a:cubicBezTo>
                  <a:pt x="1978227" y="4376496"/>
                  <a:pt x="2013553" y="4334747"/>
                  <a:pt x="2056584" y="4301991"/>
                </a:cubicBezTo>
                <a:cubicBezTo>
                  <a:pt x="2011624" y="4262812"/>
                  <a:pt x="1976943" y="4211429"/>
                  <a:pt x="1957032" y="4152981"/>
                </a:cubicBezTo>
                <a:cubicBezTo>
                  <a:pt x="1915925" y="4239048"/>
                  <a:pt x="1828575" y="4298780"/>
                  <a:pt x="1726452" y="4298780"/>
                </a:cubicBezTo>
                <a:cubicBezTo>
                  <a:pt x="1585150" y="4298780"/>
                  <a:pt x="1470824" y="4184454"/>
                  <a:pt x="1470824" y="4043152"/>
                </a:cubicBezTo>
                <a:cubicBezTo>
                  <a:pt x="1470824" y="3901850"/>
                  <a:pt x="1585150" y="3787524"/>
                  <a:pt x="1726452" y="3787524"/>
                </a:cubicBezTo>
                <a:cubicBezTo>
                  <a:pt x="1827932" y="3787524"/>
                  <a:pt x="1915925" y="3847256"/>
                  <a:pt x="1957032" y="3933321"/>
                </a:cubicBezTo>
                <a:cubicBezTo>
                  <a:pt x="1984649" y="3851110"/>
                  <a:pt x="2042454" y="3782385"/>
                  <a:pt x="2116959" y="3741280"/>
                </a:cubicBezTo>
                <a:cubicBezTo>
                  <a:pt x="2033462" y="3686686"/>
                  <a:pt x="1978227" y="3592912"/>
                  <a:pt x="1978227" y="3485652"/>
                </a:cubicBezTo>
                <a:cubicBezTo>
                  <a:pt x="1978227" y="3316732"/>
                  <a:pt x="2115033" y="3180568"/>
                  <a:pt x="2283309" y="3180568"/>
                </a:cubicBezTo>
                <a:cubicBezTo>
                  <a:pt x="2377083" y="3180568"/>
                  <a:pt x="2460579" y="3222959"/>
                  <a:pt x="2516458" y="3289114"/>
                </a:cubicBezTo>
                <a:cubicBezTo>
                  <a:pt x="2543434" y="3244154"/>
                  <a:pt x="2580044" y="3205617"/>
                  <a:pt x="2622434" y="3177999"/>
                </a:cubicBezTo>
                <a:cubicBezTo>
                  <a:pt x="2572980" y="3134324"/>
                  <a:pt x="2536370" y="3075876"/>
                  <a:pt x="2520311" y="3009721"/>
                </a:cubicBezTo>
                <a:cubicBezTo>
                  <a:pt x="2487557" y="3108633"/>
                  <a:pt x="2393783" y="3180568"/>
                  <a:pt x="2283309" y="3180568"/>
                </a:cubicBezTo>
                <a:cubicBezTo>
                  <a:pt x="2144577" y="3180568"/>
                  <a:pt x="2032820" y="3068168"/>
                  <a:pt x="2032820" y="2930079"/>
                </a:cubicBezTo>
                <a:cubicBezTo>
                  <a:pt x="2032820" y="2791346"/>
                  <a:pt x="2145219" y="2679589"/>
                  <a:pt x="2283309" y="2679589"/>
                </a:cubicBezTo>
                <a:cubicBezTo>
                  <a:pt x="2393783" y="2679589"/>
                  <a:pt x="2486912" y="2750882"/>
                  <a:pt x="2520311" y="2850436"/>
                </a:cubicBezTo>
                <a:cubicBezTo>
                  <a:pt x="2547288" y="2741248"/>
                  <a:pt x="2627573" y="2653898"/>
                  <a:pt x="2732265" y="2617930"/>
                </a:cubicBezTo>
                <a:cubicBezTo>
                  <a:pt x="2637849" y="2576182"/>
                  <a:pt x="2571694" y="2481766"/>
                  <a:pt x="2571694" y="2371936"/>
                </a:cubicBezTo>
                <a:cubicBezTo>
                  <a:pt x="2571694" y="2223569"/>
                  <a:pt x="2691801" y="2103463"/>
                  <a:pt x="2840168" y="2103463"/>
                </a:cubicBezTo>
                <a:cubicBezTo>
                  <a:pt x="2949356" y="2103463"/>
                  <a:pt x="3042487" y="2168332"/>
                  <a:pt x="3084876" y="2261464"/>
                </a:cubicBezTo>
                <a:cubicBezTo>
                  <a:pt x="3120202" y="2161910"/>
                  <a:pt x="3201772" y="2084194"/>
                  <a:pt x="3303897" y="2054007"/>
                </a:cubicBezTo>
                <a:cubicBezTo>
                  <a:pt x="3208195" y="2016755"/>
                  <a:pt x="3140113" y="1924266"/>
                  <a:pt x="3140113" y="1815078"/>
                </a:cubicBezTo>
                <a:cubicBezTo>
                  <a:pt x="3140113" y="1673134"/>
                  <a:pt x="3255082" y="1558166"/>
                  <a:pt x="3397026" y="1558166"/>
                </a:cubicBezTo>
                <a:cubicBezTo>
                  <a:pt x="3517775" y="1558166"/>
                  <a:pt x="3619255" y="1642305"/>
                  <a:pt x="3646231" y="1754704"/>
                </a:cubicBezTo>
                <a:cubicBezTo>
                  <a:pt x="3674490" y="1610191"/>
                  <a:pt x="3801664" y="1501646"/>
                  <a:pt x="3953882" y="1501646"/>
                </a:cubicBezTo>
                <a:cubicBezTo>
                  <a:pt x="4057291" y="1501646"/>
                  <a:pt x="4149138" y="1551743"/>
                  <a:pt x="4206301" y="1628817"/>
                </a:cubicBezTo>
                <a:cubicBezTo>
                  <a:pt x="4244195" y="1566515"/>
                  <a:pt x="4300714" y="1517060"/>
                  <a:pt x="4368154" y="1487515"/>
                </a:cubicBezTo>
                <a:cubicBezTo>
                  <a:pt x="4291724" y="1439344"/>
                  <a:pt x="4240341" y="1354563"/>
                  <a:pt x="4240341" y="1257578"/>
                </a:cubicBezTo>
                <a:cubicBezTo>
                  <a:pt x="4240341" y="1108569"/>
                  <a:pt x="4361090" y="987177"/>
                  <a:pt x="4510741" y="987177"/>
                </a:cubicBezTo>
                <a:cubicBezTo>
                  <a:pt x="4634702" y="987177"/>
                  <a:pt x="4738750" y="1071317"/>
                  <a:pt x="4770864" y="1185001"/>
                </a:cubicBezTo>
                <a:cubicBezTo>
                  <a:pt x="4803622" y="1051406"/>
                  <a:pt x="4924371" y="952495"/>
                  <a:pt x="5067599" y="952495"/>
                </a:cubicBezTo>
                <a:cubicBezTo>
                  <a:pt x="5181924" y="952495"/>
                  <a:pt x="5280836" y="1015438"/>
                  <a:pt x="5333505" y="1107927"/>
                </a:cubicBezTo>
                <a:cubicBezTo>
                  <a:pt x="5388098" y="1002593"/>
                  <a:pt x="5497927" y="930657"/>
                  <a:pt x="5624456" y="930657"/>
                </a:cubicBezTo>
                <a:cubicBezTo>
                  <a:pt x="5738140" y="930657"/>
                  <a:pt x="5838978" y="989105"/>
                  <a:pt x="5897426" y="1077739"/>
                </a:cubicBezTo>
                <a:cubicBezTo>
                  <a:pt x="5944954" y="1003235"/>
                  <a:pt x="6020744" y="948641"/>
                  <a:pt x="6109379" y="929373"/>
                </a:cubicBezTo>
                <a:cubicBezTo>
                  <a:pt x="6012394" y="898543"/>
                  <a:pt x="5942386" y="807981"/>
                  <a:pt x="5942386" y="700721"/>
                </a:cubicBezTo>
                <a:cubicBezTo>
                  <a:pt x="5942386" y="568411"/>
                  <a:pt x="6049646" y="461149"/>
                  <a:pt x="6181956" y="461149"/>
                </a:cubicBezTo>
                <a:close/>
                <a:moveTo>
                  <a:pt x="2840168" y="113689"/>
                </a:moveTo>
                <a:cubicBezTo>
                  <a:pt x="2856867" y="113689"/>
                  <a:pt x="2869713" y="127176"/>
                  <a:pt x="2869713" y="143233"/>
                </a:cubicBezTo>
                <a:lnTo>
                  <a:pt x="2869581" y="143551"/>
                </a:lnTo>
                <a:lnTo>
                  <a:pt x="2869713" y="143871"/>
                </a:lnTo>
                <a:cubicBezTo>
                  <a:pt x="2869713" y="159928"/>
                  <a:pt x="2856867" y="173415"/>
                  <a:pt x="2840168" y="173415"/>
                </a:cubicBezTo>
                <a:cubicBezTo>
                  <a:pt x="2824110" y="173415"/>
                  <a:pt x="2810622" y="159928"/>
                  <a:pt x="2810622" y="143871"/>
                </a:cubicBezTo>
                <a:lnTo>
                  <a:pt x="2810753" y="143551"/>
                </a:lnTo>
                <a:lnTo>
                  <a:pt x="2810622" y="143233"/>
                </a:lnTo>
                <a:cubicBezTo>
                  <a:pt x="2810622" y="127176"/>
                  <a:pt x="2824110" y="113689"/>
                  <a:pt x="2840168" y="113689"/>
                </a:cubicBezTo>
                <a:close/>
                <a:moveTo>
                  <a:pt x="3397667" y="93779"/>
                </a:moveTo>
                <a:cubicBezTo>
                  <a:pt x="3425285" y="93779"/>
                  <a:pt x="3447123" y="116257"/>
                  <a:pt x="3447123" y="143233"/>
                </a:cubicBezTo>
                <a:lnTo>
                  <a:pt x="3446990" y="143553"/>
                </a:lnTo>
                <a:lnTo>
                  <a:pt x="3447123" y="143871"/>
                </a:lnTo>
                <a:cubicBezTo>
                  <a:pt x="3447123" y="170847"/>
                  <a:pt x="3425285" y="193326"/>
                  <a:pt x="3397667" y="193326"/>
                </a:cubicBezTo>
                <a:cubicBezTo>
                  <a:pt x="3370050" y="193326"/>
                  <a:pt x="3348213" y="170847"/>
                  <a:pt x="3348213" y="143871"/>
                </a:cubicBezTo>
                <a:lnTo>
                  <a:pt x="3348344" y="143553"/>
                </a:lnTo>
                <a:lnTo>
                  <a:pt x="3348213" y="143233"/>
                </a:lnTo>
                <a:cubicBezTo>
                  <a:pt x="3348213" y="116257"/>
                  <a:pt x="3370050" y="93779"/>
                  <a:pt x="3397667" y="93779"/>
                </a:cubicBezTo>
                <a:close/>
                <a:moveTo>
                  <a:pt x="3954524" y="71299"/>
                </a:moveTo>
                <a:cubicBezTo>
                  <a:pt x="3994346" y="71299"/>
                  <a:pt x="4026460" y="103413"/>
                  <a:pt x="4026460" y="143235"/>
                </a:cubicBezTo>
                <a:lnTo>
                  <a:pt x="4026397" y="143553"/>
                </a:lnTo>
                <a:lnTo>
                  <a:pt x="4026460" y="143871"/>
                </a:lnTo>
                <a:cubicBezTo>
                  <a:pt x="4026460" y="183692"/>
                  <a:pt x="3994346" y="215806"/>
                  <a:pt x="3954524" y="215806"/>
                </a:cubicBezTo>
                <a:cubicBezTo>
                  <a:pt x="3914703" y="215806"/>
                  <a:pt x="3881946" y="183692"/>
                  <a:pt x="3882590" y="143871"/>
                </a:cubicBezTo>
                <a:lnTo>
                  <a:pt x="3882654" y="143553"/>
                </a:lnTo>
                <a:lnTo>
                  <a:pt x="3882590" y="143235"/>
                </a:lnTo>
                <a:cubicBezTo>
                  <a:pt x="3881946" y="103413"/>
                  <a:pt x="3914703" y="71299"/>
                  <a:pt x="3954524" y="71299"/>
                </a:cubicBezTo>
                <a:close/>
                <a:moveTo>
                  <a:pt x="4511383" y="47529"/>
                </a:moveTo>
                <a:cubicBezTo>
                  <a:pt x="4564694" y="47529"/>
                  <a:pt x="4607725" y="90562"/>
                  <a:pt x="4607725" y="143871"/>
                </a:cubicBezTo>
                <a:lnTo>
                  <a:pt x="4607725" y="143873"/>
                </a:lnTo>
                <a:lnTo>
                  <a:pt x="4607725" y="143877"/>
                </a:lnTo>
                <a:cubicBezTo>
                  <a:pt x="4607725" y="197187"/>
                  <a:pt x="4564694" y="240219"/>
                  <a:pt x="4511383" y="240219"/>
                </a:cubicBezTo>
                <a:cubicBezTo>
                  <a:pt x="4458074" y="240219"/>
                  <a:pt x="4415041" y="197187"/>
                  <a:pt x="4415041" y="143877"/>
                </a:cubicBezTo>
                <a:lnTo>
                  <a:pt x="4415042" y="143873"/>
                </a:lnTo>
                <a:lnTo>
                  <a:pt x="4415041" y="143871"/>
                </a:lnTo>
                <a:cubicBezTo>
                  <a:pt x="4415041" y="90562"/>
                  <a:pt x="4458074" y="47529"/>
                  <a:pt x="4511383" y="47529"/>
                </a:cubicBezTo>
                <a:close/>
                <a:moveTo>
                  <a:pt x="5068241" y="26334"/>
                </a:moveTo>
                <a:cubicBezTo>
                  <a:pt x="5133111" y="26334"/>
                  <a:pt x="5185778" y="79001"/>
                  <a:pt x="5185778" y="143871"/>
                </a:cubicBezTo>
                <a:lnTo>
                  <a:pt x="5185778" y="143874"/>
                </a:lnTo>
                <a:lnTo>
                  <a:pt x="5185778" y="143877"/>
                </a:lnTo>
                <a:cubicBezTo>
                  <a:pt x="5185778" y="208748"/>
                  <a:pt x="5133111" y="261414"/>
                  <a:pt x="5068241" y="261414"/>
                </a:cubicBezTo>
                <a:cubicBezTo>
                  <a:pt x="5003370" y="261414"/>
                  <a:pt x="4950704" y="208748"/>
                  <a:pt x="4950704" y="143877"/>
                </a:cubicBezTo>
                <a:lnTo>
                  <a:pt x="4950705" y="143874"/>
                </a:lnTo>
                <a:lnTo>
                  <a:pt x="4950704" y="143871"/>
                </a:lnTo>
                <a:lnTo>
                  <a:pt x="4950925" y="142777"/>
                </a:lnTo>
                <a:lnTo>
                  <a:pt x="4959946" y="97875"/>
                </a:lnTo>
                <a:cubicBezTo>
                  <a:pt x="4971848" y="69695"/>
                  <a:pt x="4994389" y="47295"/>
                  <a:pt x="5022508" y="35492"/>
                </a:cubicBezTo>
                <a:lnTo>
                  <a:pt x="5064898" y="27009"/>
                </a:lnTo>
                <a:close/>
                <a:moveTo>
                  <a:pt x="7296313" y="10283"/>
                </a:moveTo>
                <a:cubicBezTo>
                  <a:pt x="7369535" y="10283"/>
                  <a:pt x="7429266" y="70015"/>
                  <a:pt x="7429266" y="143235"/>
                </a:cubicBezTo>
                <a:lnTo>
                  <a:pt x="7429201" y="143553"/>
                </a:lnTo>
                <a:lnTo>
                  <a:pt x="7429266" y="143871"/>
                </a:lnTo>
                <a:cubicBezTo>
                  <a:pt x="7429266" y="217091"/>
                  <a:pt x="7369535" y="276822"/>
                  <a:pt x="7296313" y="276822"/>
                </a:cubicBezTo>
                <a:cubicBezTo>
                  <a:pt x="7223093" y="276822"/>
                  <a:pt x="7163362" y="217091"/>
                  <a:pt x="7163362" y="143871"/>
                </a:cubicBezTo>
                <a:lnTo>
                  <a:pt x="7163425" y="143553"/>
                </a:lnTo>
                <a:lnTo>
                  <a:pt x="7163362" y="143235"/>
                </a:lnTo>
                <a:cubicBezTo>
                  <a:pt x="7163362" y="70015"/>
                  <a:pt x="7223093" y="10283"/>
                  <a:pt x="7296313" y="10283"/>
                </a:cubicBezTo>
                <a:close/>
                <a:moveTo>
                  <a:pt x="5625740" y="10283"/>
                </a:moveTo>
                <a:cubicBezTo>
                  <a:pt x="5699603" y="10283"/>
                  <a:pt x="5758691" y="70015"/>
                  <a:pt x="5758691" y="143234"/>
                </a:cubicBezTo>
                <a:lnTo>
                  <a:pt x="5758627" y="143553"/>
                </a:lnTo>
                <a:lnTo>
                  <a:pt x="5758691" y="143871"/>
                </a:lnTo>
                <a:cubicBezTo>
                  <a:pt x="5758691" y="217091"/>
                  <a:pt x="5699603" y="276822"/>
                  <a:pt x="5625740" y="276822"/>
                </a:cubicBezTo>
                <a:cubicBezTo>
                  <a:pt x="5551877" y="276822"/>
                  <a:pt x="5492145" y="217091"/>
                  <a:pt x="5492788" y="143871"/>
                </a:cubicBezTo>
                <a:lnTo>
                  <a:pt x="5492852" y="143553"/>
                </a:lnTo>
                <a:lnTo>
                  <a:pt x="5492788" y="143234"/>
                </a:lnTo>
                <a:cubicBezTo>
                  <a:pt x="5492145" y="70015"/>
                  <a:pt x="5551877" y="10283"/>
                  <a:pt x="5625740" y="10283"/>
                </a:cubicBezTo>
                <a:close/>
                <a:moveTo>
                  <a:pt x="6182597" y="1"/>
                </a:moveTo>
                <a:cubicBezTo>
                  <a:pt x="6261599" y="1"/>
                  <a:pt x="6325827" y="64228"/>
                  <a:pt x="6325827" y="143228"/>
                </a:cubicBezTo>
                <a:lnTo>
                  <a:pt x="6325761" y="143553"/>
                </a:lnTo>
                <a:lnTo>
                  <a:pt x="6325827" y="143876"/>
                </a:lnTo>
                <a:cubicBezTo>
                  <a:pt x="6325827" y="222877"/>
                  <a:pt x="6261599" y="287105"/>
                  <a:pt x="6182597" y="287105"/>
                </a:cubicBezTo>
                <a:cubicBezTo>
                  <a:pt x="6103598" y="287105"/>
                  <a:pt x="6039369" y="222877"/>
                  <a:pt x="6039369" y="143876"/>
                </a:cubicBezTo>
                <a:lnTo>
                  <a:pt x="6039435" y="143554"/>
                </a:lnTo>
                <a:lnTo>
                  <a:pt x="6039369" y="143228"/>
                </a:lnTo>
                <a:cubicBezTo>
                  <a:pt x="6039369" y="64228"/>
                  <a:pt x="6103598" y="1"/>
                  <a:pt x="6182597" y="1"/>
                </a:cubicBezTo>
                <a:close/>
                <a:moveTo>
                  <a:pt x="6739456" y="0"/>
                </a:moveTo>
                <a:cubicBezTo>
                  <a:pt x="6818456" y="0"/>
                  <a:pt x="6882684" y="64228"/>
                  <a:pt x="6882684" y="143228"/>
                </a:cubicBezTo>
                <a:lnTo>
                  <a:pt x="6882619" y="143553"/>
                </a:lnTo>
                <a:lnTo>
                  <a:pt x="6882684" y="143877"/>
                </a:lnTo>
                <a:cubicBezTo>
                  <a:pt x="6882684" y="222878"/>
                  <a:pt x="6818456" y="287105"/>
                  <a:pt x="6739456" y="287105"/>
                </a:cubicBezTo>
                <a:cubicBezTo>
                  <a:pt x="6660455" y="287105"/>
                  <a:pt x="6596227" y="222878"/>
                  <a:pt x="6596227" y="143877"/>
                </a:cubicBezTo>
                <a:lnTo>
                  <a:pt x="6596293" y="143554"/>
                </a:lnTo>
                <a:lnTo>
                  <a:pt x="6596227" y="143228"/>
                </a:lnTo>
                <a:cubicBezTo>
                  <a:pt x="6596227" y="64228"/>
                  <a:pt x="6660455" y="0"/>
                  <a:pt x="6739456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D935805-535E-4340-8431-1F68CB21AE9D}"/>
              </a:ext>
            </a:extLst>
          </p:cNvPr>
          <p:cNvCxnSpPr>
            <a:cxnSpLocks/>
          </p:cNvCxnSpPr>
          <p:nvPr userDrawn="1"/>
        </p:nvCxnSpPr>
        <p:spPr>
          <a:xfrm>
            <a:off x="358775" y="2698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9747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8" pos="2547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t Screen Picture and Capti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99675" y="4875751"/>
            <a:ext cx="1732000" cy="105177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◄</a:t>
            </a:r>
          </a:p>
        </p:txBody>
      </p:sp>
      <p:sp>
        <p:nvSpPr>
          <p:cNvPr id="151" name="Picture Placeholder 150">
            <a:extLst>
              <a:ext uri="{FF2B5EF4-FFF2-40B4-BE49-F238E27FC236}">
                <a16:creationId xmlns:a16="http://schemas.microsoft.com/office/drawing/2014/main" id="{18CA7500-4ECF-435C-8AC6-9903366BED9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-1" y="1"/>
            <a:ext cx="10560573" cy="6322049"/>
          </a:xfrm>
          <a:custGeom>
            <a:avLst/>
            <a:gdLst>
              <a:gd name="connsiteX0" fmla="*/ 7063184 w 9901550"/>
              <a:gd name="connsiteY0" fmla="*/ 5754862 h 5927527"/>
              <a:gd name="connsiteX1" fmla="*/ 7092710 w 9901550"/>
              <a:gd name="connsiteY1" fmla="*/ 5784388 h 5927527"/>
              <a:gd name="connsiteX2" fmla="*/ 7092578 w 9901550"/>
              <a:gd name="connsiteY2" fmla="*/ 5784710 h 5927527"/>
              <a:gd name="connsiteX3" fmla="*/ 7092710 w 9901550"/>
              <a:gd name="connsiteY3" fmla="*/ 5785031 h 5927527"/>
              <a:gd name="connsiteX4" fmla="*/ 7063184 w 9901550"/>
              <a:gd name="connsiteY4" fmla="*/ 5814557 h 5927527"/>
              <a:gd name="connsiteX5" fmla="*/ 7033658 w 9901550"/>
              <a:gd name="connsiteY5" fmla="*/ 5785031 h 5927527"/>
              <a:gd name="connsiteX6" fmla="*/ 7033792 w 9901550"/>
              <a:gd name="connsiteY6" fmla="*/ 5784710 h 5927527"/>
              <a:gd name="connsiteX7" fmla="*/ 7033658 w 9901550"/>
              <a:gd name="connsiteY7" fmla="*/ 5784388 h 5927527"/>
              <a:gd name="connsiteX8" fmla="*/ 7063184 w 9901550"/>
              <a:gd name="connsiteY8" fmla="*/ 5754862 h 5927527"/>
              <a:gd name="connsiteX9" fmla="*/ 6506679 w 9901550"/>
              <a:gd name="connsiteY9" fmla="*/ 5734964 h 5927527"/>
              <a:gd name="connsiteX10" fmla="*/ 6556104 w 9901550"/>
              <a:gd name="connsiteY10" fmla="*/ 5784388 h 5927527"/>
              <a:gd name="connsiteX11" fmla="*/ 6541742 w 9901550"/>
              <a:gd name="connsiteY11" fmla="*/ 5819210 h 5927527"/>
              <a:gd name="connsiteX12" fmla="*/ 6541546 w 9901550"/>
              <a:gd name="connsiteY12" fmla="*/ 5819344 h 5927527"/>
              <a:gd name="connsiteX13" fmla="*/ 6541501 w 9901550"/>
              <a:gd name="connsiteY13" fmla="*/ 5819451 h 5927527"/>
              <a:gd name="connsiteX14" fmla="*/ 6534410 w 9901550"/>
              <a:gd name="connsiteY14" fmla="*/ 5824195 h 5927527"/>
              <a:gd name="connsiteX15" fmla="*/ 6526046 w 9901550"/>
              <a:gd name="connsiteY15" fmla="*/ 5829882 h 5927527"/>
              <a:gd name="connsiteX16" fmla="*/ 6525851 w 9901550"/>
              <a:gd name="connsiteY16" fmla="*/ 5829921 h 5927527"/>
              <a:gd name="connsiteX17" fmla="*/ 6525775 w 9901550"/>
              <a:gd name="connsiteY17" fmla="*/ 5829972 h 5927527"/>
              <a:gd name="connsiteX18" fmla="*/ 6506679 w 9901550"/>
              <a:gd name="connsiteY18" fmla="*/ 5833813 h 5927527"/>
              <a:gd name="connsiteX19" fmla="*/ 6487583 w 9901550"/>
              <a:gd name="connsiteY19" fmla="*/ 5829972 h 5927527"/>
              <a:gd name="connsiteX20" fmla="*/ 6487508 w 9901550"/>
              <a:gd name="connsiteY20" fmla="*/ 5829921 h 5927527"/>
              <a:gd name="connsiteX21" fmla="*/ 6487312 w 9901550"/>
              <a:gd name="connsiteY21" fmla="*/ 5829882 h 5927527"/>
              <a:gd name="connsiteX22" fmla="*/ 6478943 w 9901550"/>
              <a:gd name="connsiteY22" fmla="*/ 5824192 h 5927527"/>
              <a:gd name="connsiteX23" fmla="*/ 6471858 w 9901550"/>
              <a:gd name="connsiteY23" fmla="*/ 5819451 h 5927527"/>
              <a:gd name="connsiteX24" fmla="*/ 6471813 w 9901550"/>
              <a:gd name="connsiteY24" fmla="*/ 5819344 h 5927527"/>
              <a:gd name="connsiteX25" fmla="*/ 6471617 w 9901550"/>
              <a:gd name="connsiteY25" fmla="*/ 5819210 h 5927527"/>
              <a:gd name="connsiteX26" fmla="*/ 6457255 w 9901550"/>
              <a:gd name="connsiteY26" fmla="*/ 5784388 h 5927527"/>
              <a:gd name="connsiteX27" fmla="*/ 6471617 w 9901550"/>
              <a:gd name="connsiteY27" fmla="*/ 5749567 h 5927527"/>
              <a:gd name="connsiteX28" fmla="*/ 6471813 w 9901550"/>
              <a:gd name="connsiteY28" fmla="*/ 5749434 h 5927527"/>
              <a:gd name="connsiteX29" fmla="*/ 6471858 w 9901550"/>
              <a:gd name="connsiteY29" fmla="*/ 5749326 h 5927527"/>
              <a:gd name="connsiteX30" fmla="*/ 6478944 w 9901550"/>
              <a:gd name="connsiteY30" fmla="*/ 5744586 h 5927527"/>
              <a:gd name="connsiteX31" fmla="*/ 6487312 w 9901550"/>
              <a:gd name="connsiteY31" fmla="*/ 5738896 h 5927527"/>
              <a:gd name="connsiteX32" fmla="*/ 6487508 w 9901550"/>
              <a:gd name="connsiteY32" fmla="*/ 5738856 h 5927527"/>
              <a:gd name="connsiteX33" fmla="*/ 6487583 w 9901550"/>
              <a:gd name="connsiteY33" fmla="*/ 5738806 h 5927527"/>
              <a:gd name="connsiteX34" fmla="*/ 6506679 w 9901550"/>
              <a:gd name="connsiteY34" fmla="*/ 5734964 h 5927527"/>
              <a:gd name="connsiteX35" fmla="*/ 5949532 w 9901550"/>
              <a:gd name="connsiteY35" fmla="*/ 5712499 h 5927527"/>
              <a:gd name="connsiteX36" fmla="*/ 6021422 w 9901550"/>
              <a:gd name="connsiteY36" fmla="*/ 5784389 h 5927527"/>
              <a:gd name="connsiteX37" fmla="*/ 6021357 w 9901550"/>
              <a:gd name="connsiteY37" fmla="*/ 5784710 h 5927527"/>
              <a:gd name="connsiteX38" fmla="*/ 6021422 w 9901550"/>
              <a:gd name="connsiteY38" fmla="*/ 5785031 h 5927527"/>
              <a:gd name="connsiteX39" fmla="*/ 5949532 w 9901550"/>
              <a:gd name="connsiteY39" fmla="*/ 5856921 h 5927527"/>
              <a:gd name="connsiteX40" fmla="*/ 5877643 w 9901550"/>
              <a:gd name="connsiteY40" fmla="*/ 5785031 h 5927527"/>
              <a:gd name="connsiteX41" fmla="*/ 5877706 w 9901550"/>
              <a:gd name="connsiteY41" fmla="*/ 5784710 h 5927527"/>
              <a:gd name="connsiteX42" fmla="*/ 5877643 w 9901550"/>
              <a:gd name="connsiteY42" fmla="*/ 5784389 h 5927527"/>
              <a:gd name="connsiteX43" fmla="*/ 5949532 w 9901550"/>
              <a:gd name="connsiteY43" fmla="*/ 5712499 h 5927527"/>
              <a:gd name="connsiteX44" fmla="*/ 5393027 w 9901550"/>
              <a:gd name="connsiteY44" fmla="*/ 5688107 h 5927527"/>
              <a:gd name="connsiteX45" fmla="*/ 5489308 w 9901550"/>
              <a:gd name="connsiteY45" fmla="*/ 5784388 h 5927527"/>
              <a:gd name="connsiteX46" fmla="*/ 5393027 w 9901550"/>
              <a:gd name="connsiteY46" fmla="*/ 5880669 h 5927527"/>
              <a:gd name="connsiteX47" fmla="*/ 5296746 w 9901550"/>
              <a:gd name="connsiteY47" fmla="*/ 5784388 h 5927527"/>
              <a:gd name="connsiteX48" fmla="*/ 5393027 w 9901550"/>
              <a:gd name="connsiteY48" fmla="*/ 5688107 h 5927527"/>
              <a:gd name="connsiteX49" fmla="*/ 4836522 w 9901550"/>
              <a:gd name="connsiteY49" fmla="*/ 5666926 h 5927527"/>
              <a:gd name="connsiteX50" fmla="*/ 4953985 w 9901550"/>
              <a:gd name="connsiteY50" fmla="*/ 5784389 h 5927527"/>
              <a:gd name="connsiteX51" fmla="*/ 4836522 w 9901550"/>
              <a:gd name="connsiteY51" fmla="*/ 5901852 h 5927527"/>
              <a:gd name="connsiteX52" fmla="*/ 4719059 w 9901550"/>
              <a:gd name="connsiteY52" fmla="*/ 5784389 h 5927527"/>
              <a:gd name="connsiteX53" fmla="*/ 4836522 w 9901550"/>
              <a:gd name="connsiteY53" fmla="*/ 5666926 h 5927527"/>
              <a:gd name="connsiteX54" fmla="*/ 4280017 w 9901550"/>
              <a:gd name="connsiteY54" fmla="*/ 5651521 h 5927527"/>
              <a:gd name="connsiteX55" fmla="*/ 4412885 w 9901550"/>
              <a:gd name="connsiteY55" fmla="*/ 5784389 h 5927527"/>
              <a:gd name="connsiteX56" fmla="*/ 4412821 w 9901550"/>
              <a:gd name="connsiteY56" fmla="*/ 5784710 h 5927527"/>
              <a:gd name="connsiteX57" fmla="*/ 4412885 w 9901550"/>
              <a:gd name="connsiteY57" fmla="*/ 5785031 h 5927527"/>
              <a:gd name="connsiteX58" fmla="*/ 4280017 w 9901550"/>
              <a:gd name="connsiteY58" fmla="*/ 5917899 h 5927527"/>
              <a:gd name="connsiteX59" fmla="*/ 4147172 w 9901550"/>
              <a:gd name="connsiteY59" fmla="*/ 5785031 h 5927527"/>
              <a:gd name="connsiteX60" fmla="*/ 4147232 w 9901550"/>
              <a:gd name="connsiteY60" fmla="*/ 5784737 h 5927527"/>
              <a:gd name="connsiteX61" fmla="*/ 4147162 w 9901550"/>
              <a:gd name="connsiteY61" fmla="*/ 5784389 h 5927527"/>
              <a:gd name="connsiteX62" fmla="*/ 4280017 w 9901550"/>
              <a:gd name="connsiteY62" fmla="*/ 5651521 h 5927527"/>
              <a:gd name="connsiteX63" fmla="*/ 2609875 w 9901550"/>
              <a:gd name="connsiteY63" fmla="*/ 5651521 h 5927527"/>
              <a:gd name="connsiteX64" fmla="*/ 2742743 w 9901550"/>
              <a:gd name="connsiteY64" fmla="*/ 5784389 h 5927527"/>
              <a:gd name="connsiteX65" fmla="*/ 2742685 w 9901550"/>
              <a:gd name="connsiteY65" fmla="*/ 5784681 h 5927527"/>
              <a:gd name="connsiteX66" fmla="*/ 2742755 w 9901550"/>
              <a:gd name="connsiteY66" fmla="*/ 5785031 h 5927527"/>
              <a:gd name="connsiteX67" fmla="*/ 2609887 w 9901550"/>
              <a:gd name="connsiteY67" fmla="*/ 5917899 h 5927527"/>
              <a:gd name="connsiteX68" fmla="*/ 2477018 w 9901550"/>
              <a:gd name="connsiteY68" fmla="*/ 5785031 h 5927527"/>
              <a:gd name="connsiteX69" fmla="*/ 2477077 w 9901550"/>
              <a:gd name="connsiteY69" fmla="*/ 5784741 h 5927527"/>
              <a:gd name="connsiteX70" fmla="*/ 2477007 w 9901550"/>
              <a:gd name="connsiteY70" fmla="*/ 5784389 h 5927527"/>
              <a:gd name="connsiteX71" fmla="*/ 2609875 w 9901550"/>
              <a:gd name="connsiteY71" fmla="*/ 5651521 h 5927527"/>
              <a:gd name="connsiteX72" fmla="*/ 3722884 w 9901550"/>
              <a:gd name="connsiteY72" fmla="*/ 5641251 h 5927527"/>
              <a:gd name="connsiteX73" fmla="*/ 3722889 w 9901550"/>
              <a:gd name="connsiteY73" fmla="*/ 5641252 h 5927527"/>
              <a:gd name="connsiteX74" fmla="*/ 3722894 w 9901550"/>
              <a:gd name="connsiteY74" fmla="*/ 5641251 h 5927527"/>
              <a:gd name="connsiteX75" fmla="*/ 3866031 w 9901550"/>
              <a:gd name="connsiteY75" fmla="*/ 5784388 h 5927527"/>
              <a:gd name="connsiteX76" fmla="*/ 3722894 w 9901550"/>
              <a:gd name="connsiteY76" fmla="*/ 5927527 h 5927527"/>
              <a:gd name="connsiteX77" fmla="*/ 3722889 w 9901550"/>
              <a:gd name="connsiteY77" fmla="*/ 5927526 h 5927527"/>
              <a:gd name="connsiteX78" fmla="*/ 3722884 w 9901550"/>
              <a:gd name="connsiteY78" fmla="*/ 5927527 h 5927527"/>
              <a:gd name="connsiteX79" fmla="*/ 3579747 w 9901550"/>
              <a:gd name="connsiteY79" fmla="*/ 5784388 h 5927527"/>
              <a:gd name="connsiteX80" fmla="*/ 3722884 w 9901550"/>
              <a:gd name="connsiteY80" fmla="*/ 5641251 h 5927527"/>
              <a:gd name="connsiteX81" fmla="*/ 3166378 w 9901550"/>
              <a:gd name="connsiteY81" fmla="*/ 5641251 h 5927527"/>
              <a:gd name="connsiteX82" fmla="*/ 3166384 w 9901550"/>
              <a:gd name="connsiteY82" fmla="*/ 5641252 h 5927527"/>
              <a:gd name="connsiteX83" fmla="*/ 3166390 w 9901550"/>
              <a:gd name="connsiteY83" fmla="*/ 5641251 h 5927527"/>
              <a:gd name="connsiteX84" fmla="*/ 3309527 w 9901550"/>
              <a:gd name="connsiteY84" fmla="*/ 5784388 h 5927527"/>
              <a:gd name="connsiteX85" fmla="*/ 3166390 w 9901550"/>
              <a:gd name="connsiteY85" fmla="*/ 5927527 h 5927527"/>
              <a:gd name="connsiteX86" fmla="*/ 3166384 w 9901550"/>
              <a:gd name="connsiteY86" fmla="*/ 5927526 h 5927527"/>
              <a:gd name="connsiteX87" fmla="*/ 3166378 w 9901550"/>
              <a:gd name="connsiteY87" fmla="*/ 5927527 h 5927527"/>
              <a:gd name="connsiteX88" fmla="*/ 3023241 w 9901550"/>
              <a:gd name="connsiteY88" fmla="*/ 5784388 h 5927527"/>
              <a:gd name="connsiteX89" fmla="*/ 3166378 w 9901550"/>
              <a:gd name="connsiteY89" fmla="*/ 5641251 h 5927527"/>
              <a:gd name="connsiteX90" fmla="*/ 7619689 w 9901550"/>
              <a:gd name="connsiteY90" fmla="*/ 5190013 h 5927527"/>
              <a:gd name="connsiteX91" fmla="*/ 7657559 w 9901550"/>
              <a:gd name="connsiteY91" fmla="*/ 5227884 h 5927527"/>
              <a:gd name="connsiteX92" fmla="*/ 7619689 w 9901550"/>
              <a:gd name="connsiteY92" fmla="*/ 5265754 h 5927527"/>
              <a:gd name="connsiteX93" fmla="*/ 7593051 w 9901550"/>
              <a:gd name="connsiteY93" fmla="*/ 5254763 h 5927527"/>
              <a:gd name="connsiteX94" fmla="*/ 7592980 w 9901550"/>
              <a:gd name="connsiteY94" fmla="*/ 5254592 h 5927527"/>
              <a:gd name="connsiteX95" fmla="*/ 7592810 w 9901550"/>
              <a:gd name="connsiteY95" fmla="*/ 5254521 h 5927527"/>
              <a:gd name="connsiteX96" fmla="*/ 7581818 w 9901550"/>
              <a:gd name="connsiteY96" fmla="*/ 5227884 h 5927527"/>
              <a:gd name="connsiteX97" fmla="*/ 7592810 w 9901550"/>
              <a:gd name="connsiteY97" fmla="*/ 5201246 h 5927527"/>
              <a:gd name="connsiteX98" fmla="*/ 7592980 w 9901550"/>
              <a:gd name="connsiteY98" fmla="*/ 5201175 h 5927527"/>
              <a:gd name="connsiteX99" fmla="*/ 7593051 w 9901550"/>
              <a:gd name="connsiteY99" fmla="*/ 5201005 h 5927527"/>
              <a:gd name="connsiteX100" fmla="*/ 7619689 w 9901550"/>
              <a:gd name="connsiteY100" fmla="*/ 5190013 h 5927527"/>
              <a:gd name="connsiteX101" fmla="*/ 7063184 w 9901550"/>
              <a:gd name="connsiteY101" fmla="*/ 5162413 h 5927527"/>
              <a:gd name="connsiteX102" fmla="*/ 7128655 w 9901550"/>
              <a:gd name="connsiteY102" fmla="*/ 5227884 h 5927527"/>
              <a:gd name="connsiteX103" fmla="*/ 7063184 w 9901550"/>
              <a:gd name="connsiteY103" fmla="*/ 5293355 h 5927527"/>
              <a:gd name="connsiteX104" fmla="*/ 6997712 w 9901550"/>
              <a:gd name="connsiteY104" fmla="*/ 5227884 h 5927527"/>
              <a:gd name="connsiteX105" fmla="*/ 7063184 w 9901550"/>
              <a:gd name="connsiteY105" fmla="*/ 5162413 h 5927527"/>
              <a:gd name="connsiteX106" fmla="*/ 6506679 w 9901550"/>
              <a:gd name="connsiteY106" fmla="*/ 5129035 h 5927527"/>
              <a:gd name="connsiteX107" fmla="*/ 6605527 w 9901550"/>
              <a:gd name="connsiteY107" fmla="*/ 5227884 h 5927527"/>
              <a:gd name="connsiteX108" fmla="*/ 6506679 w 9901550"/>
              <a:gd name="connsiteY108" fmla="*/ 5326733 h 5927527"/>
              <a:gd name="connsiteX109" fmla="*/ 6407830 w 9901550"/>
              <a:gd name="connsiteY109" fmla="*/ 5227884 h 5927527"/>
              <a:gd name="connsiteX110" fmla="*/ 6506679 w 9901550"/>
              <a:gd name="connsiteY110" fmla="*/ 5129035 h 5927527"/>
              <a:gd name="connsiteX111" fmla="*/ 383206 w 9901550"/>
              <a:gd name="connsiteY111" fmla="*/ 5129035 h 5927527"/>
              <a:gd name="connsiteX112" fmla="*/ 383212 w 9901550"/>
              <a:gd name="connsiteY112" fmla="*/ 5129036 h 5927527"/>
              <a:gd name="connsiteX113" fmla="*/ 383217 w 9901550"/>
              <a:gd name="connsiteY113" fmla="*/ 5129035 h 5927527"/>
              <a:gd name="connsiteX114" fmla="*/ 482065 w 9901550"/>
              <a:gd name="connsiteY114" fmla="*/ 5227884 h 5927527"/>
              <a:gd name="connsiteX115" fmla="*/ 383217 w 9901550"/>
              <a:gd name="connsiteY115" fmla="*/ 5326732 h 5927527"/>
              <a:gd name="connsiteX116" fmla="*/ 383212 w 9901550"/>
              <a:gd name="connsiteY116" fmla="*/ 5326731 h 5927527"/>
              <a:gd name="connsiteX117" fmla="*/ 383206 w 9901550"/>
              <a:gd name="connsiteY117" fmla="*/ 5326732 h 5927527"/>
              <a:gd name="connsiteX118" fmla="*/ 284357 w 9901550"/>
              <a:gd name="connsiteY118" fmla="*/ 5227884 h 5927527"/>
              <a:gd name="connsiteX119" fmla="*/ 383206 w 9901550"/>
              <a:gd name="connsiteY119" fmla="*/ 5129035 h 5927527"/>
              <a:gd name="connsiteX120" fmla="*/ 5949532 w 9901550"/>
              <a:gd name="connsiteY120" fmla="*/ 5087955 h 5927527"/>
              <a:gd name="connsiteX121" fmla="*/ 6089460 w 9901550"/>
              <a:gd name="connsiteY121" fmla="*/ 5227884 h 5927527"/>
              <a:gd name="connsiteX122" fmla="*/ 5949532 w 9901550"/>
              <a:gd name="connsiteY122" fmla="*/ 5367813 h 5927527"/>
              <a:gd name="connsiteX123" fmla="*/ 5809603 w 9901550"/>
              <a:gd name="connsiteY123" fmla="*/ 5227884 h 5927527"/>
              <a:gd name="connsiteX124" fmla="*/ 5949532 w 9901550"/>
              <a:gd name="connsiteY124" fmla="*/ 5087955 h 5927527"/>
              <a:gd name="connsiteX125" fmla="*/ 939711 w 9901550"/>
              <a:gd name="connsiteY125" fmla="*/ 5087955 h 5927527"/>
              <a:gd name="connsiteX126" fmla="*/ 939716 w 9901550"/>
              <a:gd name="connsiteY126" fmla="*/ 5087956 h 5927527"/>
              <a:gd name="connsiteX127" fmla="*/ 939721 w 9901550"/>
              <a:gd name="connsiteY127" fmla="*/ 5087955 h 5927527"/>
              <a:gd name="connsiteX128" fmla="*/ 941664 w 9901550"/>
              <a:gd name="connsiteY128" fmla="*/ 5088350 h 5927527"/>
              <a:gd name="connsiteX129" fmla="*/ 994340 w 9901550"/>
              <a:gd name="connsiteY129" fmla="*/ 5098987 h 5927527"/>
              <a:gd name="connsiteX130" fmla="*/ 1068697 w 9901550"/>
              <a:gd name="connsiteY130" fmla="*/ 5173525 h 5927527"/>
              <a:gd name="connsiteX131" fmla="*/ 1078245 w 9901550"/>
              <a:gd name="connsiteY131" fmla="*/ 5220960 h 5927527"/>
              <a:gd name="connsiteX132" fmla="*/ 1079650 w 9901550"/>
              <a:gd name="connsiteY132" fmla="*/ 5227884 h 5927527"/>
              <a:gd name="connsiteX133" fmla="*/ 939721 w 9901550"/>
              <a:gd name="connsiteY133" fmla="*/ 5367813 h 5927527"/>
              <a:gd name="connsiteX134" fmla="*/ 939716 w 9901550"/>
              <a:gd name="connsiteY134" fmla="*/ 5367812 h 5927527"/>
              <a:gd name="connsiteX135" fmla="*/ 939711 w 9901550"/>
              <a:gd name="connsiteY135" fmla="*/ 5367813 h 5927527"/>
              <a:gd name="connsiteX136" fmla="*/ 799782 w 9901550"/>
              <a:gd name="connsiteY136" fmla="*/ 5227884 h 5927527"/>
              <a:gd name="connsiteX137" fmla="*/ 939711 w 9901550"/>
              <a:gd name="connsiteY137" fmla="*/ 5087955 h 5927527"/>
              <a:gd name="connsiteX138" fmla="*/ 1496217 w 9901550"/>
              <a:gd name="connsiteY138" fmla="*/ 5053294 h 5927527"/>
              <a:gd name="connsiteX139" fmla="*/ 1496222 w 9901550"/>
              <a:gd name="connsiteY139" fmla="*/ 5053295 h 5927527"/>
              <a:gd name="connsiteX140" fmla="*/ 1496229 w 9901550"/>
              <a:gd name="connsiteY140" fmla="*/ 5053294 h 5927527"/>
              <a:gd name="connsiteX141" fmla="*/ 1499202 w 9901550"/>
              <a:gd name="connsiteY141" fmla="*/ 5053896 h 5927527"/>
              <a:gd name="connsiteX142" fmla="*/ 1564386 w 9901550"/>
              <a:gd name="connsiteY142" fmla="*/ 5067034 h 5927527"/>
              <a:gd name="connsiteX143" fmla="*/ 1657157 w 9901550"/>
              <a:gd name="connsiteY143" fmla="*/ 5159985 h 5927527"/>
              <a:gd name="connsiteX144" fmla="*/ 1668969 w 9901550"/>
              <a:gd name="connsiteY144" fmla="*/ 5218743 h 5927527"/>
              <a:gd name="connsiteX145" fmla="*/ 1670819 w 9901550"/>
              <a:gd name="connsiteY145" fmla="*/ 5227883 h 5927527"/>
              <a:gd name="connsiteX146" fmla="*/ 1496229 w 9901550"/>
              <a:gd name="connsiteY146" fmla="*/ 5402473 h 5927527"/>
              <a:gd name="connsiteX147" fmla="*/ 1496222 w 9901550"/>
              <a:gd name="connsiteY147" fmla="*/ 5402472 h 5927527"/>
              <a:gd name="connsiteX148" fmla="*/ 1496217 w 9901550"/>
              <a:gd name="connsiteY148" fmla="*/ 5402473 h 5927527"/>
              <a:gd name="connsiteX149" fmla="*/ 1321626 w 9901550"/>
              <a:gd name="connsiteY149" fmla="*/ 5227883 h 5927527"/>
              <a:gd name="connsiteX150" fmla="*/ 1496217 w 9901550"/>
              <a:gd name="connsiteY150" fmla="*/ 5053294 h 5927527"/>
              <a:gd name="connsiteX151" fmla="*/ 5393028 w 9901550"/>
              <a:gd name="connsiteY151" fmla="*/ 5050727 h 5927527"/>
              <a:gd name="connsiteX152" fmla="*/ 5570186 w 9901550"/>
              <a:gd name="connsiteY152" fmla="*/ 5227884 h 5927527"/>
              <a:gd name="connsiteX153" fmla="*/ 5393028 w 9901550"/>
              <a:gd name="connsiteY153" fmla="*/ 5405041 h 5927527"/>
              <a:gd name="connsiteX154" fmla="*/ 5324187 w 9901550"/>
              <a:gd name="connsiteY154" fmla="*/ 5391171 h 5927527"/>
              <a:gd name="connsiteX155" fmla="*/ 5324111 w 9901550"/>
              <a:gd name="connsiteY155" fmla="*/ 5391120 h 5927527"/>
              <a:gd name="connsiteX156" fmla="*/ 5323916 w 9901550"/>
              <a:gd name="connsiteY156" fmla="*/ 5391081 h 5927527"/>
              <a:gd name="connsiteX157" fmla="*/ 5293618 w 9901550"/>
              <a:gd name="connsiteY157" fmla="*/ 5370612 h 5927527"/>
              <a:gd name="connsiteX158" fmla="*/ 5267862 w 9901550"/>
              <a:gd name="connsiteY158" fmla="*/ 5353290 h 5927527"/>
              <a:gd name="connsiteX159" fmla="*/ 5267765 w 9901550"/>
              <a:gd name="connsiteY159" fmla="*/ 5353147 h 5927527"/>
              <a:gd name="connsiteX160" fmla="*/ 5267621 w 9901550"/>
              <a:gd name="connsiteY160" fmla="*/ 5353050 h 5927527"/>
              <a:gd name="connsiteX161" fmla="*/ 5250298 w 9901550"/>
              <a:gd name="connsiteY161" fmla="*/ 5327292 h 5927527"/>
              <a:gd name="connsiteX162" fmla="*/ 5229831 w 9901550"/>
              <a:gd name="connsiteY162" fmla="*/ 5296996 h 5927527"/>
              <a:gd name="connsiteX163" fmla="*/ 5229791 w 9901550"/>
              <a:gd name="connsiteY163" fmla="*/ 5296801 h 5927527"/>
              <a:gd name="connsiteX164" fmla="*/ 5229740 w 9901550"/>
              <a:gd name="connsiteY164" fmla="*/ 5296725 h 5927527"/>
              <a:gd name="connsiteX165" fmla="*/ 5215870 w 9901550"/>
              <a:gd name="connsiteY165" fmla="*/ 5227884 h 5927527"/>
              <a:gd name="connsiteX166" fmla="*/ 5229740 w 9901550"/>
              <a:gd name="connsiteY166" fmla="*/ 5159044 h 5927527"/>
              <a:gd name="connsiteX167" fmla="*/ 5229791 w 9901550"/>
              <a:gd name="connsiteY167" fmla="*/ 5158968 h 5927527"/>
              <a:gd name="connsiteX168" fmla="*/ 5229831 w 9901550"/>
              <a:gd name="connsiteY168" fmla="*/ 5158772 h 5927527"/>
              <a:gd name="connsiteX169" fmla="*/ 5250355 w 9901550"/>
              <a:gd name="connsiteY169" fmla="*/ 5128394 h 5927527"/>
              <a:gd name="connsiteX170" fmla="*/ 5267621 w 9901550"/>
              <a:gd name="connsiteY170" fmla="*/ 5102719 h 5927527"/>
              <a:gd name="connsiteX171" fmla="*/ 5267764 w 9901550"/>
              <a:gd name="connsiteY171" fmla="*/ 5102622 h 5927527"/>
              <a:gd name="connsiteX172" fmla="*/ 5267862 w 9901550"/>
              <a:gd name="connsiteY172" fmla="*/ 5102478 h 5927527"/>
              <a:gd name="connsiteX173" fmla="*/ 5293704 w 9901550"/>
              <a:gd name="connsiteY173" fmla="*/ 5085099 h 5927527"/>
              <a:gd name="connsiteX174" fmla="*/ 5323916 w 9901550"/>
              <a:gd name="connsiteY174" fmla="*/ 5064688 h 5927527"/>
              <a:gd name="connsiteX175" fmla="*/ 5324111 w 9901550"/>
              <a:gd name="connsiteY175" fmla="*/ 5064649 h 5927527"/>
              <a:gd name="connsiteX176" fmla="*/ 5324187 w 9901550"/>
              <a:gd name="connsiteY176" fmla="*/ 5064598 h 5927527"/>
              <a:gd name="connsiteX177" fmla="*/ 5393028 w 9901550"/>
              <a:gd name="connsiteY177" fmla="*/ 5050727 h 5927527"/>
              <a:gd name="connsiteX178" fmla="*/ 2053365 w 9901550"/>
              <a:gd name="connsiteY178" fmla="*/ 5023126 h 5927527"/>
              <a:gd name="connsiteX179" fmla="*/ 2053370 w 9901550"/>
              <a:gd name="connsiteY179" fmla="*/ 5023127 h 5927527"/>
              <a:gd name="connsiteX180" fmla="*/ 2053377 w 9901550"/>
              <a:gd name="connsiteY180" fmla="*/ 5023126 h 5927527"/>
              <a:gd name="connsiteX181" fmla="*/ 2258139 w 9901550"/>
              <a:gd name="connsiteY181" fmla="*/ 5227884 h 5927527"/>
              <a:gd name="connsiteX182" fmla="*/ 2053377 w 9901550"/>
              <a:gd name="connsiteY182" fmla="*/ 5432642 h 5927527"/>
              <a:gd name="connsiteX183" fmla="*/ 2053370 w 9901550"/>
              <a:gd name="connsiteY183" fmla="*/ 5432642 h 5927527"/>
              <a:gd name="connsiteX184" fmla="*/ 2053365 w 9901550"/>
              <a:gd name="connsiteY184" fmla="*/ 5432642 h 5927527"/>
              <a:gd name="connsiteX185" fmla="*/ 1848606 w 9901550"/>
              <a:gd name="connsiteY185" fmla="*/ 5227884 h 5927527"/>
              <a:gd name="connsiteX186" fmla="*/ 2053365 w 9901550"/>
              <a:gd name="connsiteY186" fmla="*/ 5023126 h 5927527"/>
              <a:gd name="connsiteX187" fmla="*/ 4836522 w 9901550"/>
              <a:gd name="connsiteY187" fmla="*/ 5020558 h 5927527"/>
              <a:gd name="connsiteX188" fmla="*/ 5043848 w 9901550"/>
              <a:gd name="connsiteY188" fmla="*/ 5227884 h 5927527"/>
              <a:gd name="connsiteX189" fmla="*/ 4836522 w 9901550"/>
              <a:gd name="connsiteY189" fmla="*/ 5435209 h 5927527"/>
              <a:gd name="connsiteX190" fmla="*/ 4629197 w 9901550"/>
              <a:gd name="connsiteY190" fmla="*/ 5227884 h 5927527"/>
              <a:gd name="connsiteX191" fmla="*/ 4836522 w 9901550"/>
              <a:gd name="connsiteY191" fmla="*/ 5020558 h 5927527"/>
              <a:gd name="connsiteX192" fmla="*/ 4280017 w 9901550"/>
              <a:gd name="connsiteY192" fmla="*/ 4998735 h 5927527"/>
              <a:gd name="connsiteX193" fmla="*/ 4509167 w 9901550"/>
              <a:gd name="connsiteY193" fmla="*/ 5227884 h 5927527"/>
              <a:gd name="connsiteX194" fmla="*/ 4280017 w 9901550"/>
              <a:gd name="connsiteY194" fmla="*/ 5457033 h 5927527"/>
              <a:gd name="connsiteX195" fmla="*/ 4050878 w 9901550"/>
              <a:gd name="connsiteY195" fmla="*/ 5227884 h 5927527"/>
              <a:gd name="connsiteX196" fmla="*/ 4280017 w 9901550"/>
              <a:gd name="connsiteY196" fmla="*/ 4998735 h 5927527"/>
              <a:gd name="connsiteX197" fmla="*/ 2609873 w 9901550"/>
              <a:gd name="connsiteY197" fmla="*/ 4998735 h 5927527"/>
              <a:gd name="connsiteX198" fmla="*/ 2609880 w 9901550"/>
              <a:gd name="connsiteY198" fmla="*/ 4998736 h 5927527"/>
              <a:gd name="connsiteX199" fmla="*/ 2609887 w 9901550"/>
              <a:gd name="connsiteY199" fmla="*/ 4998735 h 5927527"/>
              <a:gd name="connsiteX200" fmla="*/ 2839035 w 9901550"/>
              <a:gd name="connsiteY200" fmla="*/ 5227884 h 5927527"/>
              <a:gd name="connsiteX201" fmla="*/ 2609887 w 9901550"/>
              <a:gd name="connsiteY201" fmla="*/ 5457033 h 5927527"/>
              <a:gd name="connsiteX202" fmla="*/ 2609880 w 9901550"/>
              <a:gd name="connsiteY202" fmla="*/ 5457033 h 5927527"/>
              <a:gd name="connsiteX203" fmla="*/ 2609873 w 9901550"/>
              <a:gd name="connsiteY203" fmla="*/ 5457033 h 5927527"/>
              <a:gd name="connsiteX204" fmla="*/ 2380723 w 9901550"/>
              <a:gd name="connsiteY204" fmla="*/ 5227884 h 5927527"/>
              <a:gd name="connsiteX205" fmla="*/ 2609873 w 9901550"/>
              <a:gd name="connsiteY205" fmla="*/ 4998735 h 5927527"/>
              <a:gd name="connsiteX206" fmla="*/ 8176195 w 9901550"/>
              <a:gd name="connsiteY206" fmla="*/ 4631582 h 5927527"/>
              <a:gd name="connsiteX207" fmla="*/ 8215991 w 9901550"/>
              <a:gd name="connsiteY207" fmla="*/ 4671379 h 5927527"/>
              <a:gd name="connsiteX208" fmla="*/ 8176195 w 9901550"/>
              <a:gd name="connsiteY208" fmla="*/ 4711175 h 5927527"/>
              <a:gd name="connsiteX209" fmla="*/ 8136398 w 9901550"/>
              <a:gd name="connsiteY209" fmla="*/ 4671379 h 5927527"/>
              <a:gd name="connsiteX210" fmla="*/ 8176195 w 9901550"/>
              <a:gd name="connsiteY210" fmla="*/ 4631582 h 5927527"/>
              <a:gd name="connsiteX211" fmla="*/ 7619689 w 9901550"/>
              <a:gd name="connsiteY211" fmla="*/ 4597563 h 5927527"/>
              <a:gd name="connsiteX212" fmla="*/ 7693504 w 9901550"/>
              <a:gd name="connsiteY212" fmla="*/ 4671379 h 5927527"/>
              <a:gd name="connsiteX213" fmla="*/ 7687747 w 9901550"/>
              <a:gd name="connsiteY213" fmla="*/ 4699973 h 5927527"/>
              <a:gd name="connsiteX214" fmla="*/ 7687696 w 9901550"/>
              <a:gd name="connsiteY214" fmla="*/ 4700048 h 5927527"/>
              <a:gd name="connsiteX215" fmla="*/ 7687657 w 9901550"/>
              <a:gd name="connsiteY215" fmla="*/ 4700243 h 5927527"/>
              <a:gd name="connsiteX216" fmla="*/ 7679174 w 9901550"/>
              <a:gd name="connsiteY216" fmla="*/ 4712756 h 5927527"/>
              <a:gd name="connsiteX217" fmla="*/ 7672001 w 9901550"/>
              <a:gd name="connsiteY217" fmla="*/ 4723451 h 5927527"/>
              <a:gd name="connsiteX218" fmla="*/ 7671857 w 9901550"/>
              <a:gd name="connsiteY218" fmla="*/ 4723549 h 5927527"/>
              <a:gd name="connsiteX219" fmla="*/ 7671760 w 9901550"/>
              <a:gd name="connsiteY219" fmla="*/ 4723691 h 5927527"/>
              <a:gd name="connsiteX220" fmla="*/ 7661143 w 9901550"/>
              <a:gd name="connsiteY220" fmla="*/ 4730812 h 5927527"/>
              <a:gd name="connsiteX221" fmla="*/ 7648553 w 9901550"/>
              <a:gd name="connsiteY221" fmla="*/ 4739347 h 5927527"/>
              <a:gd name="connsiteX222" fmla="*/ 7648358 w 9901550"/>
              <a:gd name="connsiteY222" fmla="*/ 4739387 h 5927527"/>
              <a:gd name="connsiteX223" fmla="*/ 7648282 w 9901550"/>
              <a:gd name="connsiteY223" fmla="*/ 4739437 h 5927527"/>
              <a:gd name="connsiteX224" fmla="*/ 7619689 w 9901550"/>
              <a:gd name="connsiteY224" fmla="*/ 4745194 h 5927527"/>
              <a:gd name="connsiteX225" fmla="*/ 7591095 w 9901550"/>
              <a:gd name="connsiteY225" fmla="*/ 4739437 h 5927527"/>
              <a:gd name="connsiteX226" fmla="*/ 7591020 w 9901550"/>
              <a:gd name="connsiteY226" fmla="*/ 4739387 h 5927527"/>
              <a:gd name="connsiteX227" fmla="*/ 7590824 w 9901550"/>
              <a:gd name="connsiteY227" fmla="*/ 4739347 h 5927527"/>
              <a:gd name="connsiteX228" fmla="*/ 7578202 w 9901550"/>
              <a:gd name="connsiteY228" fmla="*/ 4730790 h 5927527"/>
              <a:gd name="connsiteX229" fmla="*/ 7567616 w 9901550"/>
              <a:gd name="connsiteY229" fmla="*/ 4723691 h 5927527"/>
              <a:gd name="connsiteX230" fmla="*/ 7567520 w 9901550"/>
              <a:gd name="connsiteY230" fmla="*/ 4723549 h 5927527"/>
              <a:gd name="connsiteX231" fmla="*/ 7567375 w 9901550"/>
              <a:gd name="connsiteY231" fmla="*/ 4723451 h 5927527"/>
              <a:gd name="connsiteX232" fmla="*/ 7560183 w 9901550"/>
              <a:gd name="connsiteY232" fmla="*/ 4712726 h 5927527"/>
              <a:gd name="connsiteX233" fmla="*/ 7551720 w 9901550"/>
              <a:gd name="connsiteY233" fmla="*/ 4700243 h 5927527"/>
              <a:gd name="connsiteX234" fmla="*/ 7551681 w 9901550"/>
              <a:gd name="connsiteY234" fmla="*/ 4700049 h 5927527"/>
              <a:gd name="connsiteX235" fmla="*/ 7551629 w 9901550"/>
              <a:gd name="connsiteY235" fmla="*/ 4699973 h 5927527"/>
              <a:gd name="connsiteX236" fmla="*/ 7545873 w 9901550"/>
              <a:gd name="connsiteY236" fmla="*/ 4671379 h 5927527"/>
              <a:gd name="connsiteX237" fmla="*/ 7551629 w 9901550"/>
              <a:gd name="connsiteY237" fmla="*/ 4642786 h 5927527"/>
              <a:gd name="connsiteX238" fmla="*/ 7551680 w 9901550"/>
              <a:gd name="connsiteY238" fmla="*/ 4642710 h 5927527"/>
              <a:gd name="connsiteX239" fmla="*/ 7551720 w 9901550"/>
              <a:gd name="connsiteY239" fmla="*/ 4642515 h 5927527"/>
              <a:gd name="connsiteX240" fmla="*/ 7560209 w 9901550"/>
              <a:gd name="connsiteY240" fmla="*/ 4629993 h 5927527"/>
              <a:gd name="connsiteX241" fmla="*/ 7567375 w 9901550"/>
              <a:gd name="connsiteY241" fmla="*/ 4619307 h 5927527"/>
              <a:gd name="connsiteX242" fmla="*/ 7567520 w 9901550"/>
              <a:gd name="connsiteY242" fmla="*/ 4619209 h 5927527"/>
              <a:gd name="connsiteX243" fmla="*/ 7567616 w 9901550"/>
              <a:gd name="connsiteY243" fmla="*/ 4619066 h 5927527"/>
              <a:gd name="connsiteX244" fmla="*/ 7578237 w 9901550"/>
              <a:gd name="connsiteY244" fmla="*/ 4611944 h 5927527"/>
              <a:gd name="connsiteX245" fmla="*/ 7590824 w 9901550"/>
              <a:gd name="connsiteY245" fmla="*/ 4603410 h 5927527"/>
              <a:gd name="connsiteX246" fmla="*/ 7591020 w 9901550"/>
              <a:gd name="connsiteY246" fmla="*/ 4603371 h 5927527"/>
              <a:gd name="connsiteX247" fmla="*/ 7591095 w 9901550"/>
              <a:gd name="connsiteY247" fmla="*/ 4603320 h 5927527"/>
              <a:gd name="connsiteX248" fmla="*/ 7619689 w 9901550"/>
              <a:gd name="connsiteY248" fmla="*/ 4597563 h 5927527"/>
              <a:gd name="connsiteX249" fmla="*/ 7063184 w 9901550"/>
              <a:gd name="connsiteY249" fmla="*/ 4549423 h 5927527"/>
              <a:gd name="connsiteX250" fmla="*/ 7185140 w 9901550"/>
              <a:gd name="connsiteY250" fmla="*/ 4671380 h 5927527"/>
              <a:gd name="connsiteX251" fmla="*/ 7063184 w 9901550"/>
              <a:gd name="connsiteY251" fmla="*/ 4793336 h 5927527"/>
              <a:gd name="connsiteX252" fmla="*/ 6941228 w 9901550"/>
              <a:gd name="connsiteY252" fmla="*/ 4671380 h 5927527"/>
              <a:gd name="connsiteX253" fmla="*/ 7063184 w 9901550"/>
              <a:gd name="connsiteY253" fmla="*/ 4549423 h 5927527"/>
              <a:gd name="connsiteX254" fmla="*/ 6506679 w 9901550"/>
              <a:gd name="connsiteY254" fmla="*/ 4496789 h 5927527"/>
              <a:gd name="connsiteX255" fmla="*/ 6679985 w 9901550"/>
              <a:gd name="connsiteY255" fmla="*/ 4670737 h 5927527"/>
              <a:gd name="connsiteX256" fmla="*/ 6679920 w 9901550"/>
              <a:gd name="connsiteY256" fmla="*/ 4671058 h 5927527"/>
              <a:gd name="connsiteX257" fmla="*/ 6679985 w 9901550"/>
              <a:gd name="connsiteY257" fmla="*/ 4671379 h 5927527"/>
              <a:gd name="connsiteX258" fmla="*/ 6506679 w 9901550"/>
              <a:gd name="connsiteY258" fmla="*/ 4845327 h 5927527"/>
              <a:gd name="connsiteX259" fmla="*/ 6332731 w 9901550"/>
              <a:gd name="connsiteY259" fmla="*/ 4671379 h 5927527"/>
              <a:gd name="connsiteX260" fmla="*/ 6332796 w 9901550"/>
              <a:gd name="connsiteY260" fmla="*/ 4671058 h 5927527"/>
              <a:gd name="connsiteX261" fmla="*/ 6332731 w 9901550"/>
              <a:gd name="connsiteY261" fmla="*/ 4670737 h 5927527"/>
              <a:gd name="connsiteX262" fmla="*/ 6506679 w 9901550"/>
              <a:gd name="connsiteY262" fmla="*/ 4496789 h 5927527"/>
              <a:gd name="connsiteX263" fmla="*/ 383217 w 9901550"/>
              <a:gd name="connsiteY263" fmla="*/ 4496789 h 5927527"/>
              <a:gd name="connsiteX264" fmla="*/ 557164 w 9901550"/>
              <a:gd name="connsiteY264" fmla="*/ 4670737 h 5927527"/>
              <a:gd name="connsiteX265" fmla="*/ 557093 w 9901550"/>
              <a:gd name="connsiteY265" fmla="*/ 4671084 h 5927527"/>
              <a:gd name="connsiteX266" fmla="*/ 557154 w 9901550"/>
              <a:gd name="connsiteY266" fmla="*/ 4671379 h 5927527"/>
              <a:gd name="connsiteX267" fmla="*/ 383206 w 9901550"/>
              <a:gd name="connsiteY267" fmla="*/ 4845327 h 5927527"/>
              <a:gd name="connsiteX268" fmla="*/ 209258 w 9901550"/>
              <a:gd name="connsiteY268" fmla="*/ 4671379 h 5927527"/>
              <a:gd name="connsiteX269" fmla="*/ 209328 w 9901550"/>
              <a:gd name="connsiteY269" fmla="*/ 4671031 h 5927527"/>
              <a:gd name="connsiteX270" fmla="*/ 209269 w 9901550"/>
              <a:gd name="connsiteY270" fmla="*/ 4670737 h 5927527"/>
              <a:gd name="connsiteX271" fmla="*/ 383217 w 9901550"/>
              <a:gd name="connsiteY271" fmla="*/ 4496789 h 5927527"/>
              <a:gd name="connsiteX272" fmla="*/ 5958673 w 9901550"/>
              <a:gd name="connsiteY272" fmla="*/ 4447478 h 5927527"/>
              <a:gd name="connsiteX273" fmla="*/ 6001379 w 9901550"/>
              <a:gd name="connsiteY273" fmla="*/ 4453336 h 5927527"/>
              <a:gd name="connsiteX274" fmla="*/ 6007264 w 9901550"/>
              <a:gd name="connsiteY274" fmla="*/ 4455334 h 5927527"/>
              <a:gd name="connsiteX275" fmla="*/ 6011809 w 9901550"/>
              <a:gd name="connsiteY275" fmla="*/ 4456069 h 5927527"/>
              <a:gd name="connsiteX276" fmla="*/ 6021623 w 9901550"/>
              <a:gd name="connsiteY276" fmla="*/ 4460212 h 5927527"/>
              <a:gd name="connsiteX277" fmla="*/ 6042195 w 9901550"/>
              <a:gd name="connsiteY277" fmla="*/ 4467199 h 5927527"/>
              <a:gd name="connsiteX278" fmla="*/ 6053473 w 9901550"/>
              <a:gd name="connsiteY278" fmla="*/ 4473656 h 5927527"/>
              <a:gd name="connsiteX279" fmla="*/ 6061505 w 9901550"/>
              <a:gd name="connsiteY279" fmla="*/ 4477047 h 5927527"/>
              <a:gd name="connsiteX280" fmla="*/ 6068378 w 9901550"/>
              <a:gd name="connsiteY280" fmla="*/ 4482190 h 5927527"/>
              <a:gd name="connsiteX281" fmla="*/ 6079877 w 9901550"/>
              <a:gd name="connsiteY281" fmla="*/ 4488774 h 5927527"/>
              <a:gd name="connsiteX282" fmla="*/ 6086208 w 9901550"/>
              <a:gd name="connsiteY282" fmla="*/ 4495533 h 5927527"/>
              <a:gd name="connsiteX283" fmla="*/ 6105334 w 9901550"/>
              <a:gd name="connsiteY283" fmla="*/ 4509845 h 5927527"/>
              <a:gd name="connsiteX284" fmla="*/ 6140831 w 9901550"/>
              <a:gd name="connsiteY284" fmla="*/ 4553846 h 5927527"/>
              <a:gd name="connsiteX285" fmla="*/ 6140866 w 9901550"/>
              <a:gd name="connsiteY285" fmla="*/ 4553883 h 5927527"/>
              <a:gd name="connsiteX286" fmla="*/ 6171818 w 9901550"/>
              <a:gd name="connsiteY286" fmla="*/ 4637555 h 5927527"/>
              <a:gd name="connsiteX287" fmla="*/ 6171818 w 9901550"/>
              <a:gd name="connsiteY287" fmla="*/ 4637560 h 5927527"/>
              <a:gd name="connsiteX288" fmla="*/ 6171818 w 9901550"/>
              <a:gd name="connsiteY288" fmla="*/ 4637561 h 5927527"/>
              <a:gd name="connsiteX289" fmla="*/ 6067853 w 9901550"/>
              <a:gd name="connsiteY289" fmla="*/ 4863106 h 5927527"/>
              <a:gd name="connsiteX290" fmla="*/ 5758636 w 9901550"/>
              <a:gd name="connsiteY290" fmla="*/ 4790093 h 5927527"/>
              <a:gd name="connsiteX291" fmla="*/ 5727684 w 9901550"/>
              <a:gd name="connsiteY291" fmla="*/ 4706421 h 5927527"/>
              <a:gd name="connsiteX292" fmla="*/ 5727684 w 9901550"/>
              <a:gd name="connsiteY292" fmla="*/ 4706416 h 5927527"/>
              <a:gd name="connsiteX293" fmla="*/ 5727684 w 9901550"/>
              <a:gd name="connsiteY293" fmla="*/ 4706415 h 5927527"/>
              <a:gd name="connsiteX294" fmla="*/ 5831650 w 9901550"/>
              <a:gd name="connsiteY294" fmla="*/ 4480870 h 5927527"/>
              <a:gd name="connsiteX295" fmla="*/ 5872565 w 9901550"/>
              <a:gd name="connsiteY295" fmla="*/ 4460951 h 5927527"/>
              <a:gd name="connsiteX296" fmla="*/ 5887123 w 9901550"/>
              <a:gd name="connsiteY296" fmla="*/ 4457194 h 5927527"/>
              <a:gd name="connsiteX297" fmla="*/ 5893791 w 9901550"/>
              <a:gd name="connsiteY297" fmla="*/ 4454348 h 5927527"/>
              <a:gd name="connsiteX298" fmla="*/ 5901185 w 9901550"/>
              <a:gd name="connsiteY298" fmla="*/ 4453566 h 5927527"/>
              <a:gd name="connsiteX299" fmla="*/ 5915321 w 9901550"/>
              <a:gd name="connsiteY299" fmla="*/ 4449918 h 5927527"/>
              <a:gd name="connsiteX300" fmla="*/ 5958673 w 9901550"/>
              <a:gd name="connsiteY300" fmla="*/ 4447478 h 5927527"/>
              <a:gd name="connsiteX301" fmla="*/ 939710 w 9901550"/>
              <a:gd name="connsiteY301" fmla="*/ 4446723 h 5927527"/>
              <a:gd name="connsiteX302" fmla="*/ 939715 w 9901550"/>
              <a:gd name="connsiteY302" fmla="*/ 4446724 h 5927527"/>
              <a:gd name="connsiteX303" fmla="*/ 939720 w 9901550"/>
              <a:gd name="connsiteY303" fmla="*/ 4446723 h 5927527"/>
              <a:gd name="connsiteX304" fmla="*/ 1164377 w 9901550"/>
              <a:gd name="connsiteY304" fmla="*/ 4671379 h 5927527"/>
              <a:gd name="connsiteX305" fmla="*/ 939720 w 9901550"/>
              <a:gd name="connsiteY305" fmla="*/ 4896035 h 5927527"/>
              <a:gd name="connsiteX306" fmla="*/ 939715 w 9901550"/>
              <a:gd name="connsiteY306" fmla="*/ 4896035 h 5927527"/>
              <a:gd name="connsiteX307" fmla="*/ 939710 w 9901550"/>
              <a:gd name="connsiteY307" fmla="*/ 4896035 h 5927527"/>
              <a:gd name="connsiteX308" fmla="*/ 715054 w 9901550"/>
              <a:gd name="connsiteY308" fmla="*/ 4671379 h 5927527"/>
              <a:gd name="connsiteX309" fmla="*/ 939710 w 9901550"/>
              <a:gd name="connsiteY309" fmla="*/ 4446723 h 5927527"/>
              <a:gd name="connsiteX310" fmla="*/ 8733341 w 9901550"/>
              <a:gd name="connsiteY310" fmla="*/ 4078287 h 5927527"/>
              <a:gd name="connsiteX311" fmla="*/ 8769286 w 9901550"/>
              <a:gd name="connsiteY311" fmla="*/ 4114232 h 5927527"/>
              <a:gd name="connsiteX312" fmla="*/ 8769147 w 9901550"/>
              <a:gd name="connsiteY312" fmla="*/ 4114553 h 5927527"/>
              <a:gd name="connsiteX313" fmla="*/ 8769286 w 9901550"/>
              <a:gd name="connsiteY313" fmla="*/ 4114874 h 5927527"/>
              <a:gd name="connsiteX314" fmla="*/ 8733341 w 9901550"/>
              <a:gd name="connsiteY314" fmla="*/ 4150819 h 5927527"/>
              <a:gd name="connsiteX315" fmla="*/ 8697396 w 9901550"/>
              <a:gd name="connsiteY315" fmla="*/ 4114874 h 5927527"/>
              <a:gd name="connsiteX316" fmla="*/ 8697529 w 9901550"/>
              <a:gd name="connsiteY316" fmla="*/ 4114553 h 5927527"/>
              <a:gd name="connsiteX317" fmla="*/ 8697396 w 9901550"/>
              <a:gd name="connsiteY317" fmla="*/ 4114232 h 5927527"/>
              <a:gd name="connsiteX318" fmla="*/ 8733341 w 9901550"/>
              <a:gd name="connsiteY318" fmla="*/ 4078287 h 5927527"/>
              <a:gd name="connsiteX319" fmla="*/ 8176194 w 9901550"/>
              <a:gd name="connsiteY319" fmla="*/ 4041058 h 5927527"/>
              <a:gd name="connsiteX320" fmla="*/ 8249367 w 9901550"/>
              <a:gd name="connsiteY320" fmla="*/ 4114232 h 5927527"/>
              <a:gd name="connsiteX321" fmla="*/ 8249302 w 9901550"/>
              <a:gd name="connsiteY321" fmla="*/ 4114553 h 5927527"/>
              <a:gd name="connsiteX322" fmla="*/ 8249367 w 9901550"/>
              <a:gd name="connsiteY322" fmla="*/ 4114873 h 5927527"/>
              <a:gd name="connsiteX323" fmla="*/ 8176194 w 9901550"/>
              <a:gd name="connsiteY323" fmla="*/ 4188047 h 5927527"/>
              <a:gd name="connsiteX324" fmla="*/ 8103020 w 9901550"/>
              <a:gd name="connsiteY324" fmla="*/ 4114873 h 5927527"/>
              <a:gd name="connsiteX325" fmla="*/ 8103084 w 9901550"/>
              <a:gd name="connsiteY325" fmla="*/ 4114553 h 5927527"/>
              <a:gd name="connsiteX326" fmla="*/ 8103020 w 9901550"/>
              <a:gd name="connsiteY326" fmla="*/ 4114232 h 5927527"/>
              <a:gd name="connsiteX327" fmla="*/ 8176194 w 9901550"/>
              <a:gd name="connsiteY327" fmla="*/ 4041058 h 5927527"/>
              <a:gd name="connsiteX328" fmla="*/ 0 w 9901550"/>
              <a:gd name="connsiteY328" fmla="*/ 4030788 h 5927527"/>
              <a:gd name="connsiteX329" fmla="*/ 19256 w 9901550"/>
              <a:gd name="connsiteY329" fmla="*/ 4114232 h 5927527"/>
              <a:gd name="connsiteX330" fmla="*/ 0 w 9901550"/>
              <a:gd name="connsiteY330" fmla="*/ 4197675 h 5927527"/>
              <a:gd name="connsiteX331" fmla="*/ 7619392 w 9901550"/>
              <a:gd name="connsiteY331" fmla="*/ 3987950 h 5927527"/>
              <a:gd name="connsiteX332" fmla="*/ 7708804 w 9901550"/>
              <a:gd name="connsiteY332" fmla="*/ 4024986 h 5927527"/>
              <a:gd name="connsiteX333" fmla="*/ 7708805 w 9901550"/>
              <a:gd name="connsiteY333" fmla="*/ 4203810 h 5927527"/>
              <a:gd name="connsiteX334" fmla="*/ 7529980 w 9901550"/>
              <a:gd name="connsiteY334" fmla="*/ 4203810 h 5927527"/>
              <a:gd name="connsiteX335" fmla="*/ 7529980 w 9901550"/>
              <a:gd name="connsiteY335" fmla="*/ 4024985 h 5927527"/>
              <a:gd name="connsiteX336" fmla="*/ 7571810 w 9901550"/>
              <a:gd name="connsiteY336" fmla="*/ 3997209 h 5927527"/>
              <a:gd name="connsiteX337" fmla="*/ 7619392 w 9901550"/>
              <a:gd name="connsiteY337" fmla="*/ 3987950 h 5927527"/>
              <a:gd name="connsiteX338" fmla="*/ 7063185 w 9901550"/>
              <a:gd name="connsiteY338" fmla="*/ 3924237 h 5927527"/>
              <a:gd name="connsiteX339" fmla="*/ 7253179 w 9901550"/>
              <a:gd name="connsiteY339" fmla="*/ 4114232 h 5927527"/>
              <a:gd name="connsiteX340" fmla="*/ 7253114 w 9901550"/>
              <a:gd name="connsiteY340" fmla="*/ 4114553 h 5927527"/>
              <a:gd name="connsiteX341" fmla="*/ 7253179 w 9901550"/>
              <a:gd name="connsiteY341" fmla="*/ 4114874 h 5927527"/>
              <a:gd name="connsiteX342" fmla="*/ 7063185 w 9901550"/>
              <a:gd name="connsiteY342" fmla="*/ 4304869 h 5927527"/>
              <a:gd name="connsiteX343" fmla="*/ 6873190 w 9901550"/>
              <a:gd name="connsiteY343" fmla="*/ 4114874 h 5927527"/>
              <a:gd name="connsiteX344" fmla="*/ 6873255 w 9901550"/>
              <a:gd name="connsiteY344" fmla="*/ 4114553 h 5927527"/>
              <a:gd name="connsiteX345" fmla="*/ 6873190 w 9901550"/>
              <a:gd name="connsiteY345" fmla="*/ 4114232 h 5927527"/>
              <a:gd name="connsiteX346" fmla="*/ 7063185 w 9901550"/>
              <a:gd name="connsiteY346" fmla="*/ 3924237 h 5927527"/>
              <a:gd name="connsiteX347" fmla="*/ 8733341 w 9901550"/>
              <a:gd name="connsiteY347" fmla="*/ 3496749 h 5927527"/>
              <a:gd name="connsiteX348" fmla="*/ 8794319 w 9901550"/>
              <a:gd name="connsiteY348" fmla="*/ 3557727 h 5927527"/>
              <a:gd name="connsiteX349" fmla="*/ 8794250 w 9901550"/>
              <a:gd name="connsiteY349" fmla="*/ 3558046 h 5927527"/>
              <a:gd name="connsiteX350" fmla="*/ 8794319 w 9901550"/>
              <a:gd name="connsiteY350" fmla="*/ 3558369 h 5927527"/>
              <a:gd name="connsiteX351" fmla="*/ 8733341 w 9901550"/>
              <a:gd name="connsiteY351" fmla="*/ 3619347 h 5927527"/>
              <a:gd name="connsiteX352" fmla="*/ 8672363 w 9901550"/>
              <a:gd name="connsiteY352" fmla="*/ 3558369 h 5927527"/>
              <a:gd name="connsiteX353" fmla="*/ 8672428 w 9901550"/>
              <a:gd name="connsiteY353" fmla="*/ 3558048 h 5927527"/>
              <a:gd name="connsiteX354" fmla="*/ 8672363 w 9901550"/>
              <a:gd name="connsiteY354" fmla="*/ 3557727 h 5927527"/>
              <a:gd name="connsiteX355" fmla="*/ 8733341 w 9901550"/>
              <a:gd name="connsiteY355" fmla="*/ 3496749 h 5927527"/>
              <a:gd name="connsiteX356" fmla="*/ 8176194 w 9901550"/>
              <a:gd name="connsiteY356" fmla="*/ 3440264 h 5927527"/>
              <a:gd name="connsiteX357" fmla="*/ 8293657 w 9901550"/>
              <a:gd name="connsiteY357" fmla="*/ 3557727 h 5927527"/>
              <a:gd name="connsiteX358" fmla="*/ 8176194 w 9901550"/>
              <a:gd name="connsiteY358" fmla="*/ 3675190 h 5927527"/>
              <a:gd name="connsiteX359" fmla="*/ 8058731 w 9901550"/>
              <a:gd name="connsiteY359" fmla="*/ 3557727 h 5927527"/>
              <a:gd name="connsiteX360" fmla="*/ 8176194 w 9901550"/>
              <a:gd name="connsiteY360" fmla="*/ 3440264 h 5927527"/>
              <a:gd name="connsiteX361" fmla="*/ 7619689 w 9901550"/>
              <a:gd name="connsiteY361" fmla="*/ 3372225 h 5927527"/>
              <a:gd name="connsiteX362" fmla="*/ 7805191 w 9901550"/>
              <a:gd name="connsiteY362" fmla="*/ 3557726 h 5927527"/>
              <a:gd name="connsiteX363" fmla="*/ 7619689 w 9901550"/>
              <a:gd name="connsiteY363" fmla="*/ 3743228 h 5927527"/>
              <a:gd name="connsiteX364" fmla="*/ 7434187 w 9901550"/>
              <a:gd name="connsiteY364" fmla="*/ 3557726 h 5927527"/>
              <a:gd name="connsiteX365" fmla="*/ 7619689 w 9901550"/>
              <a:gd name="connsiteY365" fmla="*/ 3372225 h 5927527"/>
              <a:gd name="connsiteX366" fmla="*/ 9289846 w 9901550"/>
              <a:gd name="connsiteY366" fmla="*/ 2954365 h 5927527"/>
              <a:gd name="connsiteX367" fmla="*/ 9336702 w 9901550"/>
              <a:gd name="connsiteY367" fmla="*/ 3001222 h 5927527"/>
              <a:gd name="connsiteX368" fmla="*/ 9289846 w 9901550"/>
              <a:gd name="connsiteY368" fmla="*/ 3048079 h 5927527"/>
              <a:gd name="connsiteX369" fmla="*/ 9242989 w 9901550"/>
              <a:gd name="connsiteY369" fmla="*/ 3001222 h 5927527"/>
              <a:gd name="connsiteX370" fmla="*/ 9289846 w 9901550"/>
              <a:gd name="connsiteY370" fmla="*/ 2954365 h 5927527"/>
              <a:gd name="connsiteX371" fmla="*/ 8733340 w 9901550"/>
              <a:gd name="connsiteY371" fmla="*/ 2907508 h 5927527"/>
              <a:gd name="connsiteX372" fmla="*/ 8827054 w 9901550"/>
              <a:gd name="connsiteY372" fmla="*/ 3001221 h 5927527"/>
              <a:gd name="connsiteX373" fmla="*/ 8733340 w 9901550"/>
              <a:gd name="connsiteY373" fmla="*/ 3094935 h 5927527"/>
              <a:gd name="connsiteX374" fmla="*/ 8697034 w 9901550"/>
              <a:gd name="connsiteY374" fmla="*/ 3087604 h 5927527"/>
              <a:gd name="connsiteX375" fmla="*/ 8696959 w 9901550"/>
              <a:gd name="connsiteY375" fmla="*/ 3087553 h 5927527"/>
              <a:gd name="connsiteX376" fmla="*/ 8696764 w 9901550"/>
              <a:gd name="connsiteY376" fmla="*/ 3087513 h 5927527"/>
              <a:gd name="connsiteX377" fmla="*/ 8680809 w 9901550"/>
              <a:gd name="connsiteY377" fmla="*/ 3076702 h 5927527"/>
              <a:gd name="connsiteX378" fmla="*/ 8667228 w 9901550"/>
              <a:gd name="connsiteY378" fmla="*/ 3067575 h 5927527"/>
              <a:gd name="connsiteX379" fmla="*/ 8667130 w 9901550"/>
              <a:gd name="connsiteY379" fmla="*/ 3067431 h 5927527"/>
              <a:gd name="connsiteX380" fmla="*/ 8666987 w 9901550"/>
              <a:gd name="connsiteY380" fmla="*/ 3067334 h 5927527"/>
              <a:gd name="connsiteX381" fmla="*/ 8657924 w 9901550"/>
              <a:gd name="connsiteY381" fmla="*/ 3053847 h 5927527"/>
              <a:gd name="connsiteX382" fmla="*/ 8647049 w 9901550"/>
              <a:gd name="connsiteY382" fmla="*/ 3037799 h 5927527"/>
              <a:gd name="connsiteX383" fmla="*/ 8647009 w 9901550"/>
              <a:gd name="connsiteY383" fmla="*/ 3037602 h 5927527"/>
              <a:gd name="connsiteX384" fmla="*/ 8646958 w 9901550"/>
              <a:gd name="connsiteY384" fmla="*/ 3037527 h 5927527"/>
              <a:gd name="connsiteX385" fmla="*/ 8639627 w 9901550"/>
              <a:gd name="connsiteY385" fmla="*/ 3001221 h 5927527"/>
              <a:gd name="connsiteX386" fmla="*/ 8646958 w 9901550"/>
              <a:gd name="connsiteY386" fmla="*/ 2964916 h 5927527"/>
              <a:gd name="connsiteX387" fmla="*/ 8647009 w 9901550"/>
              <a:gd name="connsiteY387" fmla="*/ 2964840 h 5927527"/>
              <a:gd name="connsiteX388" fmla="*/ 8647049 w 9901550"/>
              <a:gd name="connsiteY388" fmla="*/ 2964645 h 5927527"/>
              <a:gd name="connsiteX389" fmla="*/ 8657890 w 9901550"/>
              <a:gd name="connsiteY389" fmla="*/ 2948647 h 5927527"/>
              <a:gd name="connsiteX390" fmla="*/ 8666987 w 9901550"/>
              <a:gd name="connsiteY390" fmla="*/ 2935109 h 5927527"/>
              <a:gd name="connsiteX391" fmla="*/ 8667130 w 9901550"/>
              <a:gd name="connsiteY391" fmla="*/ 2935011 h 5927527"/>
              <a:gd name="connsiteX392" fmla="*/ 8667228 w 9901550"/>
              <a:gd name="connsiteY392" fmla="*/ 2934868 h 5927527"/>
              <a:gd name="connsiteX393" fmla="*/ 8680764 w 9901550"/>
              <a:gd name="connsiteY393" fmla="*/ 2925772 h 5927527"/>
              <a:gd name="connsiteX394" fmla="*/ 8696764 w 9901550"/>
              <a:gd name="connsiteY394" fmla="*/ 2914930 h 5927527"/>
              <a:gd name="connsiteX395" fmla="*/ 8696959 w 9901550"/>
              <a:gd name="connsiteY395" fmla="*/ 2914890 h 5927527"/>
              <a:gd name="connsiteX396" fmla="*/ 8697034 w 9901550"/>
              <a:gd name="connsiteY396" fmla="*/ 2914840 h 5927527"/>
              <a:gd name="connsiteX397" fmla="*/ 8733340 w 9901550"/>
              <a:gd name="connsiteY397" fmla="*/ 2907508 h 5927527"/>
              <a:gd name="connsiteX398" fmla="*/ 8176195 w 9901550"/>
              <a:gd name="connsiteY398" fmla="*/ 2838828 h 5927527"/>
              <a:gd name="connsiteX399" fmla="*/ 8338588 w 9901550"/>
              <a:gd name="connsiteY399" fmla="*/ 3001222 h 5927527"/>
              <a:gd name="connsiteX400" fmla="*/ 8176195 w 9901550"/>
              <a:gd name="connsiteY400" fmla="*/ 3163617 h 5927527"/>
              <a:gd name="connsiteX401" fmla="*/ 8013800 w 9901550"/>
              <a:gd name="connsiteY401" fmla="*/ 3001222 h 5927527"/>
              <a:gd name="connsiteX402" fmla="*/ 8176195 w 9901550"/>
              <a:gd name="connsiteY402" fmla="*/ 2838828 h 5927527"/>
              <a:gd name="connsiteX403" fmla="*/ 9289846 w 9901550"/>
              <a:gd name="connsiteY403" fmla="*/ 2378604 h 5927527"/>
              <a:gd name="connsiteX404" fmla="*/ 9355959 w 9901550"/>
              <a:gd name="connsiteY404" fmla="*/ 2444075 h 5927527"/>
              <a:gd name="connsiteX405" fmla="*/ 9289846 w 9901550"/>
              <a:gd name="connsiteY405" fmla="*/ 2510188 h 5927527"/>
              <a:gd name="connsiteX406" fmla="*/ 9223733 w 9901550"/>
              <a:gd name="connsiteY406" fmla="*/ 2444075 h 5927527"/>
              <a:gd name="connsiteX407" fmla="*/ 9289846 w 9901550"/>
              <a:gd name="connsiteY407" fmla="*/ 2378604 h 5927527"/>
              <a:gd name="connsiteX408" fmla="*/ 8733341 w 9901550"/>
              <a:gd name="connsiteY408" fmla="*/ 2316342 h 5927527"/>
              <a:gd name="connsiteX409" fmla="*/ 8783186 w 9901550"/>
              <a:gd name="connsiteY409" fmla="*/ 2326382 h 5927527"/>
              <a:gd name="connsiteX410" fmla="*/ 8783262 w 9901550"/>
              <a:gd name="connsiteY410" fmla="*/ 2326432 h 5927527"/>
              <a:gd name="connsiteX411" fmla="*/ 8783457 w 9901550"/>
              <a:gd name="connsiteY411" fmla="*/ 2326472 h 5927527"/>
              <a:gd name="connsiteX412" fmla="*/ 8805377 w 9901550"/>
              <a:gd name="connsiteY412" fmla="*/ 2341293 h 5927527"/>
              <a:gd name="connsiteX413" fmla="*/ 8824006 w 9901550"/>
              <a:gd name="connsiteY413" fmla="*/ 2353812 h 5927527"/>
              <a:gd name="connsiteX414" fmla="*/ 8824103 w 9901550"/>
              <a:gd name="connsiteY414" fmla="*/ 2353955 h 5927527"/>
              <a:gd name="connsiteX415" fmla="*/ 8824247 w 9901550"/>
              <a:gd name="connsiteY415" fmla="*/ 2354052 h 5927527"/>
              <a:gd name="connsiteX416" fmla="*/ 8836766 w 9901550"/>
              <a:gd name="connsiteY416" fmla="*/ 2372684 h 5927527"/>
              <a:gd name="connsiteX417" fmla="*/ 8851586 w 9901550"/>
              <a:gd name="connsiteY417" fmla="*/ 2394601 h 5927527"/>
              <a:gd name="connsiteX418" fmla="*/ 8851626 w 9901550"/>
              <a:gd name="connsiteY418" fmla="*/ 2394796 h 5927527"/>
              <a:gd name="connsiteX419" fmla="*/ 8851677 w 9901550"/>
              <a:gd name="connsiteY419" fmla="*/ 2394872 h 5927527"/>
              <a:gd name="connsiteX420" fmla="*/ 8861716 w 9901550"/>
              <a:gd name="connsiteY420" fmla="*/ 2444717 h 5927527"/>
              <a:gd name="connsiteX421" fmla="*/ 8733341 w 9901550"/>
              <a:gd name="connsiteY421" fmla="*/ 2573092 h 5927527"/>
              <a:gd name="connsiteX422" fmla="*/ 8683496 w 9901550"/>
              <a:gd name="connsiteY422" fmla="*/ 2563053 h 5927527"/>
              <a:gd name="connsiteX423" fmla="*/ 8683420 w 9901550"/>
              <a:gd name="connsiteY423" fmla="*/ 2563002 h 5927527"/>
              <a:gd name="connsiteX424" fmla="*/ 8683225 w 9901550"/>
              <a:gd name="connsiteY424" fmla="*/ 2562963 h 5927527"/>
              <a:gd name="connsiteX425" fmla="*/ 8661295 w 9901550"/>
              <a:gd name="connsiteY425" fmla="*/ 2548134 h 5927527"/>
              <a:gd name="connsiteX426" fmla="*/ 8642676 w 9901550"/>
              <a:gd name="connsiteY426" fmla="*/ 2535623 h 5927527"/>
              <a:gd name="connsiteX427" fmla="*/ 8642579 w 9901550"/>
              <a:gd name="connsiteY427" fmla="*/ 2535479 h 5927527"/>
              <a:gd name="connsiteX428" fmla="*/ 8642436 w 9901550"/>
              <a:gd name="connsiteY428" fmla="*/ 2535382 h 5927527"/>
              <a:gd name="connsiteX429" fmla="*/ 8629916 w 9901550"/>
              <a:gd name="connsiteY429" fmla="*/ 2516751 h 5927527"/>
              <a:gd name="connsiteX430" fmla="*/ 8615096 w 9901550"/>
              <a:gd name="connsiteY430" fmla="*/ 2494834 h 5927527"/>
              <a:gd name="connsiteX431" fmla="*/ 8615056 w 9901550"/>
              <a:gd name="connsiteY431" fmla="*/ 2494638 h 5927527"/>
              <a:gd name="connsiteX432" fmla="*/ 8615005 w 9901550"/>
              <a:gd name="connsiteY432" fmla="*/ 2494563 h 5927527"/>
              <a:gd name="connsiteX433" fmla="*/ 8604966 w 9901550"/>
              <a:gd name="connsiteY433" fmla="*/ 2444717 h 5927527"/>
              <a:gd name="connsiteX434" fmla="*/ 8615005 w 9901550"/>
              <a:gd name="connsiteY434" fmla="*/ 2394872 h 5927527"/>
              <a:gd name="connsiteX435" fmla="*/ 8615056 w 9901550"/>
              <a:gd name="connsiteY435" fmla="*/ 2394796 h 5927527"/>
              <a:gd name="connsiteX436" fmla="*/ 8615096 w 9901550"/>
              <a:gd name="connsiteY436" fmla="*/ 2394601 h 5927527"/>
              <a:gd name="connsiteX437" fmla="*/ 8629916 w 9901550"/>
              <a:gd name="connsiteY437" fmla="*/ 2372683 h 5927527"/>
              <a:gd name="connsiteX438" fmla="*/ 8642436 w 9901550"/>
              <a:gd name="connsiteY438" fmla="*/ 2354052 h 5927527"/>
              <a:gd name="connsiteX439" fmla="*/ 8642579 w 9901550"/>
              <a:gd name="connsiteY439" fmla="*/ 2353955 h 5927527"/>
              <a:gd name="connsiteX440" fmla="*/ 8642676 w 9901550"/>
              <a:gd name="connsiteY440" fmla="*/ 2353812 h 5927527"/>
              <a:gd name="connsiteX441" fmla="*/ 8661295 w 9901550"/>
              <a:gd name="connsiteY441" fmla="*/ 2341300 h 5927527"/>
              <a:gd name="connsiteX442" fmla="*/ 8683225 w 9901550"/>
              <a:gd name="connsiteY442" fmla="*/ 2326472 h 5927527"/>
              <a:gd name="connsiteX443" fmla="*/ 8683420 w 9901550"/>
              <a:gd name="connsiteY443" fmla="*/ 2326432 h 5927527"/>
              <a:gd name="connsiteX444" fmla="*/ 8683496 w 9901550"/>
              <a:gd name="connsiteY444" fmla="*/ 2326382 h 5927527"/>
              <a:gd name="connsiteX445" fmla="*/ 8733341 w 9901550"/>
              <a:gd name="connsiteY445" fmla="*/ 2316342 h 5927527"/>
              <a:gd name="connsiteX446" fmla="*/ 8176194 w 9901550"/>
              <a:gd name="connsiteY446" fmla="*/ 2230973 h 5927527"/>
              <a:gd name="connsiteX447" fmla="*/ 8389938 w 9901550"/>
              <a:gd name="connsiteY447" fmla="*/ 2444717 h 5927527"/>
              <a:gd name="connsiteX448" fmla="*/ 8176194 w 9901550"/>
              <a:gd name="connsiteY448" fmla="*/ 2658462 h 5927527"/>
              <a:gd name="connsiteX449" fmla="*/ 7962450 w 9901550"/>
              <a:gd name="connsiteY449" fmla="*/ 2444717 h 5927527"/>
              <a:gd name="connsiteX450" fmla="*/ 8176194 w 9901550"/>
              <a:gd name="connsiteY450" fmla="*/ 2230973 h 5927527"/>
              <a:gd name="connsiteX451" fmla="*/ 9846351 w 9901550"/>
              <a:gd name="connsiteY451" fmla="*/ 1849709 h 5927527"/>
              <a:gd name="connsiteX452" fmla="*/ 9884221 w 9901550"/>
              <a:gd name="connsiteY452" fmla="*/ 1887579 h 5927527"/>
              <a:gd name="connsiteX453" fmla="*/ 9884088 w 9901550"/>
              <a:gd name="connsiteY453" fmla="*/ 1887897 h 5927527"/>
              <a:gd name="connsiteX454" fmla="*/ 9884221 w 9901550"/>
              <a:gd name="connsiteY454" fmla="*/ 1888215 h 5927527"/>
              <a:gd name="connsiteX455" fmla="*/ 9846351 w 9901550"/>
              <a:gd name="connsiteY455" fmla="*/ 1926085 h 5927527"/>
              <a:gd name="connsiteX456" fmla="*/ 9808480 w 9901550"/>
              <a:gd name="connsiteY456" fmla="*/ 1888215 h 5927527"/>
              <a:gd name="connsiteX457" fmla="*/ 9808613 w 9901550"/>
              <a:gd name="connsiteY457" fmla="*/ 1887897 h 5927527"/>
              <a:gd name="connsiteX458" fmla="*/ 9808480 w 9901550"/>
              <a:gd name="connsiteY458" fmla="*/ 1887579 h 5927527"/>
              <a:gd name="connsiteX459" fmla="*/ 9846351 w 9901550"/>
              <a:gd name="connsiteY459" fmla="*/ 1849709 h 5927527"/>
              <a:gd name="connsiteX460" fmla="*/ 9289846 w 9901550"/>
              <a:gd name="connsiteY460" fmla="*/ 1802846 h 5927527"/>
              <a:gd name="connsiteX461" fmla="*/ 9374573 w 9901550"/>
              <a:gd name="connsiteY461" fmla="*/ 1887573 h 5927527"/>
              <a:gd name="connsiteX462" fmla="*/ 9374508 w 9901550"/>
              <a:gd name="connsiteY462" fmla="*/ 1887897 h 5927527"/>
              <a:gd name="connsiteX463" fmla="*/ 9374573 w 9901550"/>
              <a:gd name="connsiteY463" fmla="*/ 1888221 h 5927527"/>
              <a:gd name="connsiteX464" fmla="*/ 9289846 w 9901550"/>
              <a:gd name="connsiteY464" fmla="*/ 1972949 h 5927527"/>
              <a:gd name="connsiteX465" fmla="*/ 9205118 w 9901550"/>
              <a:gd name="connsiteY465" fmla="*/ 1888221 h 5927527"/>
              <a:gd name="connsiteX466" fmla="*/ 9205183 w 9901550"/>
              <a:gd name="connsiteY466" fmla="*/ 1887897 h 5927527"/>
              <a:gd name="connsiteX467" fmla="*/ 9205118 w 9901550"/>
              <a:gd name="connsiteY467" fmla="*/ 1887573 h 5927527"/>
              <a:gd name="connsiteX468" fmla="*/ 9289846 w 9901550"/>
              <a:gd name="connsiteY468" fmla="*/ 1802846 h 5927527"/>
              <a:gd name="connsiteX469" fmla="*/ 8733341 w 9901550"/>
              <a:gd name="connsiteY469" fmla="*/ 1725828 h 5927527"/>
              <a:gd name="connsiteX470" fmla="*/ 8895094 w 9901550"/>
              <a:gd name="connsiteY470" fmla="*/ 1887580 h 5927527"/>
              <a:gd name="connsiteX471" fmla="*/ 8895028 w 9901550"/>
              <a:gd name="connsiteY471" fmla="*/ 1887898 h 5927527"/>
              <a:gd name="connsiteX472" fmla="*/ 8895094 w 9901550"/>
              <a:gd name="connsiteY472" fmla="*/ 1888215 h 5927527"/>
              <a:gd name="connsiteX473" fmla="*/ 8733341 w 9901550"/>
              <a:gd name="connsiteY473" fmla="*/ 2049968 h 5927527"/>
              <a:gd name="connsiteX474" fmla="*/ 8571589 w 9901550"/>
              <a:gd name="connsiteY474" fmla="*/ 1888215 h 5927527"/>
              <a:gd name="connsiteX475" fmla="*/ 8571653 w 9901550"/>
              <a:gd name="connsiteY475" fmla="*/ 1887898 h 5927527"/>
              <a:gd name="connsiteX476" fmla="*/ 8571589 w 9901550"/>
              <a:gd name="connsiteY476" fmla="*/ 1887580 h 5927527"/>
              <a:gd name="connsiteX477" fmla="*/ 8733341 w 9901550"/>
              <a:gd name="connsiteY477" fmla="*/ 1725828 h 5927527"/>
              <a:gd name="connsiteX478" fmla="*/ 9846351 w 9901550"/>
              <a:gd name="connsiteY478" fmla="*/ 1283568 h 5927527"/>
              <a:gd name="connsiteX479" fmla="*/ 9893850 w 9901550"/>
              <a:gd name="connsiteY479" fmla="*/ 1331067 h 5927527"/>
              <a:gd name="connsiteX480" fmla="*/ 9893849 w 9901550"/>
              <a:gd name="connsiteY480" fmla="*/ 1331071 h 5927527"/>
              <a:gd name="connsiteX481" fmla="*/ 9893850 w 9901550"/>
              <a:gd name="connsiteY481" fmla="*/ 1331074 h 5927527"/>
              <a:gd name="connsiteX482" fmla="*/ 9846351 w 9901550"/>
              <a:gd name="connsiteY482" fmla="*/ 1378572 h 5927527"/>
              <a:gd name="connsiteX483" fmla="*/ 9798852 w 9901550"/>
              <a:gd name="connsiteY483" fmla="*/ 1331074 h 5927527"/>
              <a:gd name="connsiteX484" fmla="*/ 9798853 w 9901550"/>
              <a:gd name="connsiteY484" fmla="*/ 1331071 h 5927527"/>
              <a:gd name="connsiteX485" fmla="*/ 9798852 w 9901550"/>
              <a:gd name="connsiteY485" fmla="*/ 1331067 h 5927527"/>
              <a:gd name="connsiteX486" fmla="*/ 9846351 w 9901550"/>
              <a:gd name="connsiteY486" fmla="*/ 1283568 h 5927527"/>
              <a:gd name="connsiteX487" fmla="*/ 9289846 w 9901550"/>
              <a:gd name="connsiteY487" fmla="*/ 1227085 h 5927527"/>
              <a:gd name="connsiteX488" fmla="*/ 9393829 w 9901550"/>
              <a:gd name="connsiteY488" fmla="*/ 1331069 h 5927527"/>
              <a:gd name="connsiteX489" fmla="*/ 9393764 w 9901550"/>
              <a:gd name="connsiteY489" fmla="*/ 1331392 h 5927527"/>
              <a:gd name="connsiteX490" fmla="*/ 9393829 w 9901550"/>
              <a:gd name="connsiteY490" fmla="*/ 1331716 h 5927527"/>
              <a:gd name="connsiteX491" fmla="*/ 9289846 w 9901550"/>
              <a:gd name="connsiteY491" fmla="*/ 1435699 h 5927527"/>
              <a:gd name="connsiteX492" fmla="*/ 9185862 w 9901550"/>
              <a:gd name="connsiteY492" fmla="*/ 1331716 h 5927527"/>
              <a:gd name="connsiteX493" fmla="*/ 9185928 w 9901550"/>
              <a:gd name="connsiteY493" fmla="*/ 1331392 h 5927527"/>
              <a:gd name="connsiteX494" fmla="*/ 9185862 w 9901550"/>
              <a:gd name="connsiteY494" fmla="*/ 1331069 h 5927527"/>
              <a:gd name="connsiteX495" fmla="*/ 9289846 w 9901550"/>
              <a:gd name="connsiteY495" fmla="*/ 1227085 h 5927527"/>
              <a:gd name="connsiteX496" fmla="*/ 8733341 w 9901550"/>
              <a:gd name="connsiteY496" fmla="*/ 1144925 h 5927527"/>
              <a:gd name="connsiteX497" fmla="*/ 8919484 w 9901550"/>
              <a:gd name="connsiteY497" fmla="*/ 1331069 h 5927527"/>
              <a:gd name="connsiteX498" fmla="*/ 8919483 w 9901550"/>
              <a:gd name="connsiteY498" fmla="*/ 1331072 h 5927527"/>
              <a:gd name="connsiteX499" fmla="*/ 8919484 w 9901550"/>
              <a:gd name="connsiteY499" fmla="*/ 1331076 h 5927527"/>
              <a:gd name="connsiteX500" fmla="*/ 8733341 w 9901550"/>
              <a:gd name="connsiteY500" fmla="*/ 1517219 h 5927527"/>
              <a:gd name="connsiteX501" fmla="*/ 8547197 w 9901550"/>
              <a:gd name="connsiteY501" fmla="*/ 1331076 h 5927527"/>
              <a:gd name="connsiteX502" fmla="*/ 8547198 w 9901550"/>
              <a:gd name="connsiteY502" fmla="*/ 1331072 h 5927527"/>
              <a:gd name="connsiteX503" fmla="*/ 8547197 w 9901550"/>
              <a:gd name="connsiteY503" fmla="*/ 1331069 h 5927527"/>
              <a:gd name="connsiteX504" fmla="*/ 8733341 w 9901550"/>
              <a:gd name="connsiteY504" fmla="*/ 1144925 h 5927527"/>
              <a:gd name="connsiteX505" fmla="*/ 9846351 w 9901550"/>
              <a:gd name="connsiteY505" fmla="*/ 721287 h 5927527"/>
              <a:gd name="connsiteX506" fmla="*/ 9899627 w 9901550"/>
              <a:gd name="connsiteY506" fmla="*/ 774563 h 5927527"/>
              <a:gd name="connsiteX507" fmla="*/ 9899626 w 9901550"/>
              <a:gd name="connsiteY507" fmla="*/ 774566 h 5927527"/>
              <a:gd name="connsiteX508" fmla="*/ 9899627 w 9901550"/>
              <a:gd name="connsiteY508" fmla="*/ 774569 h 5927527"/>
              <a:gd name="connsiteX509" fmla="*/ 9846351 w 9901550"/>
              <a:gd name="connsiteY509" fmla="*/ 827844 h 5927527"/>
              <a:gd name="connsiteX510" fmla="*/ 9793075 w 9901550"/>
              <a:gd name="connsiteY510" fmla="*/ 774569 h 5927527"/>
              <a:gd name="connsiteX511" fmla="*/ 9793076 w 9901550"/>
              <a:gd name="connsiteY511" fmla="*/ 774566 h 5927527"/>
              <a:gd name="connsiteX512" fmla="*/ 9793075 w 9901550"/>
              <a:gd name="connsiteY512" fmla="*/ 774563 h 5927527"/>
              <a:gd name="connsiteX513" fmla="*/ 9846351 w 9901550"/>
              <a:gd name="connsiteY513" fmla="*/ 721287 h 5927527"/>
              <a:gd name="connsiteX514" fmla="*/ 9289847 w 9901550"/>
              <a:gd name="connsiteY514" fmla="*/ 657747 h 5927527"/>
              <a:gd name="connsiteX515" fmla="*/ 9406667 w 9901550"/>
              <a:gd name="connsiteY515" fmla="*/ 774568 h 5927527"/>
              <a:gd name="connsiteX516" fmla="*/ 9406601 w 9901550"/>
              <a:gd name="connsiteY516" fmla="*/ 774885 h 5927527"/>
              <a:gd name="connsiteX517" fmla="*/ 9406667 w 9901550"/>
              <a:gd name="connsiteY517" fmla="*/ 775204 h 5927527"/>
              <a:gd name="connsiteX518" fmla="*/ 9289847 w 9901550"/>
              <a:gd name="connsiteY518" fmla="*/ 892025 h 5927527"/>
              <a:gd name="connsiteX519" fmla="*/ 9173025 w 9901550"/>
              <a:gd name="connsiteY519" fmla="*/ 775204 h 5927527"/>
              <a:gd name="connsiteX520" fmla="*/ 9173089 w 9901550"/>
              <a:gd name="connsiteY520" fmla="*/ 774886 h 5927527"/>
              <a:gd name="connsiteX521" fmla="*/ 9173025 w 9901550"/>
              <a:gd name="connsiteY521" fmla="*/ 774568 h 5927527"/>
              <a:gd name="connsiteX522" fmla="*/ 9289847 w 9901550"/>
              <a:gd name="connsiteY522" fmla="*/ 657747 h 5927527"/>
              <a:gd name="connsiteX523" fmla="*/ 8733165 w 9901550"/>
              <a:gd name="connsiteY523" fmla="*/ 568394 h 5927527"/>
              <a:gd name="connsiteX524" fmla="*/ 8738850 w 9901550"/>
              <a:gd name="connsiteY524" fmla="*/ 568939 h 5927527"/>
              <a:gd name="connsiteX525" fmla="*/ 8739361 w 9901550"/>
              <a:gd name="connsiteY525" fmla="*/ 568866 h 5927527"/>
              <a:gd name="connsiteX526" fmla="*/ 8742720 w 9901550"/>
              <a:gd name="connsiteY526" fmla="*/ 569310 h 5927527"/>
              <a:gd name="connsiteX527" fmla="*/ 8772517 w 9901550"/>
              <a:gd name="connsiteY527" fmla="*/ 572166 h 5927527"/>
              <a:gd name="connsiteX528" fmla="*/ 8779110 w 9901550"/>
              <a:gd name="connsiteY528" fmla="*/ 574120 h 5927527"/>
              <a:gd name="connsiteX529" fmla="*/ 8780734 w 9901550"/>
              <a:gd name="connsiteY529" fmla="*/ 574335 h 5927527"/>
              <a:gd name="connsiteX530" fmla="*/ 8786198 w 9901550"/>
              <a:gd name="connsiteY530" fmla="*/ 576220 h 5927527"/>
              <a:gd name="connsiteX531" fmla="*/ 8810698 w 9901550"/>
              <a:gd name="connsiteY531" fmla="*/ 583481 h 5927527"/>
              <a:gd name="connsiteX532" fmla="*/ 8817299 w 9901550"/>
              <a:gd name="connsiteY532" fmla="*/ 586955 h 5927527"/>
              <a:gd name="connsiteX533" fmla="*/ 8820184 w 9901550"/>
              <a:gd name="connsiteY533" fmla="*/ 587951 h 5927527"/>
              <a:gd name="connsiteX534" fmla="*/ 8828406 w 9901550"/>
              <a:gd name="connsiteY534" fmla="*/ 592800 h 5927527"/>
              <a:gd name="connsiteX535" fmla="*/ 8846535 w 9901550"/>
              <a:gd name="connsiteY535" fmla="*/ 602340 h 5927527"/>
              <a:gd name="connsiteX536" fmla="*/ 8851608 w 9901550"/>
              <a:gd name="connsiteY536" fmla="*/ 606484 h 5927527"/>
              <a:gd name="connsiteX537" fmla="*/ 8855065 w 9901550"/>
              <a:gd name="connsiteY537" fmla="*/ 608523 h 5927527"/>
              <a:gd name="connsiteX538" fmla="*/ 8858018 w 9901550"/>
              <a:gd name="connsiteY538" fmla="*/ 611719 h 5927527"/>
              <a:gd name="connsiteX539" fmla="*/ 8878857 w 9901550"/>
              <a:gd name="connsiteY539" fmla="*/ 628742 h 5927527"/>
              <a:gd name="connsiteX540" fmla="*/ 8891949 w 9901550"/>
              <a:gd name="connsiteY540" fmla="*/ 648458 h 5927527"/>
              <a:gd name="connsiteX541" fmla="*/ 8908655 w 9901550"/>
              <a:gd name="connsiteY541" fmla="*/ 666546 h 5927527"/>
              <a:gd name="connsiteX542" fmla="*/ 8914857 w 9901550"/>
              <a:gd name="connsiteY542" fmla="*/ 682955 h 5927527"/>
              <a:gd name="connsiteX543" fmla="*/ 8924117 w 9901550"/>
              <a:gd name="connsiteY543" fmla="*/ 696901 h 5927527"/>
              <a:gd name="connsiteX544" fmla="*/ 8928352 w 9901550"/>
              <a:gd name="connsiteY544" fmla="*/ 718665 h 5927527"/>
              <a:gd name="connsiteX545" fmla="*/ 8936578 w 9901550"/>
              <a:gd name="connsiteY545" fmla="*/ 740430 h 5927527"/>
              <a:gd name="connsiteX546" fmla="*/ 8938781 w 9901550"/>
              <a:gd name="connsiteY546" fmla="*/ 772260 h 5927527"/>
              <a:gd name="connsiteX547" fmla="*/ 8939204 w 9901550"/>
              <a:gd name="connsiteY547" fmla="*/ 774434 h 5927527"/>
              <a:gd name="connsiteX548" fmla="*/ 8939003 w 9901550"/>
              <a:gd name="connsiteY548" fmla="*/ 775467 h 5927527"/>
              <a:gd name="connsiteX549" fmla="*/ 8939374 w 9901550"/>
              <a:gd name="connsiteY549" fmla="*/ 780829 h 5927527"/>
              <a:gd name="connsiteX550" fmla="*/ 8933906 w 9901550"/>
              <a:gd name="connsiteY550" fmla="*/ 822202 h 5927527"/>
              <a:gd name="connsiteX551" fmla="*/ 8926978 w 9901550"/>
              <a:gd name="connsiteY551" fmla="*/ 837265 h 5927527"/>
              <a:gd name="connsiteX552" fmla="*/ 8924117 w 9901550"/>
              <a:gd name="connsiteY552" fmla="*/ 851967 h 5927527"/>
              <a:gd name="connsiteX553" fmla="*/ 8911425 w 9901550"/>
              <a:gd name="connsiteY553" fmla="*/ 871080 h 5927527"/>
              <a:gd name="connsiteX554" fmla="*/ 8899718 w 9901550"/>
              <a:gd name="connsiteY554" fmla="*/ 896533 h 5927527"/>
              <a:gd name="connsiteX555" fmla="*/ 8886283 w 9901550"/>
              <a:gd name="connsiteY555" fmla="*/ 908942 h 5927527"/>
              <a:gd name="connsiteX556" fmla="*/ 8878856 w 9901550"/>
              <a:gd name="connsiteY556" fmla="*/ 920126 h 5927527"/>
              <a:gd name="connsiteX557" fmla="*/ 8846534 w 9901550"/>
              <a:gd name="connsiteY557" fmla="*/ 946528 h 5927527"/>
              <a:gd name="connsiteX558" fmla="*/ 8844334 w 9901550"/>
              <a:gd name="connsiteY558" fmla="*/ 947686 h 5927527"/>
              <a:gd name="connsiteX559" fmla="*/ 8841695 w 9901550"/>
              <a:gd name="connsiteY559" fmla="*/ 950123 h 5927527"/>
              <a:gd name="connsiteX560" fmla="*/ 8767810 w 9901550"/>
              <a:gd name="connsiteY560" fmla="*/ 978046 h 5927527"/>
              <a:gd name="connsiteX561" fmla="*/ 8734266 w 9901550"/>
              <a:gd name="connsiteY561" fmla="*/ 980368 h 5927527"/>
              <a:gd name="connsiteX562" fmla="*/ 8733165 w 9901550"/>
              <a:gd name="connsiteY562" fmla="*/ 980473 h 5927527"/>
              <a:gd name="connsiteX563" fmla="*/ 8732987 w 9901550"/>
              <a:gd name="connsiteY563" fmla="*/ 980456 h 5927527"/>
              <a:gd name="connsiteX564" fmla="*/ 8727412 w 9901550"/>
              <a:gd name="connsiteY564" fmla="*/ 980842 h 5927527"/>
              <a:gd name="connsiteX565" fmla="*/ 8702082 w 9901550"/>
              <a:gd name="connsiteY565" fmla="*/ 977494 h 5927527"/>
              <a:gd name="connsiteX566" fmla="*/ 8693812 w 9901550"/>
              <a:gd name="connsiteY566" fmla="*/ 976701 h 5927527"/>
              <a:gd name="connsiteX567" fmla="*/ 8691982 w 9901550"/>
              <a:gd name="connsiteY567" fmla="*/ 976159 h 5927527"/>
              <a:gd name="connsiteX568" fmla="*/ 8686038 w 9901550"/>
              <a:gd name="connsiteY568" fmla="*/ 975373 h 5927527"/>
              <a:gd name="connsiteX569" fmla="*/ 8666035 w 9901550"/>
              <a:gd name="connsiteY569" fmla="*/ 968469 h 5927527"/>
              <a:gd name="connsiteX570" fmla="*/ 8655632 w 9901550"/>
              <a:gd name="connsiteY570" fmla="*/ 965386 h 5927527"/>
              <a:gd name="connsiteX571" fmla="*/ 8652829 w 9901550"/>
              <a:gd name="connsiteY571" fmla="*/ 963911 h 5927527"/>
              <a:gd name="connsiteX572" fmla="*/ 8646588 w 9901550"/>
              <a:gd name="connsiteY572" fmla="*/ 961757 h 5927527"/>
              <a:gd name="connsiteX573" fmla="*/ 8628806 w 9901550"/>
              <a:gd name="connsiteY573" fmla="*/ 951270 h 5927527"/>
              <a:gd name="connsiteX574" fmla="*/ 8619795 w 9901550"/>
              <a:gd name="connsiteY574" fmla="*/ 946528 h 5927527"/>
              <a:gd name="connsiteX575" fmla="*/ 8617273 w 9901550"/>
              <a:gd name="connsiteY575" fmla="*/ 944468 h 5927527"/>
              <a:gd name="connsiteX576" fmla="*/ 8611707 w 9901550"/>
              <a:gd name="connsiteY576" fmla="*/ 941186 h 5927527"/>
              <a:gd name="connsiteX577" fmla="*/ 8606954 w 9901550"/>
              <a:gd name="connsiteY577" fmla="*/ 936039 h 5927527"/>
              <a:gd name="connsiteX578" fmla="*/ 8587473 w 9901550"/>
              <a:gd name="connsiteY578" fmla="*/ 920126 h 5927527"/>
              <a:gd name="connsiteX579" fmla="*/ 8575234 w 9901550"/>
              <a:gd name="connsiteY579" fmla="*/ 901695 h 5927527"/>
              <a:gd name="connsiteX580" fmla="*/ 8558117 w 9901550"/>
              <a:gd name="connsiteY580" fmla="*/ 883162 h 5927527"/>
              <a:gd name="connsiteX581" fmla="*/ 8551763 w 9901550"/>
              <a:gd name="connsiteY581" fmla="*/ 866350 h 5927527"/>
              <a:gd name="connsiteX582" fmla="*/ 8542212 w 9901550"/>
              <a:gd name="connsiteY582" fmla="*/ 851967 h 5927527"/>
              <a:gd name="connsiteX583" fmla="*/ 8537844 w 9901550"/>
              <a:gd name="connsiteY583" fmla="*/ 829519 h 5927527"/>
              <a:gd name="connsiteX584" fmla="*/ 8530194 w 9901550"/>
              <a:gd name="connsiteY584" fmla="*/ 809278 h 5927527"/>
              <a:gd name="connsiteX585" fmla="*/ 8528145 w 9901550"/>
              <a:gd name="connsiteY585" fmla="*/ 779677 h 5927527"/>
              <a:gd name="connsiteX586" fmla="*/ 8527125 w 9901550"/>
              <a:gd name="connsiteY586" fmla="*/ 774434 h 5927527"/>
              <a:gd name="connsiteX587" fmla="*/ 8527610 w 9901550"/>
              <a:gd name="connsiteY587" fmla="*/ 771942 h 5927527"/>
              <a:gd name="connsiteX588" fmla="*/ 8527398 w 9901550"/>
              <a:gd name="connsiteY588" fmla="*/ 768879 h 5927527"/>
              <a:gd name="connsiteX589" fmla="*/ 8532866 w 9901550"/>
              <a:gd name="connsiteY589" fmla="*/ 727506 h 5927527"/>
              <a:gd name="connsiteX590" fmla="*/ 8539052 w 9901550"/>
              <a:gd name="connsiteY590" fmla="*/ 713137 h 5927527"/>
              <a:gd name="connsiteX591" fmla="*/ 8542212 w 9901550"/>
              <a:gd name="connsiteY591" fmla="*/ 696901 h 5927527"/>
              <a:gd name="connsiteX592" fmla="*/ 8553108 w 9901550"/>
              <a:gd name="connsiteY592" fmla="*/ 680492 h 5927527"/>
              <a:gd name="connsiteX593" fmla="*/ 8561314 w 9901550"/>
              <a:gd name="connsiteY593" fmla="*/ 661433 h 5927527"/>
              <a:gd name="connsiteX594" fmla="*/ 8576600 w 9901550"/>
              <a:gd name="connsiteY594" fmla="*/ 645115 h 5927527"/>
              <a:gd name="connsiteX595" fmla="*/ 8587472 w 9901550"/>
              <a:gd name="connsiteY595" fmla="*/ 628742 h 5927527"/>
              <a:gd name="connsiteX596" fmla="*/ 8606485 w 9901550"/>
              <a:gd name="connsiteY596" fmla="*/ 613212 h 5927527"/>
              <a:gd name="connsiteX597" fmla="*/ 8608773 w 9901550"/>
              <a:gd name="connsiteY597" fmla="*/ 610769 h 5927527"/>
              <a:gd name="connsiteX598" fmla="*/ 8610724 w 9901550"/>
              <a:gd name="connsiteY598" fmla="*/ 609749 h 5927527"/>
              <a:gd name="connsiteX599" fmla="*/ 8619794 w 9901550"/>
              <a:gd name="connsiteY599" fmla="*/ 602340 h 5927527"/>
              <a:gd name="connsiteX600" fmla="*/ 8655631 w 9901550"/>
              <a:gd name="connsiteY600" fmla="*/ 583481 h 5927527"/>
              <a:gd name="connsiteX601" fmla="*/ 8667964 w 9901550"/>
              <a:gd name="connsiteY601" fmla="*/ 579826 h 5927527"/>
              <a:gd name="connsiteX602" fmla="*/ 8669903 w 9901550"/>
              <a:gd name="connsiteY602" fmla="*/ 578812 h 5927527"/>
              <a:gd name="connsiteX603" fmla="*/ 8672770 w 9901550"/>
              <a:gd name="connsiteY603" fmla="*/ 578402 h 5927527"/>
              <a:gd name="connsiteX604" fmla="*/ 8693812 w 9901550"/>
              <a:gd name="connsiteY604" fmla="*/ 572166 h 5927527"/>
              <a:gd name="connsiteX605" fmla="*/ 8733165 w 9901550"/>
              <a:gd name="connsiteY605" fmla="*/ 568394 h 5927527"/>
              <a:gd name="connsiteX606" fmla="*/ 9846351 w 9901550"/>
              <a:gd name="connsiteY606" fmla="*/ 162856 h 5927527"/>
              <a:gd name="connsiteX607" fmla="*/ 9897259 w 9901550"/>
              <a:gd name="connsiteY607" fmla="*/ 196434 h 5927527"/>
              <a:gd name="connsiteX608" fmla="*/ 9901550 w 9901550"/>
              <a:gd name="connsiteY608" fmla="*/ 218047 h 5927527"/>
              <a:gd name="connsiteX609" fmla="*/ 9901550 w 9901550"/>
              <a:gd name="connsiteY609" fmla="*/ 218073 h 5927527"/>
              <a:gd name="connsiteX610" fmla="*/ 9897259 w 9901550"/>
              <a:gd name="connsiteY610" fmla="*/ 239415 h 5927527"/>
              <a:gd name="connsiteX611" fmla="*/ 9846351 w 9901550"/>
              <a:gd name="connsiteY611" fmla="*/ 273264 h 5927527"/>
              <a:gd name="connsiteX612" fmla="*/ 9842370 w 9901550"/>
              <a:gd name="connsiteY612" fmla="*/ 272457 h 5927527"/>
              <a:gd name="connsiteX613" fmla="*/ 9824999 w 9901550"/>
              <a:gd name="connsiteY613" fmla="*/ 268965 h 5927527"/>
              <a:gd name="connsiteX614" fmla="*/ 9824937 w 9901550"/>
              <a:gd name="connsiteY614" fmla="*/ 268924 h 5927527"/>
              <a:gd name="connsiteX615" fmla="*/ 9824728 w 9901550"/>
              <a:gd name="connsiteY615" fmla="*/ 268881 h 5927527"/>
              <a:gd name="connsiteX616" fmla="*/ 9814698 w 9901550"/>
              <a:gd name="connsiteY616" fmla="*/ 262071 h 5927527"/>
              <a:gd name="connsiteX617" fmla="*/ 9807437 w 9901550"/>
              <a:gd name="connsiteY617" fmla="*/ 257211 h 5927527"/>
              <a:gd name="connsiteX618" fmla="*/ 9807348 w 9901550"/>
              <a:gd name="connsiteY618" fmla="*/ 257080 h 5927527"/>
              <a:gd name="connsiteX619" fmla="*/ 9807197 w 9901550"/>
              <a:gd name="connsiteY619" fmla="*/ 256977 h 5927527"/>
              <a:gd name="connsiteX620" fmla="*/ 9801574 w 9901550"/>
              <a:gd name="connsiteY620" fmla="*/ 248576 h 5927527"/>
              <a:gd name="connsiteX621" fmla="*/ 9795533 w 9901550"/>
              <a:gd name="connsiteY621" fmla="*/ 239680 h 5927527"/>
              <a:gd name="connsiteX622" fmla="*/ 9795495 w 9901550"/>
              <a:gd name="connsiteY622" fmla="*/ 239494 h 5927527"/>
              <a:gd name="connsiteX623" fmla="*/ 9795442 w 9901550"/>
              <a:gd name="connsiteY623" fmla="*/ 239415 h 5927527"/>
              <a:gd name="connsiteX624" fmla="*/ 9791150 w 9901550"/>
              <a:gd name="connsiteY624" fmla="*/ 218063 h 5927527"/>
              <a:gd name="connsiteX625" fmla="*/ 9791151 w 9901550"/>
              <a:gd name="connsiteY625" fmla="*/ 218060 h 5927527"/>
              <a:gd name="connsiteX626" fmla="*/ 9791150 w 9901550"/>
              <a:gd name="connsiteY626" fmla="*/ 218057 h 5927527"/>
              <a:gd name="connsiteX627" fmla="*/ 9795442 w 9901550"/>
              <a:gd name="connsiteY627" fmla="*/ 196704 h 5927527"/>
              <a:gd name="connsiteX628" fmla="*/ 9795495 w 9901550"/>
              <a:gd name="connsiteY628" fmla="*/ 196626 h 5927527"/>
              <a:gd name="connsiteX629" fmla="*/ 9795533 w 9901550"/>
              <a:gd name="connsiteY629" fmla="*/ 196440 h 5927527"/>
              <a:gd name="connsiteX630" fmla="*/ 9801568 w 9901550"/>
              <a:gd name="connsiteY630" fmla="*/ 187552 h 5927527"/>
              <a:gd name="connsiteX631" fmla="*/ 9807197 w 9901550"/>
              <a:gd name="connsiteY631" fmla="*/ 179143 h 5927527"/>
              <a:gd name="connsiteX632" fmla="*/ 9807349 w 9901550"/>
              <a:gd name="connsiteY632" fmla="*/ 179040 h 5927527"/>
              <a:gd name="connsiteX633" fmla="*/ 9807437 w 9901550"/>
              <a:gd name="connsiteY633" fmla="*/ 178909 h 5927527"/>
              <a:gd name="connsiteX634" fmla="*/ 9814685 w 9901550"/>
              <a:gd name="connsiteY634" fmla="*/ 174058 h 5927527"/>
              <a:gd name="connsiteX635" fmla="*/ 9824728 w 9901550"/>
              <a:gd name="connsiteY635" fmla="*/ 167238 h 5927527"/>
              <a:gd name="connsiteX636" fmla="*/ 9824937 w 9901550"/>
              <a:gd name="connsiteY636" fmla="*/ 167196 h 5927527"/>
              <a:gd name="connsiteX637" fmla="*/ 9824999 w 9901550"/>
              <a:gd name="connsiteY637" fmla="*/ 167155 h 5927527"/>
              <a:gd name="connsiteX638" fmla="*/ 9842295 w 9901550"/>
              <a:gd name="connsiteY638" fmla="*/ 163678 h 5927527"/>
              <a:gd name="connsiteX639" fmla="*/ 9289846 w 9901550"/>
              <a:gd name="connsiteY639" fmla="*/ 94817 h 5927527"/>
              <a:gd name="connsiteX640" fmla="*/ 9413086 w 9901550"/>
              <a:gd name="connsiteY640" fmla="*/ 218057 h 5927527"/>
              <a:gd name="connsiteX641" fmla="*/ 9413085 w 9901550"/>
              <a:gd name="connsiteY641" fmla="*/ 218060 h 5927527"/>
              <a:gd name="connsiteX642" fmla="*/ 9413086 w 9901550"/>
              <a:gd name="connsiteY642" fmla="*/ 218064 h 5927527"/>
              <a:gd name="connsiteX643" fmla="*/ 9289846 w 9901550"/>
              <a:gd name="connsiteY643" fmla="*/ 341304 h 5927527"/>
              <a:gd name="connsiteX644" fmla="*/ 9166606 w 9901550"/>
              <a:gd name="connsiteY644" fmla="*/ 218064 h 5927527"/>
              <a:gd name="connsiteX645" fmla="*/ 9166607 w 9901550"/>
              <a:gd name="connsiteY645" fmla="*/ 218060 h 5927527"/>
              <a:gd name="connsiteX646" fmla="*/ 9166606 w 9901550"/>
              <a:gd name="connsiteY646" fmla="*/ 218057 h 5927527"/>
              <a:gd name="connsiteX647" fmla="*/ 9289846 w 9901550"/>
              <a:gd name="connsiteY647" fmla="*/ 94817 h 5927527"/>
              <a:gd name="connsiteX648" fmla="*/ 8726879 w 9901550"/>
              <a:gd name="connsiteY648" fmla="*/ 5061 h 5927527"/>
              <a:gd name="connsiteX649" fmla="*/ 8732902 w 9901550"/>
              <a:gd name="connsiteY649" fmla="*/ 5478 h 5927527"/>
              <a:gd name="connsiteX650" fmla="*/ 8733282 w 9901550"/>
              <a:gd name="connsiteY650" fmla="*/ 5442 h 5927527"/>
              <a:gd name="connsiteX651" fmla="*/ 8735639 w 9901550"/>
              <a:gd name="connsiteY651" fmla="*/ 5668 h 5927527"/>
              <a:gd name="connsiteX652" fmla="*/ 8768536 w 9901550"/>
              <a:gd name="connsiteY652" fmla="*/ 7945 h 5927527"/>
              <a:gd name="connsiteX653" fmla="*/ 8773514 w 9901550"/>
              <a:gd name="connsiteY653" fmla="*/ 9298 h 5927527"/>
              <a:gd name="connsiteX654" fmla="*/ 8773860 w 9901550"/>
              <a:gd name="connsiteY654" fmla="*/ 9331 h 5927527"/>
              <a:gd name="connsiteX655" fmla="*/ 8776342 w 9901550"/>
              <a:gd name="connsiteY655" fmla="*/ 10066 h 5927527"/>
              <a:gd name="connsiteX656" fmla="*/ 8808159 w 9901550"/>
              <a:gd name="connsiteY656" fmla="*/ 18715 h 5927527"/>
              <a:gd name="connsiteX657" fmla="*/ 8812132 w 9901550"/>
              <a:gd name="connsiteY657" fmla="*/ 20673 h 5927527"/>
              <a:gd name="connsiteX658" fmla="*/ 8813230 w 9901550"/>
              <a:gd name="connsiteY658" fmla="*/ 20999 h 5927527"/>
              <a:gd name="connsiteX659" fmla="*/ 8819708 w 9901550"/>
              <a:gd name="connsiteY659" fmla="*/ 24407 h 5927527"/>
              <a:gd name="connsiteX660" fmla="*/ 8844722 w 9901550"/>
              <a:gd name="connsiteY660" fmla="*/ 36737 h 5927527"/>
              <a:gd name="connsiteX661" fmla="*/ 8846819 w 9901550"/>
              <a:gd name="connsiteY661" fmla="*/ 38674 h 5927527"/>
              <a:gd name="connsiteX662" fmla="*/ 8850184 w 9901550"/>
              <a:gd name="connsiteY662" fmla="*/ 40445 h 5927527"/>
              <a:gd name="connsiteX663" fmla="*/ 8883512 w 9901550"/>
              <a:gd name="connsiteY663" fmla="*/ 67669 h 5927527"/>
              <a:gd name="connsiteX664" fmla="*/ 8891917 w 9901550"/>
              <a:gd name="connsiteY664" fmla="*/ 80327 h 5927527"/>
              <a:gd name="connsiteX665" fmla="*/ 8904553 w 9901550"/>
              <a:gd name="connsiteY665" fmla="*/ 91997 h 5927527"/>
              <a:gd name="connsiteX666" fmla="*/ 8915563 w 9901550"/>
              <a:gd name="connsiteY666" fmla="*/ 115935 h 5927527"/>
              <a:gd name="connsiteX667" fmla="*/ 8930183 w 9901550"/>
              <a:gd name="connsiteY667" fmla="*/ 137952 h 5927527"/>
              <a:gd name="connsiteX668" fmla="*/ 8933479 w 9901550"/>
              <a:gd name="connsiteY668" fmla="*/ 154886 h 5927527"/>
              <a:gd name="connsiteX669" fmla="*/ 8939806 w 9901550"/>
              <a:gd name="connsiteY669" fmla="*/ 168642 h 5927527"/>
              <a:gd name="connsiteX670" fmla="*/ 8945445 w 9901550"/>
              <a:gd name="connsiteY670" fmla="*/ 211305 h 5927527"/>
              <a:gd name="connsiteX671" fmla="*/ 8945186 w 9901550"/>
              <a:gd name="connsiteY671" fmla="*/ 215047 h 5927527"/>
              <a:gd name="connsiteX672" fmla="*/ 8945741 w 9901550"/>
              <a:gd name="connsiteY672" fmla="*/ 217900 h 5927527"/>
              <a:gd name="connsiteX673" fmla="*/ 8944573 w 9901550"/>
              <a:gd name="connsiteY673" fmla="*/ 223902 h 5927527"/>
              <a:gd name="connsiteX674" fmla="*/ 8942561 w 9901550"/>
              <a:gd name="connsiteY674" fmla="*/ 252962 h 5927527"/>
              <a:gd name="connsiteX675" fmla="*/ 8935051 w 9901550"/>
              <a:gd name="connsiteY675" fmla="*/ 272834 h 5927527"/>
              <a:gd name="connsiteX676" fmla="*/ 8930184 w 9901550"/>
              <a:gd name="connsiteY676" fmla="*/ 297848 h 5927527"/>
              <a:gd name="connsiteX677" fmla="*/ 8919541 w 9901550"/>
              <a:gd name="connsiteY677" fmla="*/ 313876 h 5927527"/>
              <a:gd name="connsiteX678" fmla="*/ 8913769 w 9901550"/>
              <a:gd name="connsiteY678" fmla="*/ 329149 h 5927527"/>
              <a:gd name="connsiteX679" fmla="*/ 8898219 w 9901550"/>
              <a:gd name="connsiteY679" fmla="*/ 345985 h 5927527"/>
              <a:gd name="connsiteX680" fmla="*/ 8883513 w 9901550"/>
              <a:gd name="connsiteY680" fmla="*/ 368131 h 5927527"/>
              <a:gd name="connsiteX681" fmla="*/ 8860106 w 9901550"/>
              <a:gd name="connsiteY681" fmla="*/ 387251 h 5927527"/>
              <a:gd name="connsiteX682" fmla="*/ 8858509 w 9901550"/>
              <a:gd name="connsiteY682" fmla="*/ 388980 h 5927527"/>
              <a:gd name="connsiteX683" fmla="*/ 8856639 w 9901550"/>
              <a:gd name="connsiteY683" fmla="*/ 390083 h 5927527"/>
              <a:gd name="connsiteX684" fmla="*/ 8850184 w 9901550"/>
              <a:gd name="connsiteY684" fmla="*/ 395355 h 5927527"/>
              <a:gd name="connsiteX685" fmla="*/ 8827118 w 9901550"/>
              <a:gd name="connsiteY685" fmla="*/ 407493 h 5927527"/>
              <a:gd name="connsiteX686" fmla="*/ 8822541 w 9901550"/>
              <a:gd name="connsiteY686" fmla="*/ 410192 h 5927527"/>
              <a:gd name="connsiteX687" fmla="*/ 8820935 w 9901550"/>
              <a:gd name="connsiteY687" fmla="*/ 410747 h 5927527"/>
              <a:gd name="connsiteX688" fmla="*/ 8813231 w 9901550"/>
              <a:gd name="connsiteY688" fmla="*/ 414801 h 5927527"/>
              <a:gd name="connsiteX689" fmla="*/ 8784638 w 9901550"/>
              <a:gd name="connsiteY689" fmla="*/ 423275 h 5927527"/>
              <a:gd name="connsiteX690" fmla="*/ 8781862 w 9901550"/>
              <a:gd name="connsiteY690" fmla="*/ 424233 h 5927527"/>
              <a:gd name="connsiteX691" fmla="*/ 8781037 w 9901550"/>
              <a:gd name="connsiteY691" fmla="*/ 424342 h 5927527"/>
              <a:gd name="connsiteX692" fmla="*/ 8773861 w 9901550"/>
              <a:gd name="connsiteY692" fmla="*/ 426469 h 5927527"/>
              <a:gd name="connsiteX693" fmla="*/ 8741428 w 9901550"/>
              <a:gd name="connsiteY693" fmla="*/ 429577 h 5927527"/>
              <a:gd name="connsiteX694" fmla="*/ 8739200 w 9901550"/>
              <a:gd name="connsiteY694" fmla="*/ 429872 h 5927527"/>
              <a:gd name="connsiteX695" fmla="*/ 8738709 w 9901550"/>
              <a:gd name="connsiteY695" fmla="*/ 429838 h 5927527"/>
              <a:gd name="connsiteX696" fmla="*/ 8733283 w 9901550"/>
              <a:gd name="connsiteY696" fmla="*/ 430358 h 5927527"/>
              <a:gd name="connsiteX697" fmla="*/ 8699647 w 9901550"/>
              <a:gd name="connsiteY697" fmla="*/ 427134 h 5927527"/>
              <a:gd name="connsiteX698" fmla="*/ 8697543 w 9901550"/>
              <a:gd name="connsiteY698" fmla="*/ 426988 h 5927527"/>
              <a:gd name="connsiteX699" fmla="*/ 8697225 w 9901550"/>
              <a:gd name="connsiteY699" fmla="*/ 426902 h 5927527"/>
              <a:gd name="connsiteX700" fmla="*/ 8692704 w 9901550"/>
              <a:gd name="connsiteY700" fmla="*/ 426469 h 5927527"/>
              <a:gd name="connsiteX701" fmla="*/ 8660296 w 9901550"/>
              <a:gd name="connsiteY701" fmla="*/ 416864 h 5927527"/>
              <a:gd name="connsiteX702" fmla="*/ 8657920 w 9901550"/>
              <a:gd name="connsiteY702" fmla="*/ 416218 h 5927527"/>
              <a:gd name="connsiteX703" fmla="*/ 8657623 w 9901550"/>
              <a:gd name="connsiteY703" fmla="*/ 416072 h 5927527"/>
              <a:gd name="connsiteX704" fmla="*/ 8653334 w 9901550"/>
              <a:gd name="connsiteY704" fmla="*/ 414801 h 5927527"/>
              <a:gd name="connsiteX705" fmla="*/ 8628036 w 9901550"/>
              <a:gd name="connsiteY705" fmla="*/ 401488 h 5927527"/>
              <a:gd name="connsiteX706" fmla="*/ 8621357 w 9901550"/>
              <a:gd name="connsiteY706" fmla="*/ 398196 h 5927527"/>
              <a:gd name="connsiteX707" fmla="*/ 8620797 w 9901550"/>
              <a:gd name="connsiteY707" fmla="*/ 397678 h 5927527"/>
              <a:gd name="connsiteX708" fmla="*/ 8616381 w 9901550"/>
              <a:gd name="connsiteY708" fmla="*/ 395354 h 5927527"/>
              <a:gd name="connsiteX709" fmla="*/ 8583052 w 9901550"/>
              <a:gd name="connsiteY709" fmla="*/ 368130 h 5927527"/>
              <a:gd name="connsiteX710" fmla="*/ 8573928 w 9901550"/>
              <a:gd name="connsiteY710" fmla="*/ 354390 h 5927527"/>
              <a:gd name="connsiteX711" fmla="*/ 8561526 w 9901550"/>
              <a:gd name="connsiteY711" fmla="*/ 342936 h 5927527"/>
              <a:gd name="connsiteX712" fmla="*/ 8550719 w 9901550"/>
              <a:gd name="connsiteY712" fmla="*/ 319439 h 5927527"/>
              <a:gd name="connsiteX713" fmla="*/ 8536381 w 9901550"/>
              <a:gd name="connsiteY713" fmla="*/ 297848 h 5927527"/>
              <a:gd name="connsiteX714" fmla="*/ 8533150 w 9901550"/>
              <a:gd name="connsiteY714" fmla="*/ 281241 h 5927527"/>
              <a:gd name="connsiteX715" fmla="*/ 8526273 w 9901550"/>
              <a:gd name="connsiteY715" fmla="*/ 266289 h 5927527"/>
              <a:gd name="connsiteX716" fmla="*/ 8520634 w 9901550"/>
              <a:gd name="connsiteY716" fmla="*/ 223627 h 5927527"/>
              <a:gd name="connsiteX717" fmla="*/ 8520977 w 9901550"/>
              <a:gd name="connsiteY717" fmla="*/ 218681 h 5927527"/>
              <a:gd name="connsiteX718" fmla="*/ 8520825 w 9901550"/>
              <a:gd name="connsiteY718" fmla="*/ 217900 h 5927527"/>
              <a:gd name="connsiteX719" fmla="*/ 8521144 w 9901550"/>
              <a:gd name="connsiteY719" fmla="*/ 216256 h 5927527"/>
              <a:gd name="connsiteX720" fmla="*/ 8523518 w 9901550"/>
              <a:gd name="connsiteY720" fmla="*/ 181970 h 5927527"/>
              <a:gd name="connsiteX721" fmla="*/ 8532378 w 9901550"/>
              <a:gd name="connsiteY721" fmla="*/ 158525 h 5927527"/>
              <a:gd name="connsiteX722" fmla="*/ 8536381 w 9901550"/>
              <a:gd name="connsiteY722" fmla="*/ 137951 h 5927527"/>
              <a:gd name="connsiteX723" fmla="*/ 8545135 w 9901550"/>
              <a:gd name="connsiteY723" fmla="*/ 124769 h 5927527"/>
              <a:gd name="connsiteX724" fmla="*/ 8552310 w 9901550"/>
              <a:gd name="connsiteY724" fmla="*/ 105784 h 5927527"/>
              <a:gd name="connsiteX725" fmla="*/ 8571639 w 9901550"/>
              <a:gd name="connsiteY725" fmla="*/ 84856 h 5927527"/>
              <a:gd name="connsiteX726" fmla="*/ 8583052 w 9901550"/>
              <a:gd name="connsiteY726" fmla="*/ 67669 h 5927527"/>
              <a:gd name="connsiteX727" fmla="*/ 8601218 w 9901550"/>
              <a:gd name="connsiteY727" fmla="*/ 52830 h 5927527"/>
              <a:gd name="connsiteX728" fmla="*/ 8607570 w 9901550"/>
              <a:gd name="connsiteY728" fmla="*/ 45953 h 5927527"/>
              <a:gd name="connsiteX729" fmla="*/ 8615007 w 9901550"/>
              <a:gd name="connsiteY729" fmla="*/ 41567 h 5927527"/>
              <a:gd name="connsiteX730" fmla="*/ 8616381 w 9901550"/>
              <a:gd name="connsiteY730" fmla="*/ 40445 h 5927527"/>
              <a:gd name="connsiteX731" fmla="*/ 8621291 w 9901550"/>
              <a:gd name="connsiteY731" fmla="*/ 37861 h 5927527"/>
              <a:gd name="connsiteX732" fmla="*/ 8643537 w 9901550"/>
              <a:gd name="connsiteY732" fmla="*/ 24741 h 5927527"/>
              <a:gd name="connsiteX733" fmla="*/ 8651343 w 9901550"/>
              <a:gd name="connsiteY733" fmla="*/ 22046 h 5927527"/>
              <a:gd name="connsiteX734" fmla="*/ 8653334 w 9901550"/>
              <a:gd name="connsiteY734" fmla="*/ 20998 h 5927527"/>
              <a:gd name="connsiteX735" fmla="*/ 8660724 w 9901550"/>
              <a:gd name="connsiteY735" fmla="*/ 18809 h 5927527"/>
              <a:gd name="connsiteX736" fmla="*/ 8684216 w 9901550"/>
              <a:gd name="connsiteY736" fmla="*/ 10700 h 5927527"/>
              <a:gd name="connsiteX737" fmla="*/ 8691197 w 9901550"/>
              <a:gd name="connsiteY737" fmla="*/ 9777 h 5927527"/>
              <a:gd name="connsiteX738" fmla="*/ 8692704 w 9901550"/>
              <a:gd name="connsiteY738" fmla="*/ 9331 h 5927527"/>
              <a:gd name="connsiteX739" fmla="*/ 8699514 w 9901550"/>
              <a:gd name="connsiteY739" fmla="*/ 8678 h 5927527"/>
              <a:gd name="connsiteX740" fmla="*/ 0 w 9901550"/>
              <a:gd name="connsiteY740" fmla="*/ 0 h 5927527"/>
              <a:gd name="connsiteX741" fmla="*/ 8399148 w 9901550"/>
              <a:gd name="connsiteY741" fmla="*/ 0 h 5927527"/>
              <a:gd name="connsiteX742" fmla="*/ 8442653 w 9901550"/>
              <a:gd name="connsiteY742" fmla="*/ 52212 h 5927527"/>
              <a:gd name="connsiteX743" fmla="*/ 8490071 w 9901550"/>
              <a:gd name="connsiteY743" fmla="*/ 218056 h 5927527"/>
              <a:gd name="connsiteX744" fmla="*/ 8315481 w 9901550"/>
              <a:gd name="connsiteY744" fmla="*/ 496629 h 5927527"/>
              <a:gd name="connsiteX745" fmla="*/ 8484936 w 9901550"/>
              <a:gd name="connsiteY745" fmla="*/ 771993 h 5927527"/>
              <a:gd name="connsiteX746" fmla="*/ 8280820 w 9901550"/>
              <a:gd name="connsiteY746" fmla="*/ 1062120 h 5927527"/>
              <a:gd name="connsiteX747" fmla="*/ 8463112 w 9901550"/>
              <a:gd name="connsiteY747" fmla="*/ 1328498 h 5927527"/>
              <a:gd name="connsiteX748" fmla="*/ 8176837 w 9901550"/>
              <a:gd name="connsiteY748" fmla="*/ 1614774 h 5927527"/>
              <a:gd name="connsiteX749" fmla="*/ 7950897 w 9901550"/>
              <a:gd name="connsiteY749" fmla="*/ 1503730 h 5927527"/>
              <a:gd name="connsiteX750" fmla="*/ 7846913 w 9901550"/>
              <a:gd name="connsiteY750" fmla="*/ 1626328 h 5927527"/>
              <a:gd name="connsiteX751" fmla="*/ 7946404 w 9901550"/>
              <a:gd name="connsiteY751" fmla="*/ 1775243 h 5927527"/>
              <a:gd name="connsiteX752" fmla="*/ 8176837 w 9901550"/>
              <a:gd name="connsiteY752" fmla="*/ 1629537 h 5927527"/>
              <a:gd name="connsiteX753" fmla="*/ 8432302 w 9901550"/>
              <a:gd name="connsiteY753" fmla="*/ 1885003 h 5927527"/>
              <a:gd name="connsiteX754" fmla="*/ 8176837 w 9901550"/>
              <a:gd name="connsiteY754" fmla="*/ 2140469 h 5927527"/>
              <a:gd name="connsiteX755" fmla="*/ 7946404 w 9901550"/>
              <a:gd name="connsiteY755" fmla="*/ 1994764 h 5927527"/>
              <a:gd name="connsiteX756" fmla="*/ 7786577 w 9901550"/>
              <a:gd name="connsiteY756" fmla="*/ 2186684 h 5927527"/>
              <a:gd name="connsiteX757" fmla="*/ 7925222 w 9901550"/>
              <a:gd name="connsiteY757" fmla="*/ 2442150 h 5927527"/>
              <a:gd name="connsiteX758" fmla="*/ 7620331 w 9901550"/>
              <a:gd name="connsiteY758" fmla="*/ 2747041 h 5927527"/>
              <a:gd name="connsiteX759" fmla="*/ 7387331 w 9901550"/>
              <a:gd name="connsiteY759" fmla="*/ 2638564 h 5927527"/>
              <a:gd name="connsiteX760" fmla="*/ 7280780 w 9901550"/>
              <a:gd name="connsiteY760" fmla="*/ 2752175 h 5927527"/>
              <a:gd name="connsiteX761" fmla="*/ 7382838 w 9901550"/>
              <a:gd name="connsiteY761" fmla="*/ 2920347 h 5927527"/>
              <a:gd name="connsiteX762" fmla="*/ 7619690 w 9901550"/>
              <a:gd name="connsiteY762" fmla="*/ 2749608 h 5927527"/>
              <a:gd name="connsiteX763" fmla="*/ 7870021 w 9901550"/>
              <a:gd name="connsiteY763" fmla="*/ 2999939 h 5927527"/>
              <a:gd name="connsiteX764" fmla="*/ 7619690 w 9901550"/>
              <a:gd name="connsiteY764" fmla="*/ 3250270 h 5927527"/>
              <a:gd name="connsiteX765" fmla="*/ 7382838 w 9901550"/>
              <a:gd name="connsiteY765" fmla="*/ 3079531 h 5927527"/>
              <a:gd name="connsiteX766" fmla="*/ 7171019 w 9901550"/>
              <a:gd name="connsiteY766" fmla="*/ 3311890 h 5927527"/>
              <a:gd name="connsiteX767" fmla="*/ 7331488 w 9901550"/>
              <a:gd name="connsiteY767" fmla="*/ 3557728 h 5927527"/>
              <a:gd name="connsiteX768" fmla="*/ 7063185 w 9901550"/>
              <a:gd name="connsiteY768" fmla="*/ 3826031 h 5927527"/>
              <a:gd name="connsiteX769" fmla="*/ 6818631 w 9901550"/>
              <a:gd name="connsiteY769" fmla="*/ 3668130 h 5927527"/>
              <a:gd name="connsiteX770" fmla="*/ 6599751 w 9901550"/>
              <a:gd name="connsiteY770" fmla="*/ 3875455 h 5927527"/>
              <a:gd name="connsiteX771" fmla="*/ 6763429 w 9901550"/>
              <a:gd name="connsiteY771" fmla="*/ 4114233 h 5927527"/>
              <a:gd name="connsiteX772" fmla="*/ 6506680 w 9901550"/>
              <a:gd name="connsiteY772" fmla="*/ 4370982 h 5927527"/>
              <a:gd name="connsiteX773" fmla="*/ 6257633 w 9901550"/>
              <a:gd name="connsiteY773" fmla="*/ 4174569 h 5927527"/>
              <a:gd name="connsiteX774" fmla="*/ 5950176 w 9901550"/>
              <a:gd name="connsiteY774" fmla="*/ 4427467 h 5927527"/>
              <a:gd name="connsiteX775" fmla="*/ 5697918 w 9901550"/>
              <a:gd name="connsiteY775" fmla="*/ 4300376 h 5927527"/>
              <a:gd name="connsiteX776" fmla="*/ 5536166 w 9901550"/>
              <a:gd name="connsiteY776" fmla="*/ 4441589 h 5927527"/>
              <a:gd name="connsiteX777" fmla="*/ 5663899 w 9901550"/>
              <a:gd name="connsiteY777" fmla="*/ 4671380 h 5927527"/>
              <a:gd name="connsiteX778" fmla="*/ 5393671 w 9901550"/>
              <a:gd name="connsiteY778" fmla="*/ 4941609 h 5927527"/>
              <a:gd name="connsiteX779" fmla="*/ 5133711 w 9901550"/>
              <a:gd name="connsiteY779" fmla="*/ 4743911 h 5927527"/>
              <a:gd name="connsiteX780" fmla="*/ 4837165 w 9901550"/>
              <a:gd name="connsiteY780" fmla="*/ 4976270 h 5927527"/>
              <a:gd name="connsiteX781" fmla="*/ 4571430 w 9901550"/>
              <a:gd name="connsiteY781" fmla="*/ 4820936 h 5927527"/>
              <a:gd name="connsiteX782" fmla="*/ 4280660 w 9901550"/>
              <a:gd name="connsiteY782" fmla="*/ 4998093 h 5927527"/>
              <a:gd name="connsiteX783" fmla="*/ 4007863 w 9901550"/>
              <a:gd name="connsiteY783" fmla="*/ 4851105 h 5927527"/>
              <a:gd name="connsiteX784" fmla="*/ 3796045 w 9901550"/>
              <a:gd name="connsiteY784" fmla="*/ 4999377 h 5927527"/>
              <a:gd name="connsiteX785" fmla="*/ 3962932 w 9901550"/>
              <a:gd name="connsiteY785" fmla="*/ 5227885 h 5927527"/>
              <a:gd name="connsiteX786" fmla="*/ 3723513 w 9901550"/>
              <a:gd name="connsiteY786" fmla="*/ 5467304 h 5927527"/>
              <a:gd name="connsiteX787" fmla="*/ 3484094 w 9901550"/>
              <a:gd name="connsiteY787" fmla="*/ 5227885 h 5927527"/>
              <a:gd name="connsiteX788" fmla="*/ 3650981 w 9901550"/>
              <a:gd name="connsiteY788" fmla="*/ 4999377 h 5927527"/>
              <a:gd name="connsiteX789" fmla="*/ 3444939 w 9901550"/>
              <a:gd name="connsiteY789" fmla="*/ 4859449 h 5927527"/>
              <a:gd name="connsiteX790" fmla="*/ 3238898 w 9901550"/>
              <a:gd name="connsiteY790" fmla="*/ 4999377 h 5927527"/>
              <a:gd name="connsiteX791" fmla="*/ 3405785 w 9901550"/>
              <a:gd name="connsiteY791" fmla="*/ 5227885 h 5927527"/>
              <a:gd name="connsiteX792" fmla="*/ 3166366 w 9901550"/>
              <a:gd name="connsiteY792" fmla="*/ 5467304 h 5927527"/>
              <a:gd name="connsiteX793" fmla="*/ 2926947 w 9901550"/>
              <a:gd name="connsiteY793" fmla="*/ 5227885 h 5927527"/>
              <a:gd name="connsiteX794" fmla="*/ 3093834 w 9901550"/>
              <a:gd name="connsiteY794" fmla="*/ 4999377 h 5927527"/>
              <a:gd name="connsiteX795" fmla="*/ 2882016 w 9901550"/>
              <a:gd name="connsiteY795" fmla="*/ 4851105 h 5927527"/>
              <a:gd name="connsiteX796" fmla="*/ 2609219 w 9901550"/>
              <a:gd name="connsiteY796" fmla="*/ 4998093 h 5927527"/>
              <a:gd name="connsiteX797" fmla="*/ 2318450 w 9901550"/>
              <a:gd name="connsiteY797" fmla="*/ 4820936 h 5927527"/>
              <a:gd name="connsiteX798" fmla="*/ 2052714 w 9901550"/>
              <a:gd name="connsiteY798" fmla="*/ 4976270 h 5927527"/>
              <a:gd name="connsiteX799" fmla="*/ 1756168 w 9901550"/>
              <a:gd name="connsiteY799" fmla="*/ 4743911 h 5927527"/>
              <a:gd name="connsiteX800" fmla="*/ 1496209 w 9901550"/>
              <a:gd name="connsiteY800" fmla="*/ 4941609 h 5927527"/>
              <a:gd name="connsiteX801" fmla="*/ 1225980 w 9901550"/>
              <a:gd name="connsiteY801" fmla="*/ 4671380 h 5927527"/>
              <a:gd name="connsiteX802" fmla="*/ 1353713 w 9901550"/>
              <a:gd name="connsiteY802" fmla="*/ 4441589 h 5927527"/>
              <a:gd name="connsiteX803" fmla="*/ 1191961 w 9901550"/>
              <a:gd name="connsiteY803" fmla="*/ 4300376 h 5927527"/>
              <a:gd name="connsiteX804" fmla="*/ 939704 w 9901550"/>
              <a:gd name="connsiteY804" fmla="*/ 4427467 h 5927527"/>
              <a:gd name="connsiteX805" fmla="*/ 632246 w 9901550"/>
              <a:gd name="connsiteY805" fmla="*/ 4174569 h 5927527"/>
              <a:gd name="connsiteX806" fmla="*/ 383199 w 9901550"/>
              <a:gd name="connsiteY806" fmla="*/ 4370982 h 5927527"/>
              <a:gd name="connsiteX807" fmla="*/ 126449 w 9901550"/>
              <a:gd name="connsiteY807" fmla="*/ 4114233 h 5927527"/>
              <a:gd name="connsiteX808" fmla="*/ 290127 w 9901550"/>
              <a:gd name="connsiteY808" fmla="*/ 3875455 h 5927527"/>
              <a:gd name="connsiteX809" fmla="*/ 71890 w 9901550"/>
              <a:gd name="connsiteY809" fmla="*/ 3670698 h 5927527"/>
              <a:gd name="connsiteX810" fmla="*/ 0 w 9901550"/>
              <a:gd name="connsiteY810" fmla="*/ 3764411 h 5927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</a:cxnLst>
            <a:rect l="l" t="t" r="r" b="b"/>
            <a:pathLst>
              <a:path w="9901550" h="5927527">
                <a:moveTo>
                  <a:pt x="7063184" y="5754862"/>
                </a:moveTo>
                <a:cubicBezTo>
                  <a:pt x="7079231" y="5754862"/>
                  <a:pt x="7092710" y="5768341"/>
                  <a:pt x="7092710" y="5784388"/>
                </a:cubicBezTo>
                <a:lnTo>
                  <a:pt x="7092578" y="5784710"/>
                </a:lnTo>
                <a:lnTo>
                  <a:pt x="7092710" y="5785031"/>
                </a:lnTo>
                <a:cubicBezTo>
                  <a:pt x="7092710" y="5801078"/>
                  <a:pt x="7079231" y="5814557"/>
                  <a:pt x="7063184" y="5814557"/>
                </a:cubicBezTo>
                <a:cubicBezTo>
                  <a:pt x="7046495" y="5814557"/>
                  <a:pt x="7033658" y="5801078"/>
                  <a:pt x="7033658" y="5785031"/>
                </a:cubicBezTo>
                <a:lnTo>
                  <a:pt x="7033792" y="5784710"/>
                </a:lnTo>
                <a:lnTo>
                  <a:pt x="7033658" y="5784388"/>
                </a:lnTo>
                <a:cubicBezTo>
                  <a:pt x="7033658" y="5768341"/>
                  <a:pt x="7046495" y="5754862"/>
                  <a:pt x="7063184" y="5754862"/>
                </a:cubicBezTo>
                <a:close/>
                <a:moveTo>
                  <a:pt x="6506679" y="5734964"/>
                </a:moveTo>
                <a:cubicBezTo>
                  <a:pt x="6534280" y="5734964"/>
                  <a:pt x="6556104" y="5757430"/>
                  <a:pt x="6556104" y="5784388"/>
                </a:cubicBezTo>
                <a:cubicBezTo>
                  <a:pt x="6556104" y="5797868"/>
                  <a:pt x="6550648" y="5810224"/>
                  <a:pt x="6541742" y="5819210"/>
                </a:cubicBezTo>
                <a:lnTo>
                  <a:pt x="6541546" y="5819344"/>
                </a:lnTo>
                <a:lnTo>
                  <a:pt x="6541501" y="5819451"/>
                </a:lnTo>
                <a:lnTo>
                  <a:pt x="6534410" y="5824195"/>
                </a:lnTo>
                <a:lnTo>
                  <a:pt x="6526046" y="5829882"/>
                </a:lnTo>
                <a:lnTo>
                  <a:pt x="6525851" y="5829921"/>
                </a:lnTo>
                <a:lnTo>
                  <a:pt x="6525775" y="5829972"/>
                </a:lnTo>
                <a:cubicBezTo>
                  <a:pt x="6519877" y="5832449"/>
                  <a:pt x="6513418" y="5833813"/>
                  <a:pt x="6506679" y="5833813"/>
                </a:cubicBezTo>
                <a:cubicBezTo>
                  <a:pt x="6499939" y="5833813"/>
                  <a:pt x="6493481" y="5832449"/>
                  <a:pt x="6487583" y="5829972"/>
                </a:cubicBezTo>
                <a:lnTo>
                  <a:pt x="6487508" y="5829921"/>
                </a:lnTo>
                <a:lnTo>
                  <a:pt x="6487312" y="5829882"/>
                </a:lnTo>
                <a:lnTo>
                  <a:pt x="6478943" y="5824192"/>
                </a:lnTo>
                <a:lnTo>
                  <a:pt x="6471858" y="5819451"/>
                </a:lnTo>
                <a:lnTo>
                  <a:pt x="6471813" y="5819344"/>
                </a:lnTo>
                <a:lnTo>
                  <a:pt x="6471617" y="5819210"/>
                </a:lnTo>
                <a:cubicBezTo>
                  <a:pt x="6462711" y="5810224"/>
                  <a:pt x="6457255" y="5797868"/>
                  <a:pt x="6457255" y="5784388"/>
                </a:cubicBezTo>
                <a:cubicBezTo>
                  <a:pt x="6457255" y="5770909"/>
                  <a:pt x="6462711" y="5758553"/>
                  <a:pt x="6471617" y="5749567"/>
                </a:cubicBezTo>
                <a:lnTo>
                  <a:pt x="6471813" y="5749434"/>
                </a:lnTo>
                <a:lnTo>
                  <a:pt x="6471858" y="5749326"/>
                </a:lnTo>
                <a:lnTo>
                  <a:pt x="6478944" y="5744586"/>
                </a:lnTo>
                <a:lnTo>
                  <a:pt x="6487312" y="5738896"/>
                </a:lnTo>
                <a:lnTo>
                  <a:pt x="6487508" y="5738856"/>
                </a:lnTo>
                <a:lnTo>
                  <a:pt x="6487583" y="5738806"/>
                </a:lnTo>
                <a:cubicBezTo>
                  <a:pt x="6493481" y="5736328"/>
                  <a:pt x="6499939" y="5734964"/>
                  <a:pt x="6506679" y="5734964"/>
                </a:cubicBezTo>
                <a:close/>
                <a:moveTo>
                  <a:pt x="5949532" y="5712499"/>
                </a:moveTo>
                <a:cubicBezTo>
                  <a:pt x="5989328" y="5712499"/>
                  <a:pt x="6022064" y="5744593"/>
                  <a:pt x="6021422" y="5784389"/>
                </a:cubicBezTo>
                <a:lnTo>
                  <a:pt x="6021357" y="5784710"/>
                </a:lnTo>
                <a:lnTo>
                  <a:pt x="6021422" y="5785031"/>
                </a:lnTo>
                <a:cubicBezTo>
                  <a:pt x="6022064" y="5824186"/>
                  <a:pt x="5989328" y="5856921"/>
                  <a:pt x="5949532" y="5856921"/>
                </a:cubicBezTo>
                <a:cubicBezTo>
                  <a:pt x="5909736" y="5856921"/>
                  <a:pt x="5877643" y="5824827"/>
                  <a:pt x="5877643" y="5785031"/>
                </a:cubicBezTo>
                <a:lnTo>
                  <a:pt x="5877706" y="5784710"/>
                </a:lnTo>
                <a:lnTo>
                  <a:pt x="5877643" y="5784389"/>
                </a:lnTo>
                <a:cubicBezTo>
                  <a:pt x="5877643" y="5744593"/>
                  <a:pt x="5909736" y="5712499"/>
                  <a:pt x="5949532" y="5712499"/>
                </a:cubicBezTo>
                <a:close/>
                <a:moveTo>
                  <a:pt x="5393027" y="5688107"/>
                </a:moveTo>
                <a:cubicBezTo>
                  <a:pt x="5446303" y="5688107"/>
                  <a:pt x="5489308" y="5731113"/>
                  <a:pt x="5489308" y="5784388"/>
                </a:cubicBezTo>
                <a:cubicBezTo>
                  <a:pt x="5489308" y="5837664"/>
                  <a:pt x="5446303" y="5880669"/>
                  <a:pt x="5393027" y="5880669"/>
                </a:cubicBezTo>
                <a:cubicBezTo>
                  <a:pt x="5339752" y="5880669"/>
                  <a:pt x="5296746" y="5837664"/>
                  <a:pt x="5296746" y="5784388"/>
                </a:cubicBezTo>
                <a:cubicBezTo>
                  <a:pt x="5296746" y="5731113"/>
                  <a:pt x="5339752" y="5688107"/>
                  <a:pt x="5393027" y="5688107"/>
                </a:cubicBezTo>
                <a:close/>
                <a:moveTo>
                  <a:pt x="4836522" y="5666926"/>
                </a:moveTo>
                <a:cubicBezTo>
                  <a:pt x="4901351" y="5666926"/>
                  <a:pt x="4953985" y="5719559"/>
                  <a:pt x="4953985" y="5784389"/>
                </a:cubicBezTo>
                <a:cubicBezTo>
                  <a:pt x="4953985" y="5849218"/>
                  <a:pt x="4901351" y="5901852"/>
                  <a:pt x="4836522" y="5901852"/>
                </a:cubicBezTo>
                <a:cubicBezTo>
                  <a:pt x="4771693" y="5901852"/>
                  <a:pt x="4719059" y="5849218"/>
                  <a:pt x="4719059" y="5784389"/>
                </a:cubicBezTo>
                <a:cubicBezTo>
                  <a:pt x="4719059" y="5719559"/>
                  <a:pt x="4771693" y="5666926"/>
                  <a:pt x="4836522" y="5666926"/>
                </a:cubicBezTo>
                <a:close/>
                <a:moveTo>
                  <a:pt x="4280017" y="5651521"/>
                </a:moveTo>
                <a:cubicBezTo>
                  <a:pt x="4353191" y="5651521"/>
                  <a:pt x="4412885" y="5711216"/>
                  <a:pt x="4412885" y="5784389"/>
                </a:cubicBezTo>
                <a:lnTo>
                  <a:pt x="4412821" y="5784710"/>
                </a:lnTo>
                <a:lnTo>
                  <a:pt x="4412885" y="5785031"/>
                </a:lnTo>
                <a:cubicBezTo>
                  <a:pt x="4412885" y="5858204"/>
                  <a:pt x="4353191" y="5917899"/>
                  <a:pt x="4280017" y="5917899"/>
                </a:cubicBezTo>
                <a:cubicBezTo>
                  <a:pt x="4206202" y="5917899"/>
                  <a:pt x="4147172" y="5858204"/>
                  <a:pt x="4147172" y="5785031"/>
                </a:cubicBezTo>
                <a:lnTo>
                  <a:pt x="4147232" y="5784737"/>
                </a:lnTo>
                <a:lnTo>
                  <a:pt x="4147162" y="5784389"/>
                </a:lnTo>
                <a:cubicBezTo>
                  <a:pt x="4147162" y="5711216"/>
                  <a:pt x="4206202" y="5651521"/>
                  <a:pt x="4280017" y="5651521"/>
                </a:cubicBezTo>
                <a:close/>
                <a:moveTo>
                  <a:pt x="2609875" y="5651521"/>
                </a:moveTo>
                <a:cubicBezTo>
                  <a:pt x="2683050" y="5651521"/>
                  <a:pt x="2742743" y="5711216"/>
                  <a:pt x="2742743" y="5784389"/>
                </a:cubicBezTo>
                <a:lnTo>
                  <a:pt x="2742685" y="5784681"/>
                </a:lnTo>
                <a:lnTo>
                  <a:pt x="2742755" y="5785031"/>
                </a:lnTo>
                <a:cubicBezTo>
                  <a:pt x="2742755" y="5858204"/>
                  <a:pt x="2683062" y="5917899"/>
                  <a:pt x="2609887" y="5917899"/>
                </a:cubicBezTo>
                <a:cubicBezTo>
                  <a:pt x="2536713" y="5917899"/>
                  <a:pt x="2477018" y="5858204"/>
                  <a:pt x="2477018" y="5785031"/>
                </a:cubicBezTo>
                <a:lnTo>
                  <a:pt x="2477077" y="5784741"/>
                </a:lnTo>
                <a:lnTo>
                  <a:pt x="2477007" y="5784389"/>
                </a:lnTo>
                <a:cubicBezTo>
                  <a:pt x="2477007" y="5711216"/>
                  <a:pt x="2536701" y="5651521"/>
                  <a:pt x="2609875" y="5651521"/>
                </a:cubicBezTo>
                <a:close/>
                <a:moveTo>
                  <a:pt x="3722884" y="5641251"/>
                </a:moveTo>
                <a:lnTo>
                  <a:pt x="3722889" y="5641252"/>
                </a:lnTo>
                <a:lnTo>
                  <a:pt x="3722894" y="5641251"/>
                </a:lnTo>
                <a:cubicBezTo>
                  <a:pt x="3801844" y="5641251"/>
                  <a:pt x="3866031" y="5705438"/>
                  <a:pt x="3866031" y="5784388"/>
                </a:cubicBezTo>
                <a:cubicBezTo>
                  <a:pt x="3866031" y="5863339"/>
                  <a:pt x="3801844" y="5927527"/>
                  <a:pt x="3722894" y="5927527"/>
                </a:cubicBezTo>
                <a:lnTo>
                  <a:pt x="3722889" y="5927526"/>
                </a:lnTo>
                <a:lnTo>
                  <a:pt x="3722884" y="5927527"/>
                </a:lnTo>
                <a:cubicBezTo>
                  <a:pt x="3643933" y="5927527"/>
                  <a:pt x="3579747" y="5863339"/>
                  <a:pt x="3579747" y="5784388"/>
                </a:cubicBezTo>
                <a:cubicBezTo>
                  <a:pt x="3579747" y="5705438"/>
                  <a:pt x="3643933" y="5641251"/>
                  <a:pt x="3722884" y="5641251"/>
                </a:cubicBezTo>
                <a:close/>
                <a:moveTo>
                  <a:pt x="3166378" y="5641251"/>
                </a:moveTo>
                <a:lnTo>
                  <a:pt x="3166384" y="5641252"/>
                </a:lnTo>
                <a:lnTo>
                  <a:pt x="3166390" y="5641251"/>
                </a:lnTo>
                <a:cubicBezTo>
                  <a:pt x="3245339" y="5641251"/>
                  <a:pt x="3309527" y="5705438"/>
                  <a:pt x="3309527" y="5784388"/>
                </a:cubicBezTo>
                <a:cubicBezTo>
                  <a:pt x="3309527" y="5863339"/>
                  <a:pt x="3245339" y="5927527"/>
                  <a:pt x="3166390" y="5927527"/>
                </a:cubicBezTo>
                <a:lnTo>
                  <a:pt x="3166384" y="5927526"/>
                </a:lnTo>
                <a:lnTo>
                  <a:pt x="3166378" y="5927527"/>
                </a:lnTo>
                <a:cubicBezTo>
                  <a:pt x="3087428" y="5927527"/>
                  <a:pt x="3023241" y="5863339"/>
                  <a:pt x="3023241" y="5784388"/>
                </a:cubicBezTo>
                <a:cubicBezTo>
                  <a:pt x="3023241" y="5705438"/>
                  <a:pt x="3087428" y="5641251"/>
                  <a:pt x="3166378" y="5641251"/>
                </a:cubicBezTo>
                <a:close/>
                <a:moveTo>
                  <a:pt x="7619689" y="5190013"/>
                </a:moveTo>
                <a:cubicBezTo>
                  <a:pt x="7640871" y="5190013"/>
                  <a:pt x="7657559" y="5206702"/>
                  <a:pt x="7657559" y="5227884"/>
                </a:cubicBezTo>
                <a:cubicBezTo>
                  <a:pt x="7657559" y="5249066"/>
                  <a:pt x="7640871" y="5265754"/>
                  <a:pt x="7619689" y="5265754"/>
                </a:cubicBezTo>
                <a:cubicBezTo>
                  <a:pt x="7609419" y="5265754"/>
                  <a:pt x="7599951" y="5261582"/>
                  <a:pt x="7593051" y="5254763"/>
                </a:cubicBezTo>
                <a:lnTo>
                  <a:pt x="7592980" y="5254592"/>
                </a:lnTo>
                <a:lnTo>
                  <a:pt x="7592810" y="5254521"/>
                </a:lnTo>
                <a:cubicBezTo>
                  <a:pt x="7585990" y="5247621"/>
                  <a:pt x="7581818" y="5238154"/>
                  <a:pt x="7581818" y="5227884"/>
                </a:cubicBezTo>
                <a:cubicBezTo>
                  <a:pt x="7581818" y="5217614"/>
                  <a:pt x="7585990" y="5208147"/>
                  <a:pt x="7592810" y="5201246"/>
                </a:cubicBezTo>
                <a:lnTo>
                  <a:pt x="7592980" y="5201175"/>
                </a:lnTo>
                <a:lnTo>
                  <a:pt x="7593051" y="5201005"/>
                </a:lnTo>
                <a:cubicBezTo>
                  <a:pt x="7599951" y="5194186"/>
                  <a:pt x="7609419" y="5190013"/>
                  <a:pt x="7619689" y="5190013"/>
                </a:cubicBezTo>
                <a:close/>
                <a:moveTo>
                  <a:pt x="7063184" y="5162413"/>
                </a:moveTo>
                <a:cubicBezTo>
                  <a:pt x="7099128" y="5162413"/>
                  <a:pt x="7128655" y="5191939"/>
                  <a:pt x="7128655" y="5227884"/>
                </a:cubicBezTo>
                <a:cubicBezTo>
                  <a:pt x="7128655" y="5263829"/>
                  <a:pt x="7099128" y="5293355"/>
                  <a:pt x="7063184" y="5293355"/>
                </a:cubicBezTo>
                <a:cubicBezTo>
                  <a:pt x="7027239" y="5293355"/>
                  <a:pt x="6997712" y="5263829"/>
                  <a:pt x="6997712" y="5227884"/>
                </a:cubicBezTo>
                <a:cubicBezTo>
                  <a:pt x="6997712" y="5191939"/>
                  <a:pt x="7027239" y="5162413"/>
                  <a:pt x="7063184" y="5162413"/>
                </a:cubicBezTo>
                <a:close/>
                <a:moveTo>
                  <a:pt x="6506679" y="5129035"/>
                </a:moveTo>
                <a:cubicBezTo>
                  <a:pt x="6561238" y="5129035"/>
                  <a:pt x="6605527" y="5173324"/>
                  <a:pt x="6605527" y="5227884"/>
                </a:cubicBezTo>
                <a:cubicBezTo>
                  <a:pt x="6605527" y="5282443"/>
                  <a:pt x="6561238" y="5326733"/>
                  <a:pt x="6506679" y="5326733"/>
                </a:cubicBezTo>
                <a:cubicBezTo>
                  <a:pt x="6452119" y="5326733"/>
                  <a:pt x="6407830" y="5282443"/>
                  <a:pt x="6407830" y="5227884"/>
                </a:cubicBezTo>
                <a:cubicBezTo>
                  <a:pt x="6407830" y="5173324"/>
                  <a:pt x="6452119" y="5129035"/>
                  <a:pt x="6506679" y="5129035"/>
                </a:cubicBezTo>
                <a:close/>
                <a:moveTo>
                  <a:pt x="383206" y="5129035"/>
                </a:moveTo>
                <a:lnTo>
                  <a:pt x="383212" y="5129036"/>
                </a:lnTo>
                <a:lnTo>
                  <a:pt x="383217" y="5129035"/>
                </a:lnTo>
                <a:cubicBezTo>
                  <a:pt x="437809" y="5129035"/>
                  <a:pt x="482065" y="5173291"/>
                  <a:pt x="482065" y="5227884"/>
                </a:cubicBezTo>
                <a:cubicBezTo>
                  <a:pt x="482065" y="5282476"/>
                  <a:pt x="437809" y="5326732"/>
                  <a:pt x="383217" y="5326732"/>
                </a:cubicBezTo>
                <a:lnTo>
                  <a:pt x="383212" y="5326731"/>
                </a:lnTo>
                <a:lnTo>
                  <a:pt x="383206" y="5326732"/>
                </a:lnTo>
                <a:cubicBezTo>
                  <a:pt x="328613" y="5326732"/>
                  <a:pt x="284357" y="5282477"/>
                  <a:pt x="284357" y="5227884"/>
                </a:cubicBezTo>
                <a:cubicBezTo>
                  <a:pt x="284357" y="5173291"/>
                  <a:pt x="328613" y="5129035"/>
                  <a:pt x="383206" y="5129035"/>
                </a:cubicBezTo>
                <a:close/>
                <a:moveTo>
                  <a:pt x="5949532" y="5087955"/>
                </a:moveTo>
                <a:cubicBezTo>
                  <a:pt x="6027199" y="5087955"/>
                  <a:pt x="6089460" y="5150859"/>
                  <a:pt x="6089460" y="5227884"/>
                </a:cubicBezTo>
                <a:cubicBezTo>
                  <a:pt x="6089460" y="5304909"/>
                  <a:pt x="6027199" y="5367813"/>
                  <a:pt x="5949532" y="5367813"/>
                </a:cubicBezTo>
                <a:cubicBezTo>
                  <a:pt x="5872508" y="5367813"/>
                  <a:pt x="5809603" y="5304909"/>
                  <a:pt x="5809603" y="5227884"/>
                </a:cubicBezTo>
                <a:cubicBezTo>
                  <a:pt x="5809603" y="5150859"/>
                  <a:pt x="5872508" y="5087955"/>
                  <a:pt x="5949532" y="5087955"/>
                </a:cubicBezTo>
                <a:close/>
                <a:moveTo>
                  <a:pt x="939711" y="5087955"/>
                </a:moveTo>
                <a:lnTo>
                  <a:pt x="939716" y="5087956"/>
                </a:lnTo>
                <a:lnTo>
                  <a:pt x="939721" y="5087955"/>
                </a:lnTo>
                <a:lnTo>
                  <a:pt x="941664" y="5088350"/>
                </a:lnTo>
                <a:lnTo>
                  <a:pt x="994340" y="5098987"/>
                </a:lnTo>
                <a:cubicBezTo>
                  <a:pt x="1027858" y="5113189"/>
                  <a:pt x="1054596" y="5140068"/>
                  <a:pt x="1068697" y="5173525"/>
                </a:cubicBezTo>
                <a:lnTo>
                  <a:pt x="1078245" y="5220960"/>
                </a:lnTo>
                <a:lnTo>
                  <a:pt x="1079650" y="5227884"/>
                </a:lnTo>
                <a:cubicBezTo>
                  <a:pt x="1079650" y="5304909"/>
                  <a:pt x="1017387" y="5367813"/>
                  <a:pt x="939721" y="5367813"/>
                </a:cubicBezTo>
                <a:lnTo>
                  <a:pt x="939716" y="5367812"/>
                </a:lnTo>
                <a:lnTo>
                  <a:pt x="939711" y="5367813"/>
                </a:lnTo>
                <a:cubicBezTo>
                  <a:pt x="862686" y="5367813"/>
                  <a:pt x="799782" y="5304909"/>
                  <a:pt x="799782" y="5227884"/>
                </a:cubicBezTo>
                <a:cubicBezTo>
                  <a:pt x="799782" y="5150859"/>
                  <a:pt x="862686" y="5087955"/>
                  <a:pt x="939711" y="5087955"/>
                </a:cubicBezTo>
                <a:close/>
                <a:moveTo>
                  <a:pt x="1496217" y="5053294"/>
                </a:moveTo>
                <a:lnTo>
                  <a:pt x="1496222" y="5053295"/>
                </a:lnTo>
                <a:lnTo>
                  <a:pt x="1496229" y="5053294"/>
                </a:lnTo>
                <a:lnTo>
                  <a:pt x="1499202" y="5053896"/>
                </a:lnTo>
                <a:lnTo>
                  <a:pt x="1564386" y="5067034"/>
                </a:lnTo>
                <a:cubicBezTo>
                  <a:pt x="1606208" y="5084726"/>
                  <a:pt x="1639565" y="5118223"/>
                  <a:pt x="1657157" y="5159985"/>
                </a:cubicBezTo>
                <a:lnTo>
                  <a:pt x="1668969" y="5218743"/>
                </a:lnTo>
                <a:lnTo>
                  <a:pt x="1670819" y="5227883"/>
                </a:lnTo>
                <a:cubicBezTo>
                  <a:pt x="1670819" y="5324165"/>
                  <a:pt x="1593153" y="5402473"/>
                  <a:pt x="1496229" y="5402473"/>
                </a:cubicBezTo>
                <a:lnTo>
                  <a:pt x="1496222" y="5402472"/>
                </a:lnTo>
                <a:lnTo>
                  <a:pt x="1496217" y="5402473"/>
                </a:lnTo>
                <a:cubicBezTo>
                  <a:pt x="1399935" y="5402473"/>
                  <a:pt x="1321626" y="5324165"/>
                  <a:pt x="1321626" y="5227883"/>
                </a:cubicBezTo>
                <a:cubicBezTo>
                  <a:pt x="1321626" y="5131602"/>
                  <a:pt x="1399935" y="5053294"/>
                  <a:pt x="1496217" y="5053294"/>
                </a:cubicBezTo>
                <a:close/>
                <a:moveTo>
                  <a:pt x="5393028" y="5050727"/>
                </a:moveTo>
                <a:cubicBezTo>
                  <a:pt x="5490593" y="5050727"/>
                  <a:pt x="5570186" y="5129677"/>
                  <a:pt x="5570186" y="5227884"/>
                </a:cubicBezTo>
                <a:cubicBezTo>
                  <a:pt x="5570186" y="5326091"/>
                  <a:pt x="5490593" y="5405041"/>
                  <a:pt x="5393028" y="5405041"/>
                </a:cubicBezTo>
                <a:cubicBezTo>
                  <a:pt x="5368637" y="5405041"/>
                  <a:pt x="5345369" y="5400107"/>
                  <a:pt x="5324187" y="5391171"/>
                </a:cubicBezTo>
                <a:lnTo>
                  <a:pt x="5324111" y="5391120"/>
                </a:lnTo>
                <a:lnTo>
                  <a:pt x="5323916" y="5391081"/>
                </a:lnTo>
                <a:lnTo>
                  <a:pt x="5293618" y="5370612"/>
                </a:lnTo>
                <a:lnTo>
                  <a:pt x="5267862" y="5353290"/>
                </a:lnTo>
                <a:lnTo>
                  <a:pt x="5267765" y="5353147"/>
                </a:lnTo>
                <a:lnTo>
                  <a:pt x="5267621" y="5353050"/>
                </a:lnTo>
                <a:lnTo>
                  <a:pt x="5250298" y="5327292"/>
                </a:lnTo>
                <a:lnTo>
                  <a:pt x="5229831" y="5296996"/>
                </a:lnTo>
                <a:lnTo>
                  <a:pt x="5229791" y="5296801"/>
                </a:lnTo>
                <a:lnTo>
                  <a:pt x="5229740" y="5296725"/>
                </a:lnTo>
                <a:cubicBezTo>
                  <a:pt x="5220804" y="5275543"/>
                  <a:pt x="5215870" y="5252275"/>
                  <a:pt x="5215870" y="5227884"/>
                </a:cubicBezTo>
                <a:cubicBezTo>
                  <a:pt x="5215870" y="5203493"/>
                  <a:pt x="5220804" y="5180225"/>
                  <a:pt x="5229740" y="5159044"/>
                </a:cubicBezTo>
                <a:lnTo>
                  <a:pt x="5229791" y="5158968"/>
                </a:lnTo>
                <a:lnTo>
                  <a:pt x="5229831" y="5158772"/>
                </a:lnTo>
                <a:lnTo>
                  <a:pt x="5250355" y="5128394"/>
                </a:lnTo>
                <a:lnTo>
                  <a:pt x="5267621" y="5102719"/>
                </a:lnTo>
                <a:lnTo>
                  <a:pt x="5267764" y="5102622"/>
                </a:lnTo>
                <a:lnTo>
                  <a:pt x="5267862" y="5102478"/>
                </a:lnTo>
                <a:lnTo>
                  <a:pt x="5293704" y="5085099"/>
                </a:lnTo>
                <a:lnTo>
                  <a:pt x="5323916" y="5064688"/>
                </a:lnTo>
                <a:lnTo>
                  <a:pt x="5324111" y="5064649"/>
                </a:lnTo>
                <a:lnTo>
                  <a:pt x="5324187" y="5064598"/>
                </a:lnTo>
                <a:cubicBezTo>
                  <a:pt x="5345369" y="5055662"/>
                  <a:pt x="5368637" y="5050727"/>
                  <a:pt x="5393028" y="5050727"/>
                </a:cubicBezTo>
                <a:close/>
                <a:moveTo>
                  <a:pt x="2053365" y="5023126"/>
                </a:moveTo>
                <a:lnTo>
                  <a:pt x="2053370" y="5023127"/>
                </a:lnTo>
                <a:lnTo>
                  <a:pt x="2053377" y="5023126"/>
                </a:lnTo>
                <a:cubicBezTo>
                  <a:pt x="2166350" y="5023126"/>
                  <a:pt x="2258139" y="5114914"/>
                  <a:pt x="2258139" y="5227884"/>
                </a:cubicBezTo>
                <a:cubicBezTo>
                  <a:pt x="2258139" y="5340854"/>
                  <a:pt x="2166350" y="5432642"/>
                  <a:pt x="2053377" y="5432642"/>
                </a:cubicBezTo>
                <a:lnTo>
                  <a:pt x="2053370" y="5432642"/>
                </a:lnTo>
                <a:lnTo>
                  <a:pt x="2053365" y="5432642"/>
                </a:lnTo>
                <a:cubicBezTo>
                  <a:pt x="1940394" y="5432642"/>
                  <a:pt x="1848606" y="5340854"/>
                  <a:pt x="1848606" y="5227884"/>
                </a:cubicBezTo>
                <a:cubicBezTo>
                  <a:pt x="1848606" y="5114914"/>
                  <a:pt x="1940394" y="5023126"/>
                  <a:pt x="2053365" y="5023126"/>
                </a:cubicBezTo>
                <a:close/>
                <a:moveTo>
                  <a:pt x="4836522" y="5020558"/>
                </a:moveTo>
                <a:cubicBezTo>
                  <a:pt x="4950776" y="5020558"/>
                  <a:pt x="5043848" y="5113630"/>
                  <a:pt x="5043848" y="5227884"/>
                </a:cubicBezTo>
                <a:cubicBezTo>
                  <a:pt x="5043848" y="5342138"/>
                  <a:pt x="4950776" y="5435209"/>
                  <a:pt x="4836522" y="5435209"/>
                </a:cubicBezTo>
                <a:cubicBezTo>
                  <a:pt x="4722269" y="5435209"/>
                  <a:pt x="4629197" y="5342138"/>
                  <a:pt x="4629197" y="5227884"/>
                </a:cubicBezTo>
                <a:cubicBezTo>
                  <a:pt x="4629197" y="5113630"/>
                  <a:pt x="4722269" y="5020558"/>
                  <a:pt x="4836522" y="5020558"/>
                </a:cubicBezTo>
                <a:close/>
                <a:moveTo>
                  <a:pt x="4280017" y="4998735"/>
                </a:moveTo>
                <a:cubicBezTo>
                  <a:pt x="4406467" y="4998735"/>
                  <a:pt x="4509167" y="5101435"/>
                  <a:pt x="4509167" y="5227884"/>
                </a:cubicBezTo>
                <a:cubicBezTo>
                  <a:pt x="4509167" y="5354333"/>
                  <a:pt x="4406467" y="5457033"/>
                  <a:pt x="4280017" y="5457033"/>
                </a:cubicBezTo>
                <a:cubicBezTo>
                  <a:pt x="4153578" y="5457033"/>
                  <a:pt x="4050878" y="5354333"/>
                  <a:pt x="4050878" y="5227884"/>
                </a:cubicBezTo>
                <a:cubicBezTo>
                  <a:pt x="4050878" y="5101435"/>
                  <a:pt x="4153578" y="4998735"/>
                  <a:pt x="4280017" y="4998735"/>
                </a:cubicBezTo>
                <a:close/>
                <a:moveTo>
                  <a:pt x="2609873" y="4998735"/>
                </a:moveTo>
                <a:lnTo>
                  <a:pt x="2609880" y="4998736"/>
                </a:lnTo>
                <a:lnTo>
                  <a:pt x="2609887" y="4998735"/>
                </a:lnTo>
                <a:cubicBezTo>
                  <a:pt x="2736336" y="4998735"/>
                  <a:pt x="2839035" y="5101435"/>
                  <a:pt x="2839035" y="5227884"/>
                </a:cubicBezTo>
                <a:cubicBezTo>
                  <a:pt x="2839035" y="5354333"/>
                  <a:pt x="2736336" y="5457033"/>
                  <a:pt x="2609887" y="5457033"/>
                </a:cubicBezTo>
                <a:lnTo>
                  <a:pt x="2609880" y="5457033"/>
                </a:lnTo>
                <a:lnTo>
                  <a:pt x="2609873" y="5457033"/>
                </a:lnTo>
                <a:cubicBezTo>
                  <a:pt x="2483423" y="5457033"/>
                  <a:pt x="2380723" y="5354333"/>
                  <a:pt x="2380723" y="5227884"/>
                </a:cubicBezTo>
                <a:cubicBezTo>
                  <a:pt x="2380723" y="5101435"/>
                  <a:pt x="2483423" y="4998735"/>
                  <a:pt x="2609873" y="4998735"/>
                </a:cubicBezTo>
                <a:close/>
                <a:moveTo>
                  <a:pt x="8176195" y="4631582"/>
                </a:moveTo>
                <a:cubicBezTo>
                  <a:pt x="8198660" y="4631582"/>
                  <a:pt x="8215991" y="4648913"/>
                  <a:pt x="8215991" y="4671379"/>
                </a:cubicBezTo>
                <a:cubicBezTo>
                  <a:pt x="8215991" y="4693202"/>
                  <a:pt x="8198660" y="4711175"/>
                  <a:pt x="8176195" y="4711175"/>
                </a:cubicBezTo>
                <a:cubicBezTo>
                  <a:pt x="8154371" y="4711175"/>
                  <a:pt x="8136398" y="4693202"/>
                  <a:pt x="8136398" y="4671379"/>
                </a:cubicBezTo>
                <a:cubicBezTo>
                  <a:pt x="8136398" y="4649555"/>
                  <a:pt x="8154371" y="4631582"/>
                  <a:pt x="8176195" y="4631582"/>
                </a:cubicBezTo>
                <a:close/>
                <a:moveTo>
                  <a:pt x="7619689" y="4597563"/>
                </a:moveTo>
                <a:cubicBezTo>
                  <a:pt x="7660769" y="4597563"/>
                  <a:pt x="7693504" y="4630299"/>
                  <a:pt x="7693504" y="4671379"/>
                </a:cubicBezTo>
                <a:cubicBezTo>
                  <a:pt x="7693504" y="4681489"/>
                  <a:pt x="7691458" y="4691157"/>
                  <a:pt x="7687747" y="4699973"/>
                </a:cubicBezTo>
                <a:lnTo>
                  <a:pt x="7687696" y="4700048"/>
                </a:lnTo>
                <a:lnTo>
                  <a:pt x="7687657" y="4700243"/>
                </a:lnTo>
                <a:lnTo>
                  <a:pt x="7679174" y="4712756"/>
                </a:lnTo>
                <a:lnTo>
                  <a:pt x="7672001" y="4723451"/>
                </a:lnTo>
                <a:lnTo>
                  <a:pt x="7671857" y="4723549"/>
                </a:lnTo>
                <a:lnTo>
                  <a:pt x="7671760" y="4723691"/>
                </a:lnTo>
                <a:lnTo>
                  <a:pt x="7661143" y="4730812"/>
                </a:lnTo>
                <a:lnTo>
                  <a:pt x="7648553" y="4739347"/>
                </a:lnTo>
                <a:lnTo>
                  <a:pt x="7648358" y="4739387"/>
                </a:lnTo>
                <a:lnTo>
                  <a:pt x="7648282" y="4739437"/>
                </a:lnTo>
                <a:cubicBezTo>
                  <a:pt x="7639466" y="4743148"/>
                  <a:pt x="7629798" y="4745194"/>
                  <a:pt x="7619689" y="4745194"/>
                </a:cubicBezTo>
                <a:cubicBezTo>
                  <a:pt x="7609579" y="4745194"/>
                  <a:pt x="7599911" y="4743148"/>
                  <a:pt x="7591095" y="4739437"/>
                </a:cubicBezTo>
                <a:lnTo>
                  <a:pt x="7591020" y="4739387"/>
                </a:lnTo>
                <a:lnTo>
                  <a:pt x="7590824" y="4739347"/>
                </a:lnTo>
                <a:lnTo>
                  <a:pt x="7578202" y="4730790"/>
                </a:lnTo>
                <a:lnTo>
                  <a:pt x="7567616" y="4723691"/>
                </a:lnTo>
                <a:lnTo>
                  <a:pt x="7567520" y="4723549"/>
                </a:lnTo>
                <a:lnTo>
                  <a:pt x="7567375" y="4723451"/>
                </a:lnTo>
                <a:lnTo>
                  <a:pt x="7560183" y="4712726"/>
                </a:lnTo>
                <a:lnTo>
                  <a:pt x="7551720" y="4700243"/>
                </a:lnTo>
                <a:lnTo>
                  <a:pt x="7551681" y="4700049"/>
                </a:lnTo>
                <a:lnTo>
                  <a:pt x="7551629" y="4699973"/>
                </a:lnTo>
                <a:cubicBezTo>
                  <a:pt x="7547919" y="4691157"/>
                  <a:pt x="7545873" y="4681489"/>
                  <a:pt x="7545873" y="4671379"/>
                </a:cubicBezTo>
                <a:cubicBezTo>
                  <a:pt x="7545873" y="4661270"/>
                  <a:pt x="7547919" y="4651602"/>
                  <a:pt x="7551629" y="4642786"/>
                </a:cubicBezTo>
                <a:lnTo>
                  <a:pt x="7551680" y="4642710"/>
                </a:lnTo>
                <a:lnTo>
                  <a:pt x="7551720" y="4642515"/>
                </a:lnTo>
                <a:lnTo>
                  <a:pt x="7560209" y="4629993"/>
                </a:lnTo>
                <a:lnTo>
                  <a:pt x="7567375" y="4619307"/>
                </a:lnTo>
                <a:lnTo>
                  <a:pt x="7567520" y="4619209"/>
                </a:lnTo>
                <a:lnTo>
                  <a:pt x="7567616" y="4619066"/>
                </a:lnTo>
                <a:lnTo>
                  <a:pt x="7578237" y="4611944"/>
                </a:lnTo>
                <a:lnTo>
                  <a:pt x="7590824" y="4603410"/>
                </a:lnTo>
                <a:lnTo>
                  <a:pt x="7591020" y="4603371"/>
                </a:lnTo>
                <a:lnTo>
                  <a:pt x="7591095" y="4603320"/>
                </a:lnTo>
                <a:cubicBezTo>
                  <a:pt x="7599911" y="4599609"/>
                  <a:pt x="7609579" y="4597563"/>
                  <a:pt x="7619689" y="4597563"/>
                </a:cubicBezTo>
                <a:close/>
                <a:moveTo>
                  <a:pt x="7063184" y="4549423"/>
                </a:moveTo>
                <a:cubicBezTo>
                  <a:pt x="7130581" y="4549423"/>
                  <a:pt x="7185140" y="4603983"/>
                  <a:pt x="7185140" y="4671380"/>
                </a:cubicBezTo>
                <a:cubicBezTo>
                  <a:pt x="7185140" y="4738776"/>
                  <a:pt x="7130581" y="4793336"/>
                  <a:pt x="7063184" y="4793336"/>
                </a:cubicBezTo>
                <a:cubicBezTo>
                  <a:pt x="6995787" y="4793336"/>
                  <a:pt x="6941228" y="4738776"/>
                  <a:pt x="6941228" y="4671380"/>
                </a:cubicBezTo>
                <a:cubicBezTo>
                  <a:pt x="6941228" y="4603983"/>
                  <a:pt x="6995787" y="4549423"/>
                  <a:pt x="7063184" y="4549423"/>
                </a:cubicBezTo>
                <a:close/>
                <a:moveTo>
                  <a:pt x="6506679" y="4496789"/>
                </a:moveTo>
                <a:cubicBezTo>
                  <a:pt x="6602318" y="4496789"/>
                  <a:pt x="6679985" y="4574456"/>
                  <a:pt x="6679985" y="4670737"/>
                </a:cubicBezTo>
                <a:lnTo>
                  <a:pt x="6679920" y="4671058"/>
                </a:lnTo>
                <a:lnTo>
                  <a:pt x="6679985" y="4671379"/>
                </a:lnTo>
                <a:cubicBezTo>
                  <a:pt x="6679985" y="4767660"/>
                  <a:pt x="6602318" y="4845327"/>
                  <a:pt x="6506679" y="4845327"/>
                </a:cubicBezTo>
                <a:cubicBezTo>
                  <a:pt x="6410398" y="4845327"/>
                  <a:pt x="6332731" y="4767018"/>
                  <a:pt x="6332731" y="4671379"/>
                </a:cubicBezTo>
                <a:lnTo>
                  <a:pt x="6332796" y="4671058"/>
                </a:lnTo>
                <a:lnTo>
                  <a:pt x="6332731" y="4670737"/>
                </a:lnTo>
                <a:cubicBezTo>
                  <a:pt x="6332731" y="4575098"/>
                  <a:pt x="6410398" y="4496789"/>
                  <a:pt x="6506679" y="4496789"/>
                </a:cubicBezTo>
                <a:close/>
                <a:moveTo>
                  <a:pt x="383217" y="4496789"/>
                </a:moveTo>
                <a:cubicBezTo>
                  <a:pt x="478856" y="4496789"/>
                  <a:pt x="557164" y="4574456"/>
                  <a:pt x="557164" y="4670737"/>
                </a:cubicBezTo>
                <a:lnTo>
                  <a:pt x="557093" y="4671084"/>
                </a:lnTo>
                <a:lnTo>
                  <a:pt x="557154" y="4671379"/>
                </a:lnTo>
                <a:cubicBezTo>
                  <a:pt x="557154" y="4767660"/>
                  <a:pt x="478845" y="4845327"/>
                  <a:pt x="383206" y="4845327"/>
                </a:cubicBezTo>
                <a:cubicBezTo>
                  <a:pt x="286925" y="4845327"/>
                  <a:pt x="209258" y="4767018"/>
                  <a:pt x="209258" y="4671379"/>
                </a:cubicBezTo>
                <a:lnTo>
                  <a:pt x="209328" y="4671031"/>
                </a:lnTo>
                <a:lnTo>
                  <a:pt x="209269" y="4670737"/>
                </a:lnTo>
                <a:cubicBezTo>
                  <a:pt x="209269" y="4575098"/>
                  <a:pt x="286936" y="4496789"/>
                  <a:pt x="383217" y="4496789"/>
                </a:cubicBezTo>
                <a:close/>
                <a:moveTo>
                  <a:pt x="5958673" y="4447478"/>
                </a:moveTo>
                <a:cubicBezTo>
                  <a:pt x="5973085" y="4448063"/>
                  <a:pt x="5987390" y="4450032"/>
                  <a:pt x="6001379" y="4453336"/>
                </a:cubicBezTo>
                <a:lnTo>
                  <a:pt x="6007264" y="4455334"/>
                </a:lnTo>
                <a:lnTo>
                  <a:pt x="6011809" y="4456069"/>
                </a:lnTo>
                <a:lnTo>
                  <a:pt x="6021623" y="4460212"/>
                </a:lnTo>
                <a:lnTo>
                  <a:pt x="6042195" y="4467199"/>
                </a:lnTo>
                <a:lnTo>
                  <a:pt x="6053473" y="4473656"/>
                </a:lnTo>
                <a:lnTo>
                  <a:pt x="6061505" y="4477047"/>
                </a:lnTo>
                <a:lnTo>
                  <a:pt x="6068378" y="4482190"/>
                </a:lnTo>
                <a:lnTo>
                  <a:pt x="6079877" y="4488774"/>
                </a:lnTo>
                <a:lnTo>
                  <a:pt x="6086208" y="4495533"/>
                </a:lnTo>
                <a:lnTo>
                  <a:pt x="6105334" y="4509845"/>
                </a:lnTo>
                <a:lnTo>
                  <a:pt x="6140831" y="4553846"/>
                </a:lnTo>
                <a:lnTo>
                  <a:pt x="6140866" y="4553883"/>
                </a:lnTo>
                <a:cubicBezTo>
                  <a:pt x="6157173" y="4580271"/>
                  <a:pt x="6167359" y="4608714"/>
                  <a:pt x="6171818" y="4637555"/>
                </a:cubicBezTo>
                <a:lnTo>
                  <a:pt x="6171818" y="4637560"/>
                </a:lnTo>
                <a:lnTo>
                  <a:pt x="6171818" y="4637561"/>
                </a:lnTo>
                <a:cubicBezTo>
                  <a:pt x="6185193" y="4724083"/>
                  <a:pt x="6147015" y="4814187"/>
                  <a:pt x="6067853" y="4863106"/>
                </a:cubicBezTo>
                <a:cubicBezTo>
                  <a:pt x="5962303" y="4928332"/>
                  <a:pt x="5823862" y="4895642"/>
                  <a:pt x="5758636" y="4790093"/>
                </a:cubicBezTo>
                <a:cubicBezTo>
                  <a:pt x="5742329" y="4763705"/>
                  <a:pt x="5732144" y="4735262"/>
                  <a:pt x="5727684" y="4706421"/>
                </a:cubicBezTo>
                <a:lnTo>
                  <a:pt x="5727684" y="4706416"/>
                </a:lnTo>
                <a:lnTo>
                  <a:pt x="5727684" y="4706415"/>
                </a:lnTo>
                <a:cubicBezTo>
                  <a:pt x="5714309" y="4619892"/>
                  <a:pt x="5752487" y="4529789"/>
                  <a:pt x="5831650" y="4480870"/>
                </a:cubicBezTo>
                <a:cubicBezTo>
                  <a:pt x="5844843" y="4472717"/>
                  <a:pt x="5858551" y="4466093"/>
                  <a:pt x="5872565" y="4460951"/>
                </a:cubicBezTo>
                <a:lnTo>
                  <a:pt x="5887123" y="4457194"/>
                </a:lnTo>
                <a:lnTo>
                  <a:pt x="5893791" y="4454348"/>
                </a:lnTo>
                <a:lnTo>
                  <a:pt x="5901185" y="4453566"/>
                </a:lnTo>
                <a:lnTo>
                  <a:pt x="5915321" y="4449918"/>
                </a:lnTo>
                <a:cubicBezTo>
                  <a:pt x="5929741" y="4447689"/>
                  <a:pt x="5944262" y="4446892"/>
                  <a:pt x="5958673" y="4447478"/>
                </a:cubicBezTo>
                <a:close/>
                <a:moveTo>
                  <a:pt x="939710" y="4446723"/>
                </a:moveTo>
                <a:lnTo>
                  <a:pt x="939715" y="4446724"/>
                </a:lnTo>
                <a:lnTo>
                  <a:pt x="939720" y="4446723"/>
                </a:lnTo>
                <a:cubicBezTo>
                  <a:pt x="1063795" y="4446723"/>
                  <a:pt x="1164377" y="4547305"/>
                  <a:pt x="1164377" y="4671379"/>
                </a:cubicBezTo>
                <a:cubicBezTo>
                  <a:pt x="1164377" y="4795453"/>
                  <a:pt x="1063795" y="4896035"/>
                  <a:pt x="939720" y="4896035"/>
                </a:cubicBezTo>
                <a:lnTo>
                  <a:pt x="939715" y="4896035"/>
                </a:lnTo>
                <a:lnTo>
                  <a:pt x="939710" y="4896035"/>
                </a:lnTo>
                <a:cubicBezTo>
                  <a:pt x="815636" y="4896035"/>
                  <a:pt x="715054" y="4795453"/>
                  <a:pt x="715054" y="4671379"/>
                </a:cubicBezTo>
                <a:cubicBezTo>
                  <a:pt x="715054" y="4547305"/>
                  <a:pt x="815636" y="4446723"/>
                  <a:pt x="939710" y="4446723"/>
                </a:cubicBezTo>
                <a:close/>
                <a:moveTo>
                  <a:pt x="8733341" y="4078287"/>
                </a:moveTo>
                <a:cubicBezTo>
                  <a:pt x="8753239" y="4078287"/>
                  <a:pt x="8769286" y="4094334"/>
                  <a:pt x="8769286" y="4114232"/>
                </a:cubicBezTo>
                <a:lnTo>
                  <a:pt x="8769147" y="4114553"/>
                </a:lnTo>
                <a:lnTo>
                  <a:pt x="8769286" y="4114874"/>
                </a:lnTo>
                <a:cubicBezTo>
                  <a:pt x="8769286" y="4134772"/>
                  <a:pt x="8753239" y="4150819"/>
                  <a:pt x="8733341" y="4150819"/>
                </a:cubicBezTo>
                <a:cubicBezTo>
                  <a:pt x="8713443" y="4150819"/>
                  <a:pt x="8697396" y="4134772"/>
                  <a:pt x="8697396" y="4114874"/>
                </a:cubicBezTo>
                <a:lnTo>
                  <a:pt x="8697529" y="4114553"/>
                </a:lnTo>
                <a:lnTo>
                  <a:pt x="8697396" y="4114232"/>
                </a:lnTo>
                <a:cubicBezTo>
                  <a:pt x="8697396" y="4094334"/>
                  <a:pt x="8713443" y="4078287"/>
                  <a:pt x="8733341" y="4078287"/>
                </a:cubicBezTo>
                <a:close/>
                <a:moveTo>
                  <a:pt x="8176194" y="4041058"/>
                </a:moveTo>
                <a:cubicBezTo>
                  <a:pt x="8216631" y="4041058"/>
                  <a:pt x="8250009" y="4073794"/>
                  <a:pt x="8249367" y="4114232"/>
                </a:cubicBezTo>
                <a:lnTo>
                  <a:pt x="8249302" y="4114553"/>
                </a:lnTo>
                <a:lnTo>
                  <a:pt x="8249367" y="4114873"/>
                </a:lnTo>
                <a:cubicBezTo>
                  <a:pt x="8250009" y="4155312"/>
                  <a:pt x="8216631" y="4188047"/>
                  <a:pt x="8176194" y="4188047"/>
                </a:cubicBezTo>
                <a:cubicBezTo>
                  <a:pt x="8135755" y="4188047"/>
                  <a:pt x="8103020" y="4155312"/>
                  <a:pt x="8103020" y="4114873"/>
                </a:cubicBezTo>
                <a:lnTo>
                  <a:pt x="8103084" y="4114553"/>
                </a:lnTo>
                <a:lnTo>
                  <a:pt x="8103020" y="4114232"/>
                </a:lnTo>
                <a:cubicBezTo>
                  <a:pt x="8103020" y="4073794"/>
                  <a:pt x="8135755" y="4041058"/>
                  <a:pt x="8176194" y="4041058"/>
                </a:cubicBezTo>
                <a:close/>
                <a:moveTo>
                  <a:pt x="0" y="4030788"/>
                </a:moveTo>
                <a:cubicBezTo>
                  <a:pt x="12196" y="4056463"/>
                  <a:pt x="19256" y="4084063"/>
                  <a:pt x="19256" y="4114232"/>
                </a:cubicBezTo>
                <a:cubicBezTo>
                  <a:pt x="19256" y="4144400"/>
                  <a:pt x="12196" y="4172642"/>
                  <a:pt x="0" y="4197675"/>
                </a:cubicBezTo>
                <a:close/>
                <a:moveTo>
                  <a:pt x="7619392" y="3987950"/>
                </a:moveTo>
                <a:cubicBezTo>
                  <a:pt x="7651753" y="3987950"/>
                  <a:pt x="7684114" y="4000296"/>
                  <a:pt x="7708804" y="4024986"/>
                </a:cubicBezTo>
                <a:cubicBezTo>
                  <a:pt x="7758185" y="4074367"/>
                  <a:pt x="7758185" y="4154429"/>
                  <a:pt x="7708805" y="4203810"/>
                </a:cubicBezTo>
                <a:cubicBezTo>
                  <a:pt x="7659423" y="4253191"/>
                  <a:pt x="7579361" y="4253191"/>
                  <a:pt x="7529980" y="4203810"/>
                </a:cubicBezTo>
                <a:cubicBezTo>
                  <a:pt x="7480599" y="4154429"/>
                  <a:pt x="7480599" y="4074367"/>
                  <a:pt x="7529980" y="4024985"/>
                </a:cubicBezTo>
                <a:cubicBezTo>
                  <a:pt x="7542325" y="4012640"/>
                  <a:pt x="7556588" y="4003381"/>
                  <a:pt x="7571810" y="3997209"/>
                </a:cubicBezTo>
                <a:cubicBezTo>
                  <a:pt x="7587031" y="3991036"/>
                  <a:pt x="7603212" y="3987950"/>
                  <a:pt x="7619392" y="3987950"/>
                </a:cubicBezTo>
                <a:close/>
                <a:moveTo>
                  <a:pt x="7063185" y="3924237"/>
                </a:moveTo>
                <a:cubicBezTo>
                  <a:pt x="7167810" y="3924237"/>
                  <a:pt x="7253179" y="4008964"/>
                  <a:pt x="7253179" y="4114232"/>
                </a:cubicBezTo>
                <a:lnTo>
                  <a:pt x="7253114" y="4114553"/>
                </a:lnTo>
                <a:lnTo>
                  <a:pt x="7253179" y="4114874"/>
                </a:lnTo>
                <a:cubicBezTo>
                  <a:pt x="7253179" y="4220141"/>
                  <a:pt x="7167810" y="4304869"/>
                  <a:pt x="7063185" y="4304869"/>
                </a:cubicBezTo>
                <a:cubicBezTo>
                  <a:pt x="6957917" y="4304869"/>
                  <a:pt x="6873190" y="4219499"/>
                  <a:pt x="6873190" y="4114874"/>
                </a:cubicBezTo>
                <a:lnTo>
                  <a:pt x="6873255" y="4114553"/>
                </a:lnTo>
                <a:lnTo>
                  <a:pt x="6873190" y="4114232"/>
                </a:lnTo>
                <a:cubicBezTo>
                  <a:pt x="6873190" y="4009606"/>
                  <a:pt x="6957917" y="3924237"/>
                  <a:pt x="7063185" y="3924237"/>
                </a:cubicBezTo>
                <a:close/>
                <a:moveTo>
                  <a:pt x="8733341" y="3496749"/>
                </a:moveTo>
                <a:cubicBezTo>
                  <a:pt x="8766719" y="3496749"/>
                  <a:pt x="8794319" y="3523708"/>
                  <a:pt x="8794319" y="3557727"/>
                </a:cubicBezTo>
                <a:lnTo>
                  <a:pt x="8794250" y="3558046"/>
                </a:lnTo>
                <a:lnTo>
                  <a:pt x="8794319" y="3558369"/>
                </a:lnTo>
                <a:cubicBezTo>
                  <a:pt x="8794319" y="3592388"/>
                  <a:pt x="8766719" y="3619347"/>
                  <a:pt x="8733341" y="3619347"/>
                </a:cubicBezTo>
                <a:cubicBezTo>
                  <a:pt x="8699322" y="3619347"/>
                  <a:pt x="8672363" y="3591746"/>
                  <a:pt x="8672363" y="3558369"/>
                </a:cubicBezTo>
                <a:lnTo>
                  <a:pt x="8672428" y="3558048"/>
                </a:lnTo>
                <a:lnTo>
                  <a:pt x="8672363" y="3557727"/>
                </a:lnTo>
                <a:cubicBezTo>
                  <a:pt x="8672363" y="3524350"/>
                  <a:pt x="8699322" y="3496749"/>
                  <a:pt x="8733341" y="3496749"/>
                </a:cubicBezTo>
                <a:close/>
                <a:moveTo>
                  <a:pt x="8176194" y="3440264"/>
                </a:moveTo>
                <a:cubicBezTo>
                  <a:pt x="8241023" y="3440264"/>
                  <a:pt x="8293657" y="3492898"/>
                  <a:pt x="8293657" y="3557727"/>
                </a:cubicBezTo>
                <a:cubicBezTo>
                  <a:pt x="8293657" y="3622556"/>
                  <a:pt x="8241023" y="3675190"/>
                  <a:pt x="8176194" y="3675190"/>
                </a:cubicBezTo>
                <a:cubicBezTo>
                  <a:pt x="8111364" y="3675190"/>
                  <a:pt x="8058731" y="3622556"/>
                  <a:pt x="8058731" y="3557727"/>
                </a:cubicBezTo>
                <a:cubicBezTo>
                  <a:pt x="8058731" y="3492898"/>
                  <a:pt x="8111364" y="3440264"/>
                  <a:pt x="8176194" y="3440264"/>
                </a:cubicBezTo>
                <a:close/>
                <a:moveTo>
                  <a:pt x="7619689" y="3372225"/>
                </a:moveTo>
                <a:cubicBezTo>
                  <a:pt x="7722389" y="3372225"/>
                  <a:pt x="7805191" y="3455027"/>
                  <a:pt x="7805191" y="3557726"/>
                </a:cubicBezTo>
                <a:cubicBezTo>
                  <a:pt x="7805191" y="3660426"/>
                  <a:pt x="7722389" y="3743228"/>
                  <a:pt x="7619689" y="3743228"/>
                </a:cubicBezTo>
                <a:cubicBezTo>
                  <a:pt x="7516989" y="3743228"/>
                  <a:pt x="7434187" y="3660426"/>
                  <a:pt x="7434187" y="3557726"/>
                </a:cubicBezTo>
                <a:cubicBezTo>
                  <a:pt x="7434187" y="3455027"/>
                  <a:pt x="7516989" y="3372225"/>
                  <a:pt x="7619689" y="3372225"/>
                </a:cubicBezTo>
                <a:close/>
                <a:moveTo>
                  <a:pt x="9289846" y="2954365"/>
                </a:moveTo>
                <a:cubicBezTo>
                  <a:pt x="9315521" y="2954365"/>
                  <a:pt x="9336702" y="2975547"/>
                  <a:pt x="9336702" y="3001222"/>
                </a:cubicBezTo>
                <a:cubicBezTo>
                  <a:pt x="9336702" y="3026897"/>
                  <a:pt x="9315521" y="3048079"/>
                  <a:pt x="9289846" y="3048079"/>
                </a:cubicBezTo>
                <a:cubicBezTo>
                  <a:pt x="9264171" y="3048079"/>
                  <a:pt x="9242989" y="3026897"/>
                  <a:pt x="9242989" y="3001222"/>
                </a:cubicBezTo>
                <a:cubicBezTo>
                  <a:pt x="9242989" y="2975547"/>
                  <a:pt x="9264171" y="2954365"/>
                  <a:pt x="9289846" y="2954365"/>
                </a:cubicBezTo>
                <a:close/>
                <a:moveTo>
                  <a:pt x="8733340" y="2907508"/>
                </a:moveTo>
                <a:cubicBezTo>
                  <a:pt x="8784690" y="2907508"/>
                  <a:pt x="8827054" y="2949230"/>
                  <a:pt x="8827054" y="3001221"/>
                </a:cubicBezTo>
                <a:cubicBezTo>
                  <a:pt x="8827054" y="3053214"/>
                  <a:pt x="8784690" y="3094935"/>
                  <a:pt x="8733340" y="3094935"/>
                </a:cubicBezTo>
                <a:cubicBezTo>
                  <a:pt x="8720503" y="3094935"/>
                  <a:pt x="8708227" y="3092328"/>
                  <a:pt x="8697034" y="3087604"/>
                </a:cubicBezTo>
                <a:lnTo>
                  <a:pt x="8696959" y="3087553"/>
                </a:lnTo>
                <a:lnTo>
                  <a:pt x="8696764" y="3087513"/>
                </a:lnTo>
                <a:lnTo>
                  <a:pt x="8680809" y="3076702"/>
                </a:lnTo>
                <a:lnTo>
                  <a:pt x="8667228" y="3067575"/>
                </a:lnTo>
                <a:lnTo>
                  <a:pt x="8667130" y="3067431"/>
                </a:lnTo>
                <a:lnTo>
                  <a:pt x="8666987" y="3067334"/>
                </a:lnTo>
                <a:lnTo>
                  <a:pt x="8657924" y="3053847"/>
                </a:lnTo>
                <a:lnTo>
                  <a:pt x="8647049" y="3037799"/>
                </a:lnTo>
                <a:lnTo>
                  <a:pt x="8647009" y="3037602"/>
                </a:lnTo>
                <a:lnTo>
                  <a:pt x="8646958" y="3037527"/>
                </a:lnTo>
                <a:cubicBezTo>
                  <a:pt x="8642235" y="3026335"/>
                  <a:pt x="8639627" y="3014059"/>
                  <a:pt x="8639627" y="3001221"/>
                </a:cubicBezTo>
                <a:cubicBezTo>
                  <a:pt x="8639627" y="2988384"/>
                  <a:pt x="8642235" y="2976108"/>
                  <a:pt x="8646958" y="2964916"/>
                </a:cubicBezTo>
                <a:lnTo>
                  <a:pt x="8647009" y="2964840"/>
                </a:lnTo>
                <a:lnTo>
                  <a:pt x="8647049" y="2964645"/>
                </a:lnTo>
                <a:lnTo>
                  <a:pt x="8657890" y="2948647"/>
                </a:lnTo>
                <a:lnTo>
                  <a:pt x="8666987" y="2935109"/>
                </a:lnTo>
                <a:lnTo>
                  <a:pt x="8667130" y="2935011"/>
                </a:lnTo>
                <a:lnTo>
                  <a:pt x="8667228" y="2934868"/>
                </a:lnTo>
                <a:lnTo>
                  <a:pt x="8680764" y="2925772"/>
                </a:lnTo>
                <a:lnTo>
                  <a:pt x="8696764" y="2914930"/>
                </a:lnTo>
                <a:lnTo>
                  <a:pt x="8696959" y="2914890"/>
                </a:lnTo>
                <a:lnTo>
                  <a:pt x="8697034" y="2914840"/>
                </a:lnTo>
                <a:cubicBezTo>
                  <a:pt x="8708227" y="2910116"/>
                  <a:pt x="8720503" y="2907508"/>
                  <a:pt x="8733340" y="2907508"/>
                </a:cubicBezTo>
                <a:close/>
                <a:moveTo>
                  <a:pt x="8176195" y="2838828"/>
                </a:moveTo>
                <a:cubicBezTo>
                  <a:pt x="8266057" y="2838828"/>
                  <a:pt x="8338588" y="2911360"/>
                  <a:pt x="8338588" y="3001222"/>
                </a:cubicBezTo>
                <a:cubicBezTo>
                  <a:pt x="8338588" y="3091085"/>
                  <a:pt x="8266057" y="3163617"/>
                  <a:pt x="8176195" y="3163617"/>
                </a:cubicBezTo>
                <a:cubicBezTo>
                  <a:pt x="8086332" y="3163617"/>
                  <a:pt x="8013800" y="3091085"/>
                  <a:pt x="8013800" y="3001222"/>
                </a:cubicBezTo>
                <a:cubicBezTo>
                  <a:pt x="8013800" y="2911360"/>
                  <a:pt x="8086332" y="2838828"/>
                  <a:pt x="8176195" y="2838828"/>
                </a:cubicBezTo>
                <a:close/>
                <a:moveTo>
                  <a:pt x="9289846" y="2378604"/>
                </a:moveTo>
                <a:cubicBezTo>
                  <a:pt x="9326433" y="2378604"/>
                  <a:pt x="9355959" y="2408130"/>
                  <a:pt x="9355959" y="2444075"/>
                </a:cubicBezTo>
                <a:cubicBezTo>
                  <a:pt x="9355959" y="2480662"/>
                  <a:pt x="9326433" y="2510188"/>
                  <a:pt x="9289846" y="2510188"/>
                </a:cubicBezTo>
                <a:cubicBezTo>
                  <a:pt x="9253259" y="2510188"/>
                  <a:pt x="9223733" y="2480662"/>
                  <a:pt x="9223733" y="2444075"/>
                </a:cubicBezTo>
                <a:cubicBezTo>
                  <a:pt x="9223733" y="2407488"/>
                  <a:pt x="9253259" y="2378604"/>
                  <a:pt x="9289846" y="2378604"/>
                </a:cubicBezTo>
                <a:close/>
                <a:moveTo>
                  <a:pt x="8733341" y="2316342"/>
                </a:moveTo>
                <a:cubicBezTo>
                  <a:pt x="8750993" y="2316342"/>
                  <a:pt x="8767842" y="2319913"/>
                  <a:pt x="8783186" y="2326382"/>
                </a:cubicBezTo>
                <a:lnTo>
                  <a:pt x="8783262" y="2326432"/>
                </a:lnTo>
                <a:lnTo>
                  <a:pt x="8783457" y="2326472"/>
                </a:lnTo>
                <a:lnTo>
                  <a:pt x="8805377" y="2341293"/>
                </a:lnTo>
                <a:lnTo>
                  <a:pt x="8824006" y="2353812"/>
                </a:lnTo>
                <a:lnTo>
                  <a:pt x="8824103" y="2353955"/>
                </a:lnTo>
                <a:lnTo>
                  <a:pt x="8824247" y="2354052"/>
                </a:lnTo>
                <a:lnTo>
                  <a:pt x="8836766" y="2372684"/>
                </a:lnTo>
                <a:lnTo>
                  <a:pt x="8851586" y="2394601"/>
                </a:lnTo>
                <a:lnTo>
                  <a:pt x="8851626" y="2394796"/>
                </a:lnTo>
                <a:lnTo>
                  <a:pt x="8851677" y="2394872"/>
                </a:lnTo>
                <a:cubicBezTo>
                  <a:pt x="8858146" y="2410216"/>
                  <a:pt x="8861716" y="2427066"/>
                  <a:pt x="8861716" y="2444717"/>
                </a:cubicBezTo>
                <a:cubicBezTo>
                  <a:pt x="8861716" y="2515323"/>
                  <a:pt x="8804589" y="2573092"/>
                  <a:pt x="8733341" y="2573092"/>
                </a:cubicBezTo>
                <a:cubicBezTo>
                  <a:pt x="8715689" y="2573092"/>
                  <a:pt x="8698840" y="2569522"/>
                  <a:pt x="8683496" y="2563053"/>
                </a:cubicBezTo>
                <a:lnTo>
                  <a:pt x="8683420" y="2563002"/>
                </a:lnTo>
                <a:lnTo>
                  <a:pt x="8683225" y="2562963"/>
                </a:lnTo>
                <a:lnTo>
                  <a:pt x="8661295" y="2548134"/>
                </a:lnTo>
                <a:lnTo>
                  <a:pt x="8642676" y="2535623"/>
                </a:lnTo>
                <a:lnTo>
                  <a:pt x="8642579" y="2535479"/>
                </a:lnTo>
                <a:lnTo>
                  <a:pt x="8642436" y="2535382"/>
                </a:lnTo>
                <a:lnTo>
                  <a:pt x="8629916" y="2516751"/>
                </a:lnTo>
                <a:lnTo>
                  <a:pt x="8615096" y="2494834"/>
                </a:lnTo>
                <a:lnTo>
                  <a:pt x="8615056" y="2494638"/>
                </a:lnTo>
                <a:lnTo>
                  <a:pt x="8615005" y="2494563"/>
                </a:lnTo>
                <a:cubicBezTo>
                  <a:pt x="8608536" y="2479218"/>
                  <a:pt x="8604966" y="2462369"/>
                  <a:pt x="8604966" y="2444717"/>
                </a:cubicBezTo>
                <a:cubicBezTo>
                  <a:pt x="8604966" y="2427066"/>
                  <a:pt x="8608536" y="2410216"/>
                  <a:pt x="8615005" y="2394872"/>
                </a:cubicBezTo>
                <a:lnTo>
                  <a:pt x="8615056" y="2394796"/>
                </a:lnTo>
                <a:lnTo>
                  <a:pt x="8615096" y="2394601"/>
                </a:lnTo>
                <a:lnTo>
                  <a:pt x="8629916" y="2372683"/>
                </a:lnTo>
                <a:lnTo>
                  <a:pt x="8642436" y="2354052"/>
                </a:lnTo>
                <a:lnTo>
                  <a:pt x="8642579" y="2353955"/>
                </a:lnTo>
                <a:lnTo>
                  <a:pt x="8642676" y="2353812"/>
                </a:lnTo>
                <a:lnTo>
                  <a:pt x="8661295" y="2341300"/>
                </a:lnTo>
                <a:lnTo>
                  <a:pt x="8683225" y="2326472"/>
                </a:lnTo>
                <a:lnTo>
                  <a:pt x="8683420" y="2326432"/>
                </a:lnTo>
                <a:lnTo>
                  <a:pt x="8683496" y="2326382"/>
                </a:lnTo>
                <a:cubicBezTo>
                  <a:pt x="8698840" y="2319913"/>
                  <a:pt x="8715689" y="2316342"/>
                  <a:pt x="8733341" y="2316342"/>
                </a:cubicBezTo>
                <a:close/>
                <a:moveTo>
                  <a:pt x="8176194" y="2230973"/>
                </a:moveTo>
                <a:cubicBezTo>
                  <a:pt x="8294299" y="2230973"/>
                  <a:pt x="8390580" y="2326612"/>
                  <a:pt x="8389938" y="2444717"/>
                </a:cubicBezTo>
                <a:cubicBezTo>
                  <a:pt x="8390580" y="2562822"/>
                  <a:pt x="8294299" y="2658462"/>
                  <a:pt x="8176194" y="2658462"/>
                </a:cubicBezTo>
                <a:cubicBezTo>
                  <a:pt x="8058089" y="2658462"/>
                  <a:pt x="7962450" y="2562822"/>
                  <a:pt x="7962450" y="2444717"/>
                </a:cubicBezTo>
                <a:cubicBezTo>
                  <a:pt x="7962450" y="2326612"/>
                  <a:pt x="8058089" y="2230973"/>
                  <a:pt x="8176194" y="2230973"/>
                </a:cubicBezTo>
                <a:close/>
                <a:moveTo>
                  <a:pt x="9846351" y="1849709"/>
                </a:moveTo>
                <a:cubicBezTo>
                  <a:pt x="9866890" y="1849709"/>
                  <a:pt x="9884221" y="1866398"/>
                  <a:pt x="9884221" y="1887579"/>
                </a:cubicBezTo>
                <a:lnTo>
                  <a:pt x="9884088" y="1887897"/>
                </a:lnTo>
                <a:lnTo>
                  <a:pt x="9884221" y="1888215"/>
                </a:lnTo>
                <a:cubicBezTo>
                  <a:pt x="9884221" y="1909397"/>
                  <a:pt x="9866890" y="1926085"/>
                  <a:pt x="9846351" y="1926085"/>
                </a:cubicBezTo>
                <a:cubicBezTo>
                  <a:pt x="9825169" y="1926085"/>
                  <a:pt x="9808480" y="1908755"/>
                  <a:pt x="9808480" y="1888215"/>
                </a:cubicBezTo>
                <a:lnTo>
                  <a:pt x="9808613" y="1887897"/>
                </a:lnTo>
                <a:lnTo>
                  <a:pt x="9808480" y="1887579"/>
                </a:lnTo>
                <a:cubicBezTo>
                  <a:pt x="9808480" y="1867040"/>
                  <a:pt x="9825169" y="1849709"/>
                  <a:pt x="9846351" y="1849709"/>
                </a:cubicBezTo>
                <a:close/>
                <a:moveTo>
                  <a:pt x="9289846" y="1802846"/>
                </a:moveTo>
                <a:cubicBezTo>
                  <a:pt x="9336702" y="1802846"/>
                  <a:pt x="9374573" y="1840716"/>
                  <a:pt x="9374573" y="1887573"/>
                </a:cubicBezTo>
                <a:lnTo>
                  <a:pt x="9374508" y="1887897"/>
                </a:lnTo>
                <a:lnTo>
                  <a:pt x="9374573" y="1888221"/>
                </a:lnTo>
                <a:cubicBezTo>
                  <a:pt x="9374573" y="1935078"/>
                  <a:pt x="9336702" y="1972949"/>
                  <a:pt x="9289846" y="1972949"/>
                </a:cubicBezTo>
                <a:cubicBezTo>
                  <a:pt x="9242989" y="1972949"/>
                  <a:pt x="9205118" y="1935078"/>
                  <a:pt x="9205118" y="1888221"/>
                </a:cubicBezTo>
                <a:lnTo>
                  <a:pt x="9205183" y="1887897"/>
                </a:lnTo>
                <a:lnTo>
                  <a:pt x="9205118" y="1887573"/>
                </a:lnTo>
                <a:cubicBezTo>
                  <a:pt x="9205118" y="1840716"/>
                  <a:pt x="9242989" y="1802846"/>
                  <a:pt x="9289846" y="1802846"/>
                </a:cubicBezTo>
                <a:close/>
                <a:moveTo>
                  <a:pt x="8733341" y="1725828"/>
                </a:moveTo>
                <a:cubicBezTo>
                  <a:pt x="8822562" y="1725828"/>
                  <a:pt x="8895094" y="1798360"/>
                  <a:pt x="8895094" y="1887580"/>
                </a:cubicBezTo>
                <a:lnTo>
                  <a:pt x="8895028" y="1887898"/>
                </a:lnTo>
                <a:lnTo>
                  <a:pt x="8895094" y="1888215"/>
                </a:lnTo>
                <a:cubicBezTo>
                  <a:pt x="8895094" y="1977436"/>
                  <a:pt x="8822562" y="2049968"/>
                  <a:pt x="8733341" y="2049968"/>
                </a:cubicBezTo>
                <a:cubicBezTo>
                  <a:pt x="8644120" y="2049968"/>
                  <a:pt x="8571589" y="1977436"/>
                  <a:pt x="8571589" y="1888215"/>
                </a:cubicBezTo>
                <a:lnTo>
                  <a:pt x="8571653" y="1887898"/>
                </a:lnTo>
                <a:lnTo>
                  <a:pt x="8571589" y="1887580"/>
                </a:lnTo>
                <a:cubicBezTo>
                  <a:pt x="8571589" y="1798360"/>
                  <a:pt x="8644120" y="1725828"/>
                  <a:pt x="8733341" y="1725828"/>
                </a:cubicBezTo>
                <a:close/>
                <a:moveTo>
                  <a:pt x="9846351" y="1283568"/>
                </a:moveTo>
                <a:cubicBezTo>
                  <a:pt x="9872668" y="1283568"/>
                  <a:pt x="9893850" y="1304750"/>
                  <a:pt x="9893850" y="1331067"/>
                </a:cubicBezTo>
                <a:lnTo>
                  <a:pt x="9893849" y="1331071"/>
                </a:lnTo>
                <a:lnTo>
                  <a:pt x="9893850" y="1331074"/>
                </a:lnTo>
                <a:cubicBezTo>
                  <a:pt x="9893850" y="1357390"/>
                  <a:pt x="9872668" y="1378572"/>
                  <a:pt x="9846351" y="1378572"/>
                </a:cubicBezTo>
                <a:cubicBezTo>
                  <a:pt x="9820034" y="1378572"/>
                  <a:pt x="9798852" y="1357390"/>
                  <a:pt x="9798852" y="1331074"/>
                </a:cubicBezTo>
                <a:lnTo>
                  <a:pt x="9798853" y="1331071"/>
                </a:lnTo>
                <a:lnTo>
                  <a:pt x="9798852" y="1331067"/>
                </a:lnTo>
                <a:cubicBezTo>
                  <a:pt x="9798852" y="1304750"/>
                  <a:pt x="9820034" y="1283568"/>
                  <a:pt x="9846351" y="1283568"/>
                </a:cubicBezTo>
                <a:close/>
                <a:moveTo>
                  <a:pt x="9289846" y="1227085"/>
                </a:moveTo>
                <a:cubicBezTo>
                  <a:pt x="9346972" y="1227085"/>
                  <a:pt x="9393829" y="1273942"/>
                  <a:pt x="9393829" y="1331069"/>
                </a:cubicBezTo>
                <a:lnTo>
                  <a:pt x="9393764" y="1331392"/>
                </a:lnTo>
                <a:lnTo>
                  <a:pt x="9393829" y="1331716"/>
                </a:lnTo>
                <a:cubicBezTo>
                  <a:pt x="9393829" y="1388843"/>
                  <a:pt x="9346972" y="1435699"/>
                  <a:pt x="9289846" y="1435699"/>
                </a:cubicBezTo>
                <a:cubicBezTo>
                  <a:pt x="9232077" y="1435699"/>
                  <a:pt x="9185862" y="1388843"/>
                  <a:pt x="9185862" y="1331716"/>
                </a:cubicBezTo>
                <a:lnTo>
                  <a:pt x="9185928" y="1331392"/>
                </a:lnTo>
                <a:lnTo>
                  <a:pt x="9185862" y="1331069"/>
                </a:lnTo>
                <a:cubicBezTo>
                  <a:pt x="9185862" y="1273942"/>
                  <a:pt x="9232077" y="1227085"/>
                  <a:pt x="9289846" y="1227085"/>
                </a:cubicBezTo>
                <a:close/>
                <a:moveTo>
                  <a:pt x="8733341" y="1144925"/>
                </a:moveTo>
                <a:cubicBezTo>
                  <a:pt x="8836040" y="1144925"/>
                  <a:pt x="8919484" y="1228369"/>
                  <a:pt x="8919484" y="1331069"/>
                </a:cubicBezTo>
                <a:lnTo>
                  <a:pt x="8919483" y="1331072"/>
                </a:lnTo>
                <a:lnTo>
                  <a:pt x="8919484" y="1331076"/>
                </a:lnTo>
                <a:cubicBezTo>
                  <a:pt x="8919484" y="1433776"/>
                  <a:pt x="8836040" y="1517219"/>
                  <a:pt x="8733341" y="1517219"/>
                </a:cubicBezTo>
                <a:cubicBezTo>
                  <a:pt x="8630641" y="1517219"/>
                  <a:pt x="8547197" y="1433776"/>
                  <a:pt x="8547197" y="1331076"/>
                </a:cubicBezTo>
                <a:lnTo>
                  <a:pt x="8547198" y="1331072"/>
                </a:lnTo>
                <a:lnTo>
                  <a:pt x="8547197" y="1331069"/>
                </a:lnTo>
                <a:cubicBezTo>
                  <a:pt x="8547197" y="1228369"/>
                  <a:pt x="8630641" y="1144925"/>
                  <a:pt x="8733341" y="1144925"/>
                </a:cubicBezTo>
                <a:close/>
                <a:moveTo>
                  <a:pt x="9846351" y="721287"/>
                </a:moveTo>
                <a:cubicBezTo>
                  <a:pt x="9875877" y="721287"/>
                  <a:pt x="9899627" y="745036"/>
                  <a:pt x="9899627" y="774563"/>
                </a:cubicBezTo>
                <a:lnTo>
                  <a:pt x="9899626" y="774566"/>
                </a:lnTo>
                <a:lnTo>
                  <a:pt x="9899627" y="774569"/>
                </a:lnTo>
                <a:cubicBezTo>
                  <a:pt x="9899627" y="804095"/>
                  <a:pt x="9875877" y="827844"/>
                  <a:pt x="9846351" y="827844"/>
                </a:cubicBezTo>
                <a:cubicBezTo>
                  <a:pt x="9816825" y="827844"/>
                  <a:pt x="9793075" y="804095"/>
                  <a:pt x="9793075" y="774569"/>
                </a:cubicBezTo>
                <a:lnTo>
                  <a:pt x="9793076" y="774566"/>
                </a:lnTo>
                <a:lnTo>
                  <a:pt x="9793075" y="774563"/>
                </a:lnTo>
                <a:cubicBezTo>
                  <a:pt x="9793075" y="745036"/>
                  <a:pt x="9816825" y="721287"/>
                  <a:pt x="9846351" y="721287"/>
                </a:cubicBezTo>
                <a:close/>
                <a:moveTo>
                  <a:pt x="9289847" y="657747"/>
                </a:moveTo>
                <a:cubicBezTo>
                  <a:pt x="9354034" y="657747"/>
                  <a:pt x="9406667" y="709739"/>
                  <a:pt x="9406667" y="774568"/>
                </a:cubicBezTo>
                <a:lnTo>
                  <a:pt x="9406601" y="774885"/>
                </a:lnTo>
                <a:lnTo>
                  <a:pt x="9406667" y="775204"/>
                </a:lnTo>
                <a:cubicBezTo>
                  <a:pt x="9406667" y="840033"/>
                  <a:pt x="9354034" y="892025"/>
                  <a:pt x="9289847" y="892025"/>
                </a:cubicBezTo>
                <a:cubicBezTo>
                  <a:pt x="9225017" y="892025"/>
                  <a:pt x="9173025" y="839391"/>
                  <a:pt x="9173025" y="775204"/>
                </a:cubicBezTo>
                <a:lnTo>
                  <a:pt x="9173089" y="774886"/>
                </a:lnTo>
                <a:lnTo>
                  <a:pt x="9173025" y="774568"/>
                </a:lnTo>
                <a:cubicBezTo>
                  <a:pt x="9173025" y="710381"/>
                  <a:pt x="9225017" y="657747"/>
                  <a:pt x="9289847" y="657747"/>
                </a:cubicBezTo>
                <a:close/>
                <a:moveTo>
                  <a:pt x="8733165" y="568394"/>
                </a:moveTo>
                <a:lnTo>
                  <a:pt x="8738850" y="568939"/>
                </a:lnTo>
                <a:lnTo>
                  <a:pt x="8739361" y="568866"/>
                </a:lnTo>
                <a:lnTo>
                  <a:pt x="8742720" y="569310"/>
                </a:lnTo>
                <a:lnTo>
                  <a:pt x="8772517" y="572166"/>
                </a:lnTo>
                <a:lnTo>
                  <a:pt x="8779110" y="574120"/>
                </a:lnTo>
                <a:lnTo>
                  <a:pt x="8780734" y="574335"/>
                </a:lnTo>
                <a:lnTo>
                  <a:pt x="8786198" y="576220"/>
                </a:lnTo>
                <a:lnTo>
                  <a:pt x="8810698" y="583481"/>
                </a:lnTo>
                <a:lnTo>
                  <a:pt x="8817299" y="586955"/>
                </a:lnTo>
                <a:lnTo>
                  <a:pt x="8820184" y="587951"/>
                </a:lnTo>
                <a:lnTo>
                  <a:pt x="8828406" y="592800"/>
                </a:lnTo>
                <a:lnTo>
                  <a:pt x="8846535" y="602340"/>
                </a:lnTo>
                <a:lnTo>
                  <a:pt x="8851608" y="606484"/>
                </a:lnTo>
                <a:lnTo>
                  <a:pt x="8855065" y="608523"/>
                </a:lnTo>
                <a:lnTo>
                  <a:pt x="8858018" y="611719"/>
                </a:lnTo>
                <a:lnTo>
                  <a:pt x="8878857" y="628742"/>
                </a:lnTo>
                <a:lnTo>
                  <a:pt x="8891949" y="648458"/>
                </a:lnTo>
                <a:lnTo>
                  <a:pt x="8908655" y="666546"/>
                </a:lnTo>
                <a:lnTo>
                  <a:pt x="8914857" y="682955"/>
                </a:lnTo>
                <a:lnTo>
                  <a:pt x="8924117" y="696901"/>
                </a:lnTo>
                <a:lnTo>
                  <a:pt x="8928352" y="718665"/>
                </a:lnTo>
                <a:lnTo>
                  <a:pt x="8936578" y="740430"/>
                </a:lnTo>
                <a:lnTo>
                  <a:pt x="8938781" y="772260"/>
                </a:lnTo>
                <a:lnTo>
                  <a:pt x="8939204" y="774434"/>
                </a:lnTo>
                <a:lnTo>
                  <a:pt x="8939003" y="775467"/>
                </a:lnTo>
                <a:lnTo>
                  <a:pt x="8939374" y="780829"/>
                </a:lnTo>
                <a:cubicBezTo>
                  <a:pt x="8938963" y="794513"/>
                  <a:pt x="8937175" y="808359"/>
                  <a:pt x="8933906" y="822202"/>
                </a:cubicBezTo>
                <a:lnTo>
                  <a:pt x="8926978" y="837265"/>
                </a:lnTo>
                <a:lnTo>
                  <a:pt x="8924117" y="851967"/>
                </a:lnTo>
                <a:lnTo>
                  <a:pt x="8911425" y="871080"/>
                </a:lnTo>
                <a:lnTo>
                  <a:pt x="8899718" y="896533"/>
                </a:lnTo>
                <a:lnTo>
                  <a:pt x="8886283" y="908942"/>
                </a:lnTo>
                <a:lnTo>
                  <a:pt x="8878856" y="920126"/>
                </a:lnTo>
                <a:cubicBezTo>
                  <a:pt x="8868798" y="930184"/>
                  <a:pt x="8857959" y="938984"/>
                  <a:pt x="8846534" y="946528"/>
                </a:cubicBezTo>
                <a:lnTo>
                  <a:pt x="8844334" y="947686"/>
                </a:lnTo>
                <a:lnTo>
                  <a:pt x="8841695" y="950123"/>
                </a:lnTo>
                <a:cubicBezTo>
                  <a:pt x="8819267" y="963982"/>
                  <a:pt x="8794196" y="973564"/>
                  <a:pt x="8767810" y="978046"/>
                </a:cubicBezTo>
                <a:lnTo>
                  <a:pt x="8734266" y="980368"/>
                </a:lnTo>
                <a:lnTo>
                  <a:pt x="8733165" y="980473"/>
                </a:lnTo>
                <a:lnTo>
                  <a:pt x="8732987" y="980456"/>
                </a:lnTo>
                <a:lnTo>
                  <a:pt x="8727412" y="980842"/>
                </a:lnTo>
                <a:lnTo>
                  <a:pt x="8702082" y="977494"/>
                </a:lnTo>
                <a:lnTo>
                  <a:pt x="8693812" y="976701"/>
                </a:lnTo>
                <a:lnTo>
                  <a:pt x="8691982" y="976159"/>
                </a:lnTo>
                <a:lnTo>
                  <a:pt x="8686038" y="975373"/>
                </a:lnTo>
                <a:lnTo>
                  <a:pt x="8666035" y="968469"/>
                </a:lnTo>
                <a:lnTo>
                  <a:pt x="8655632" y="965386"/>
                </a:lnTo>
                <a:lnTo>
                  <a:pt x="8652829" y="963911"/>
                </a:lnTo>
                <a:lnTo>
                  <a:pt x="8646588" y="961757"/>
                </a:lnTo>
                <a:lnTo>
                  <a:pt x="8628806" y="951270"/>
                </a:lnTo>
                <a:lnTo>
                  <a:pt x="8619795" y="946528"/>
                </a:lnTo>
                <a:lnTo>
                  <a:pt x="8617273" y="944468"/>
                </a:lnTo>
                <a:lnTo>
                  <a:pt x="8611707" y="941186"/>
                </a:lnTo>
                <a:lnTo>
                  <a:pt x="8606954" y="936039"/>
                </a:lnTo>
                <a:lnTo>
                  <a:pt x="8587473" y="920126"/>
                </a:lnTo>
                <a:lnTo>
                  <a:pt x="8575234" y="901695"/>
                </a:lnTo>
                <a:lnTo>
                  <a:pt x="8558117" y="883162"/>
                </a:lnTo>
                <a:lnTo>
                  <a:pt x="8551763" y="866350"/>
                </a:lnTo>
                <a:lnTo>
                  <a:pt x="8542212" y="851967"/>
                </a:lnTo>
                <a:lnTo>
                  <a:pt x="8537844" y="829519"/>
                </a:lnTo>
                <a:lnTo>
                  <a:pt x="8530194" y="809278"/>
                </a:lnTo>
                <a:lnTo>
                  <a:pt x="8528145" y="779677"/>
                </a:lnTo>
                <a:lnTo>
                  <a:pt x="8527125" y="774434"/>
                </a:lnTo>
                <a:lnTo>
                  <a:pt x="8527610" y="771942"/>
                </a:lnTo>
                <a:lnTo>
                  <a:pt x="8527398" y="768879"/>
                </a:lnTo>
                <a:cubicBezTo>
                  <a:pt x="8527809" y="755195"/>
                  <a:pt x="8529597" y="741349"/>
                  <a:pt x="8532866" y="727506"/>
                </a:cubicBezTo>
                <a:lnTo>
                  <a:pt x="8539052" y="713137"/>
                </a:lnTo>
                <a:lnTo>
                  <a:pt x="8542212" y="696901"/>
                </a:lnTo>
                <a:lnTo>
                  <a:pt x="8553108" y="680492"/>
                </a:lnTo>
                <a:lnTo>
                  <a:pt x="8561314" y="661433"/>
                </a:lnTo>
                <a:lnTo>
                  <a:pt x="8576600" y="645115"/>
                </a:lnTo>
                <a:lnTo>
                  <a:pt x="8587472" y="628742"/>
                </a:lnTo>
                <a:lnTo>
                  <a:pt x="8606485" y="613212"/>
                </a:lnTo>
                <a:lnTo>
                  <a:pt x="8608773" y="610769"/>
                </a:lnTo>
                <a:lnTo>
                  <a:pt x="8610724" y="609749"/>
                </a:lnTo>
                <a:lnTo>
                  <a:pt x="8619794" y="602340"/>
                </a:lnTo>
                <a:cubicBezTo>
                  <a:pt x="8631219" y="594797"/>
                  <a:pt x="8643230" y="588510"/>
                  <a:pt x="8655631" y="583481"/>
                </a:cubicBezTo>
                <a:lnTo>
                  <a:pt x="8667964" y="579826"/>
                </a:lnTo>
                <a:lnTo>
                  <a:pt x="8669903" y="578812"/>
                </a:lnTo>
                <a:lnTo>
                  <a:pt x="8672770" y="578402"/>
                </a:lnTo>
                <a:lnTo>
                  <a:pt x="8693812" y="572166"/>
                </a:lnTo>
                <a:cubicBezTo>
                  <a:pt x="8706799" y="569651"/>
                  <a:pt x="8719982" y="568394"/>
                  <a:pt x="8733165" y="568394"/>
                </a:cubicBezTo>
                <a:close/>
                <a:moveTo>
                  <a:pt x="9846351" y="162856"/>
                </a:moveTo>
                <a:cubicBezTo>
                  <a:pt x="9869459" y="162856"/>
                  <a:pt x="9888955" y="176576"/>
                  <a:pt x="9897259" y="196434"/>
                </a:cubicBezTo>
                <a:lnTo>
                  <a:pt x="9901550" y="218047"/>
                </a:lnTo>
                <a:lnTo>
                  <a:pt x="9901550" y="218073"/>
                </a:lnTo>
                <a:lnTo>
                  <a:pt x="9897259" y="239415"/>
                </a:lnTo>
                <a:cubicBezTo>
                  <a:pt x="9888955" y="259183"/>
                  <a:pt x="9869459" y="273264"/>
                  <a:pt x="9846351" y="273264"/>
                </a:cubicBezTo>
                <a:lnTo>
                  <a:pt x="9842370" y="272457"/>
                </a:lnTo>
                <a:lnTo>
                  <a:pt x="9824999" y="268965"/>
                </a:lnTo>
                <a:lnTo>
                  <a:pt x="9824937" y="268924"/>
                </a:lnTo>
                <a:lnTo>
                  <a:pt x="9824728" y="268881"/>
                </a:lnTo>
                <a:lnTo>
                  <a:pt x="9814698" y="262071"/>
                </a:lnTo>
                <a:lnTo>
                  <a:pt x="9807437" y="257211"/>
                </a:lnTo>
                <a:lnTo>
                  <a:pt x="9807348" y="257080"/>
                </a:lnTo>
                <a:lnTo>
                  <a:pt x="9807197" y="256977"/>
                </a:lnTo>
                <a:lnTo>
                  <a:pt x="9801574" y="248576"/>
                </a:lnTo>
                <a:lnTo>
                  <a:pt x="9795533" y="239680"/>
                </a:lnTo>
                <a:lnTo>
                  <a:pt x="9795495" y="239494"/>
                </a:lnTo>
                <a:lnTo>
                  <a:pt x="9795442" y="239415"/>
                </a:lnTo>
                <a:cubicBezTo>
                  <a:pt x="9792674" y="232826"/>
                  <a:pt x="9791150" y="225605"/>
                  <a:pt x="9791150" y="218063"/>
                </a:cubicBezTo>
                <a:lnTo>
                  <a:pt x="9791151" y="218060"/>
                </a:lnTo>
                <a:lnTo>
                  <a:pt x="9791150" y="218057"/>
                </a:lnTo>
                <a:cubicBezTo>
                  <a:pt x="9791150" y="210515"/>
                  <a:pt x="9792674" y="203294"/>
                  <a:pt x="9795442" y="196704"/>
                </a:cubicBezTo>
                <a:lnTo>
                  <a:pt x="9795495" y="196626"/>
                </a:lnTo>
                <a:lnTo>
                  <a:pt x="9795533" y="196440"/>
                </a:lnTo>
                <a:lnTo>
                  <a:pt x="9801568" y="187552"/>
                </a:lnTo>
                <a:lnTo>
                  <a:pt x="9807197" y="179143"/>
                </a:lnTo>
                <a:lnTo>
                  <a:pt x="9807349" y="179040"/>
                </a:lnTo>
                <a:lnTo>
                  <a:pt x="9807437" y="178909"/>
                </a:lnTo>
                <a:lnTo>
                  <a:pt x="9814685" y="174058"/>
                </a:lnTo>
                <a:lnTo>
                  <a:pt x="9824728" y="167238"/>
                </a:lnTo>
                <a:lnTo>
                  <a:pt x="9824937" y="167196"/>
                </a:lnTo>
                <a:lnTo>
                  <a:pt x="9824999" y="167155"/>
                </a:lnTo>
                <a:lnTo>
                  <a:pt x="9842295" y="163678"/>
                </a:lnTo>
                <a:close/>
                <a:moveTo>
                  <a:pt x="9289846" y="94817"/>
                </a:moveTo>
                <a:cubicBezTo>
                  <a:pt x="9357885" y="94817"/>
                  <a:pt x="9413086" y="150018"/>
                  <a:pt x="9413086" y="218057"/>
                </a:cubicBezTo>
                <a:lnTo>
                  <a:pt x="9413085" y="218060"/>
                </a:lnTo>
                <a:lnTo>
                  <a:pt x="9413086" y="218064"/>
                </a:lnTo>
                <a:cubicBezTo>
                  <a:pt x="9413086" y="286103"/>
                  <a:pt x="9357885" y="341304"/>
                  <a:pt x="9289846" y="341304"/>
                </a:cubicBezTo>
                <a:cubicBezTo>
                  <a:pt x="9221807" y="341304"/>
                  <a:pt x="9166606" y="286103"/>
                  <a:pt x="9166606" y="218064"/>
                </a:cubicBezTo>
                <a:lnTo>
                  <a:pt x="9166607" y="218060"/>
                </a:lnTo>
                <a:lnTo>
                  <a:pt x="9166606" y="218057"/>
                </a:lnTo>
                <a:cubicBezTo>
                  <a:pt x="9166606" y="150018"/>
                  <a:pt x="9221807" y="94817"/>
                  <a:pt x="9289846" y="94817"/>
                </a:cubicBezTo>
                <a:close/>
                <a:moveTo>
                  <a:pt x="8726879" y="5061"/>
                </a:moveTo>
                <a:lnTo>
                  <a:pt x="8732902" y="5478"/>
                </a:lnTo>
                <a:lnTo>
                  <a:pt x="8733282" y="5442"/>
                </a:lnTo>
                <a:lnTo>
                  <a:pt x="8735639" y="5668"/>
                </a:lnTo>
                <a:lnTo>
                  <a:pt x="8768536" y="7945"/>
                </a:lnTo>
                <a:lnTo>
                  <a:pt x="8773514" y="9298"/>
                </a:lnTo>
                <a:lnTo>
                  <a:pt x="8773860" y="9331"/>
                </a:lnTo>
                <a:lnTo>
                  <a:pt x="8776342" y="10066"/>
                </a:lnTo>
                <a:lnTo>
                  <a:pt x="8808159" y="18715"/>
                </a:lnTo>
                <a:lnTo>
                  <a:pt x="8812132" y="20673"/>
                </a:lnTo>
                <a:lnTo>
                  <a:pt x="8813230" y="20999"/>
                </a:lnTo>
                <a:lnTo>
                  <a:pt x="8819708" y="24407"/>
                </a:lnTo>
                <a:lnTo>
                  <a:pt x="8844722" y="36737"/>
                </a:lnTo>
                <a:lnTo>
                  <a:pt x="8846819" y="38674"/>
                </a:lnTo>
                <a:lnTo>
                  <a:pt x="8850184" y="40445"/>
                </a:lnTo>
                <a:cubicBezTo>
                  <a:pt x="8861964" y="48223"/>
                  <a:pt x="8873141" y="57298"/>
                  <a:pt x="8883512" y="67669"/>
                </a:cubicBezTo>
                <a:lnTo>
                  <a:pt x="8891917" y="80327"/>
                </a:lnTo>
                <a:lnTo>
                  <a:pt x="8904553" y="91997"/>
                </a:lnTo>
                <a:lnTo>
                  <a:pt x="8915563" y="115935"/>
                </a:lnTo>
                <a:lnTo>
                  <a:pt x="8930183" y="137952"/>
                </a:lnTo>
                <a:lnTo>
                  <a:pt x="8933479" y="154886"/>
                </a:lnTo>
                <a:lnTo>
                  <a:pt x="8939806" y="168642"/>
                </a:lnTo>
                <a:cubicBezTo>
                  <a:pt x="8943177" y="182917"/>
                  <a:pt x="8945021" y="197195"/>
                  <a:pt x="8945445" y="211305"/>
                </a:cubicBezTo>
                <a:lnTo>
                  <a:pt x="8945186" y="215047"/>
                </a:lnTo>
                <a:lnTo>
                  <a:pt x="8945741" y="217900"/>
                </a:lnTo>
                <a:lnTo>
                  <a:pt x="8944573" y="223902"/>
                </a:lnTo>
                <a:lnTo>
                  <a:pt x="8942561" y="252962"/>
                </a:lnTo>
                <a:lnTo>
                  <a:pt x="8935051" y="272834"/>
                </a:lnTo>
                <a:lnTo>
                  <a:pt x="8930184" y="297848"/>
                </a:lnTo>
                <a:lnTo>
                  <a:pt x="8919541" y="313876"/>
                </a:lnTo>
                <a:lnTo>
                  <a:pt x="8913769" y="329149"/>
                </a:lnTo>
                <a:lnTo>
                  <a:pt x="8898219" y="345985"/>
                </a:lnTo>
                <a:lnTo>
                  <a:pt x="8883513" y="368131"/>
                </a:lnTo>
                <a:lnTo>
                  <a:pt x="8860106" y="387251"/>
                </a:lnTo>
                <a:lnTo>
                  <a:pt x="8858509" y="388980"/>
                </a:lnTo>
                <a:lnTo>
                  <a:pt x="8856639" y="390083"/>
                </a:lnTo>
                <a:lnTo>
                  <a:pt x="8850184" y="395355"/>
                </a:lnTo>
                <a:lnTo>
                  <a:pt x="8827118" y="407493"/>
                </a:lnTo>
                <a:lnTo>
                  <a:pt x="8822541" y="410192"/>
                </a:lnTo>
                <a:lnTo>
                  <a:pt x="8820935" y="410747"/>
                </a:lnTo>
                <a:lnTo>
                  <a:pt x="8813231" y="414801"/>
                </a:lnTo>
                <a:lnTo>
                  <a:pt x="8784638" y="423275"/>
                </a:lnTo>
                <a:lnTo>
                  <a:pt x="8781862" y="424233"/>
                </a:lnTo>
                <a:lnTo>
                  <a:pt x="8781037" y="424342"/>
                </a:lnTo>
                <a:lnTo>
                  <a:pt x="8773861" y="426469"/>
                </a:lnTo>
                <a:lnTo>
                  <a:pt x="8741428" y="429577"/>
                </a:lnTo>
                <a:lnTo>
                  <a:pt x="8739200" y="429872"/>
                </a:lnTo>
                <a:lnTo>
                  <a:pt x="8738709" y="429838"/>
                </a:lnTo>
                <a:lnTo>
                  <a:pt x="8733283" y="430358"/>
                </a:lnTo>
                <a:lnTo>
                  <a:pt x="8699647" y="427134"/>
                </a:lnTo>
                <a:lnTo>
                  <a:pt x="8697543" y="426988"/>
                </a:lnTo>
                <a:lnTo>
                  <a:pt x="8697225" y="426902"/>
                </a:lnTo>
                <a:lnTo>
                  <a:pt x="8692704" y="426469"/>
                </a:lnTo>
                <a:lnTo>
                  <a:pt x="8660296" y="416864"/>
                </a:lnTo>
                <a:lnTo>
                  <a:pt x="8657920" y="416218"/>
                </a:lnTo>
                <a:lnTo>
                  <a:pt x="8657623" y="416072"/>
                </a:lnTo>
                <a:lnTo>
                  <a:pt x="8653334" y="414801"/>
                </a:lnTo>
                <a:lnTo>
                  <a:pt x="8628036" y="401488"/>
                </a:lnTo>
                <a:lnTo>
                  <a:pt x="8621357" y="398196"/>
                </a:lnTo>
                <a:lnTo>
                  <a:pt x="8620797" y="397678"/>
                </a:lnTo>
                <a:lnTo>
                  <a:pt x="8616381" y="395354"/>
                </a:lnTo>
                <a:cubicBezTo>
                  <a:pt x="8604600" y="387576"/>
                  <a:pt x="8593423" y="378501"/>
                  <a:pt x="8583052" y="368130"/>
                </a:cubicBezTo>
                <a:lnTo>
                  <a:pt x="8573928" y="354390"/>
                </a:lnTo>
                <a:lnTo>
                  <a:pt x="8561526" y="342936"/>
                </a:lnTo>
                <a:lnTo>
                  <a:pt x="8550719" y="319439"/>
                </a:lnTo>
                <a:lnTo>
                  <a:pt x="8536381" y="297848"/>
                </a:lnTo>
                <a:lnTo>
                  <a:pt x="8533150" y="281241"/>
                </a:lnTo>
                <a:lnTo>
                  <a:pt x="8526273" y="266289"/>
                </a:lnTo>
                <a:cubicBezTo>
                  <a:pt x="8522903" y="252015"/>
                  <a:pt x="8521058" y="237737"/>
                  <a:pt x="8520634" y="223627"/>
                </a:cubicBezTo>
                <a:lnTo>
                  <a:pt x="8520977" y="218681"/>
                </a:lnTo>
                <a:lnTo>
                  <a:pt x="8520825" y="217900"/>
                </a:lnTo>
                <a:lnTo>
                  <a:pt x="8521144" y="216256"/>
                </a:lnTo>
                <a:lnTo>
                  <a:pt x="8523518" y="181970"/>
                </a:lnTo>
                <a:lnTo>
                  <a:pt x="8532378" y="158525"/>
                </a:lnTo>
                <a:lnTo>
                  <a:pt x="8536381" y="137951"/>
                </a:lnTo>
                <a:lnTo>
                  <a:pt x="8545135" y="124769"/>
                </a:lnTo>
                <a:lnTo>
                  <a:pt x="8552310" y="105784"/>
                </a:lnTo>
                <a:lnTo>
                  <a:pt x="8571639" y="84856"/>
                </a:lnTo>
                <a:lnTo>
                  <a:pt x="8583052" y="67669"/>
                </a:lnTo>
                <a:lnTo>
                  <a:pt x="8601218" y="52830"/>
                </a:lnTo>
                <a:lnTo>
                  <a:pt x="8607570" y="45953"/>
                </a:lnTo>
                <a:lnTo>
                  <a:pt x="8615007" y="41567"/>
                </a:lnTo>
                <a:lnTo>
                  <a:pt x="8616381" y="40445"/>
                </a:lnTo>
                <a:lnTo>
                  <a:pt x="8621291" y="37861"/>
                </a:lnTo>
                <a:lnTo>
                  <a:pt x="8643537" y="24741"/>
                </a:lnTo>
                <a:lnTo>
                  <a:pt x="8651343" y="22046"/>
                </a:lnTo>
                <a:lnTo>
                  <a:pt x="8653334" y="20998"/>
                </a:lnTo>
                <a:lnTo>
                  <a:pt x="8660724" y="18809"/>
                </a:lnTo>
                <a:lnTo>
                  <a:pt x="8684216" y="10700"/>
                </a:lnTo>
                <a:lnTo>
                  <a:pt x="8691197" y="9777"/>
                </a:lnTo>
                <a:lnTo>
                  <a:pt x="8692704" y="9331"/>
                </a:lnTo>
                <a:lnTo>
                  <a:pt x="8699514" y="8678"/>
                </a:lnTo>
                <a:close/>
                <a:moveTo>
                  <a:pt x="0" y="0"/>
                </a:moveTo>
                <a:lnTo>
                  <a:pt x="8399148" y="0"/>
                </a:lnTo>
                <a:lnTo>
                  <a:pt x="8442653" y="52212"/>
                </a:lnTo>
                <a:cubicBezTo>
                  <a:pt x="8472741" y="100272"/>
                  <a:pt x="8490071" y="157078"/>
                  <a:pt x="8490071" y="218056"/>
                </a:cubicBezTo>
                <a:cubicBezTo>
                  <a:pt x="8490071" y="341296"/>
                  <a:pt x="8418823" y="447847"/>
                  <a:pt x="8315481" y="496629"/>
                </a:cubicBezTo>
                <a:cubicBezTo>
                  <a:pt x="8415613" y="547337"/>
                  <a:pt x="8484936" y="651321"/>
                  <a:pt x="8484936" y="771993"/>
                </a:cubicBezTo>
                <a:cubicBezTo>
                  <a:pt x="8484936" y="905503"/>
                  <a:pt x="8399567" y="1019115"/>
                  <a:pt x="8280820" y="1062120"/>
                </a:cubicBezTo>
                <a:cubicBezTo>
                  <a:pt x="8387371" y="1103842"/>
                  <a:pt x="8463112" y="1207184"/>
                  <a:pt x="8463112" y="1328498"/>
                </a:cubicBezTo>
                <a:cubicBezTo>
                  <a:pt x="8463112" y="1486399"/>
                  <a:pt x="8334738" y="1614774"/>
                  <a:pt x="8176837" y="1614774"/>
                </a:cubicBezTo>
                <a:cubicBezTo>
                  <a:pt x="8085048" y="1614774"/>
                  <a:pt x="8003531" y="1571127"/>
                  <a:pt x="7950897" y="1503730"/>
                </a:cubicBezTo>
                <a:cubicBezTo>
                  <a:pt x="7925222" y="1551870"/>
                  <a:pt x="7889918" y="1593592"/>
                  <a:pt x="7846913" y="1626328"/>
                </a:cubicBezTo>
                <a:cubicBezTo>
                  <a:pt x="7891844" y="1665482"/>
                  <a:pt x="7926506" y="1716832"/>
                  <a:pt x="7946404" y="1775243"/>
                </a:cubicBezTo>
                <a:cubicBezTo>
                  <a:pt x="7987484" y="1689232"/>
                  <a:pt x="8074779" y="1629537"/>
                  <a:pt x="8176837" y="1629537"/>
                </a:cubicBezTo>
                <a:cubicBezTo>
                  <a:pt x="8318049" y="1629537"/>
                  <a:pt x="8432302" y="1743791"/>
                  <a:pt x="8432302" y="1885003"/>
                </a:cubicBezTo>
                <a:cubicBezTo>
                  <a:pt x="8432302" y="2026216"/>
                  <a:pt x="8318049" y="2140469"/>
                  <a:pt x="8176837" y="2140469"/>
                </a:cubicBezTo>
                <a:cubicBezTo>
                  <a:pt x="8075420" y="2140469"/>
                  <a:pt x="7987484" y="2080775"/>
                  <a:pt x="7946404" y="1994764"/>
                </a:cubicBezTo>
                <a:cubicBezTo>
                  <a:pt x="7918803" y="2076923"/>
                  <a:pt x="7861034" y="2145604"/>
                  <a:pt x="7786577" y="2186684"/>
                </a:cubicBezTo>
                <a:cubicBezTo>
                  <a:pt x="7870021" y="2241244"/>
                  <a:pt x="7925222" y="2334957"/>
                  <a:pt x="7925222" y="2442150"/>
                </a:cubicBezTo>
                <a:cubicBezTo>
                  <a:pt x="7925222" y="2610963"/>
                  <a:pt x="7788503" y="2747041"/>
                  <a:pt x="7620331" y="2747041"/>
                </a:cubicBezTo>
                <a:cubicBezTo>
                  <a:pt x="7526618" y="2747041"/>
                  <a:pt x="7443174" y="2704677"/>
                  <a:pt x="7387331" y="2638564"/>
                </a:cubicBezTo>
                <a:cubicBezTo>
                  <a:pt x="7359730" y="2683495"/>
                  <a:pt x="7323786" y="2722007"/>
                  <a:pt x="7280780" y="2752175"/>
                </a:cubicBezTo>
                <a:cubicBezTo>
                  <a:pt x="7330204" y="2795823"/>
                  <a:pt x="7366791" y="2854234"/>
                  <a:pt x="7382838" y="2920347"/>
                </a:cubicBezTo>
                <a:cubicBezTo>
                  <a:pt x="7415574" y="2821498"/>
                  <a:pt x="7509288" y="2749608"/>
                  <a:pt x="7619690" y="2749608"/>
                </a:cubicBezTo>
                <a:cubicBezTo>
                  <a:pt x="7758334" y="2749608"/>
                  <a:pt x="7870021" y="2861936"/>
                  <a:pt x="7870021" y="2999939"/>
                </a:cubicBezTo>
                <a:cubicBezTo>
                  <a:pt x="7870021" y="3138584"/>
                  <a:pt x="7757693" y="3250270"/>
                  <a:pt x="7619690" y="3250270"/>
                </a:cubicBezTo>
                <a:cubicBezTo>
                  <a:pt x="7509288" y="3250270"/>
                  <a:pt x="7416216" y="3179022"/>
                  <a:pt x="7382838" y="3079531"/>
                </a:cubicBezTo>
                <a:cubicBezTo>
                  <a:pt x="7355879" y="3188650"/>
                  <a:pt x="7275645" y="3275945"/>
                  <a:pt x="7171019" y="3311890"/>
                </a:cubicBezTo>
                <a:cubicBezTo>
                  <a:pt x="7265375" y="3353612"/>
                  <a:pt x="7331488" y="3447967"/>
                  <a:pt x="7331488" y="3557728"/>
                </a:cubicBezTo>
                <a:cubicBezTo>
                  <a:pt x="7331488" y="3706001"/>
                  <a:pt x="7211458" y="3826031"/>
                  <a:pt x="7063185" y="3826031"/>
                </a:cubicBezTo>
                <a:cubicBezTo>
                  <a:pt x="6954066" y="3826031"/>
                  <a:pt x="6860994" y="3761202"/>
                  <a:pt x="6818631" y="3668130"/>
                </a:cubicBezTo>
                <a:cubicBezTo>
                  <a:pt x="6783328" y="3767621"/>
                  <a:pt x="6701809" y="3845287"/>
                  <a:pt x="6599751" y="3875455"/>
                </a:cubicBezTo>
                <a:cubicBezTo>
                  <a:pt x="6695391" y="3912684"/>
                  <a:pt x="6763429" y="4005114"/>
                  <a:pt x="6763429" y="4114233"/>
                </a:cubicBezTo>
                <a:cubicBezTo>
                  <a:pt x="6763429" y="4256087"/>
                  <a:pt x="6648534" y="4370982"/>
                  <a:pt x="6506680" y="4370982"/>
                </a:cubicBezTo>
                <a:cubicBezTo>
                  <a:pt x="6386008" y="4370982"/>
                  <a:pt x="6284591" y="4286897"/>
                  <a:pt x="6257633" y="4174569"/>
                </a:cubicBezTo>
                <a:cubicBezTo>
                  <a:pt x="6229390" y="4318991"/>
                  <a:pt x="6102299" y="4427467"/>
                  <a:pt x="5950176" y="4427467"/>
                </a:cubicBezTo>
                <a:cubicBezTo>
                  <a:pt x="5846833" y="4427467"/>
                  <a:pt x="5755045" y="4377401"/>
                  <a:pt x="5697918" y="4300376"/>
                </a:cubicBezTo>
                <a:cubicBezTo>
                  <a:pt x="5660047" y="4362638"/>
                  <a:pt x="5603563" y="4412063"/>
                  <a:pt x="5536166" y="4441589"/>
                </a:cubicBezTo>
                <a:cubicBezTo>
                  <a:pt x="5612549" y="4489729"/>
                  <a:pt x="5663899" y="4574457"/>
                  <a:pt x="5663899" y="4671380"/>
                </a:cubicBezTo>
                <a:cubicBezTo>
                  <a:pt x="5663899" y="4820294"/>
                  <a:pt x="5543226" y="4941609"/>
                  <a:pt x="5393671" y="4941609"/>
                </a:cubicBezTo>
                <a:cubicBezTo>
                  <a:pt x="5269788" y="4941609"/>
                  <a:pt x="5165804" y="4857523"/>
                  <a:pt x="5133711" y="4743911"/>
                </a:cubicBezTo>
                <a:cubicBezTo>
                  <a:pt x="5100975" y="4877421"/>
                  <a:pt x="4980303" y="4976270"/>
                  <a:pt x="4837165" y="4976270"/>
                </a:cubicBezTo>
                <a:cubicBezTo>
                  <a:pt x="4722911" y="4976270"/>
                  <a:pt x="4624063" y="4913366"/>
                  <a:pt x="4571430" y="4820936"/>
                </a:cubicBezTo>
                <a:cubicBezTo>
                  <a:pt x="4516871" y="4926204"/>
                  <a:pt x="4407109" y="4998093"/>
                  <a:pt x="4280660" y="4998093"/>
                </a:cubicBezTo>
                <a:cubicBezTo>
                  <a:pt x="4167048" y="4998093"/>
                  <a:pt x="4066274" y="4939683"/>
                  <a:pt x="4007863" y="4851105"/>
                </a:cubicBezTo>
                <a:cubicBezTo>
                  <a:pt x="3960364" y="4925562"/>
                  <a:pt x="3884623" y="4980121"/>
                  <a:pt x="3796045" y="4999377"/>
                </a:cubicBezTo>
                <a:cubicBezTo>
                  <a:pt x="3892968" y="5030187"/>
                  <a:pt x="3962932" y="5120692"/>
                  <a:pt x="3962932" y="5227885"/>
                </a:cubicBezTo>
                <a:cubicBezTo>
                  <a:pt x="3962932" y="5360111"/>
                  <a:pt x="3855739" y="5467304"/>
                  <a:pt x="3723513" y="5467304"/>
                </a:cubicBezTo>
                <a:cubicBezTo>
                  <a:pt x="3591287" y="5467304"/>
                  <a:pt x="3484094" y="5360111"/>
                  <a:pt x="3484094" y="5227885"/>
                </a:cubicBezTo>
                <a:cubicBezTo>
                  <a:pt x="3484094" y="5120692"/>
                  <a:pt x="3554058" y="5030187"/>
                  <a:pt x="3650981" y="4999377"/>
                </a:cubicBezTo>
                <a:cubicBezTo>
                  <a:pt x="3565612" y="4980763"/>
                  <a:pt x="3492438" y="4929413"/>
                  <a:pt x="3444939" y="4859449"/>
                </a:cubicBezTo>
                <a:cubicBezTo>
                  <a:pt x="3397441" y="4929413"/>
                  <a:pt x="3324267" y="4980763"/>
                  <a:pt x="3238898" y="4999377"/>
                </a:cubicBezTo>
                <a:cubicBezTo>
                  <a:pt x="3335821" y="5030187"/>
                  <a:pt x="3405785" y="5120692"/>
                  <a:pt x="3405785" y="5227885"/>
                </a:cubicBezTo>
                <a:cubicBezTo>
                  <a:pt x="3405785" y="5360111"/>
                  <a:pt x="3298592" y="5467304"/>
                  <a:pt x="3166366" y="5467304"/>
                </a:cubicBezTo>
                <a:cubicBezTo>
                  <a:pt x="3034140" y="5467304"/>
                  <a:pt x="2926947" y="5360111"/>
                  <a:pt x="2926947" y="5227885"/>
                </a:cubicBezTo>
                <a:cubicBezTo>
                  <a:pt x="2926947" y="5120692"/>
                  <a:pt x="2996911" y="5030187"/>
                  <a:pt x="3093834" y="4999377"/>
                </a:cubicBezTo>
                <a:cubicBezTo>
                  <a:pt x="3004614" y="4979480"/>
                  <a:pt x="2929514" y="4925562"/>
                  <a:pt x="2882016" y="4851105"/>
                </a:cubicBezTo>
                <a:cubicBezTo>
                  <a:pt x="2823605" y="4939683"/>
                  <a:pt x="2723473" y="4998093"/>
                  <a:pt x="2609219" y="4998093"/>
                </a:cubicBezTo>
                <a:cubicBezTo>
                  <a:pt x="2482770" y="4998093"/>
                  <a:pt x="2373009" y="4926204"/>
                  <a:pt x="2318450" y="4820936"/>
                </a:cubicBezTo>
                <a:cubicBezTo>
                  <a:pt x="2266458" y="4913366"/>
                  <a:pt x="2166968" y="4976270"/>
                  <a:pt x="2052714" y="4976270"/>
                </a:cubicBezTo>
                <a:cubicBezTo>
                  <a:pt x="1908934" y="4976270"/>
                  <a:pt x="1788904" y="4877421"/>
                  <a:pt x="1756168" y="4743911"/>
                </a:cubicBezTo>
                <a:cubicBezTo>
                  <a:pt x="1724716" y="4858165"/>
                  <a:pt x="1620091" y="4941609"/>
                  <a:pt x="1496209" y="4941609"/>
                </a:cubicBezTo>
                <a:cubicBezTo>
                  <a:pt x="1347294" y="4941609"/>
                  <a:pt x="1225980" y="4820936"/>
                  <a:pt x="1225980" y="4671380"/>
                </a:cubicBezTo>
                <a:cubicBezTo>
                  <a:pt x="1225980" y="4574457"/>
                  <a:pt x="1276688" y="4489087"/>
                  <a:pt x="1353713" y="4441589"/>
                </a:cubicBezTo>
                <a:cubicBezTo>
                  <a:pt x="1286316" y="4412063"/>
                  <a:pt x="1229831" y="4362638"/>
                  <a:pt x="1191961" y="4300376"/>
                </a:cubicBezTo>
                <a:cubicBezTo>
                  <a:pt x="1134834" y="4377401"/>
                  <a:pt x="1043046" y="4427467"/>
                  <a:pt x="939704" y="4427467"/>
                </a:cubicBezTo>
                <a:cubicBezTo>
                  <a:pt x="787580" y="4427467"/>
                  <a:pt x="660489" y="4318349"/>
                  <a:pt x="632246" y="4174569"/>
                </a:cubicBezTo>
                <a:cubicBezTo>
                  <a:pt x="605287" y="4287539"/>
                  <a:pt x="503871" y="4370982"/>
                  <a:pt x="383199" y="4370982"/>
                </a:cubicBezTo>
                <a:cubicBezTo>
                  <a:pt x="241345" y="4370982"/>
                  <a:pt x="126449" y="4256087"/>
                  <a:pt x="126449" y="4114233"/>
                </a:cubicBezTo>
                <a:cubicBezTo>
                  <a:pt x="126449" y="4005756"/>
                  <a:pt x="194488" y="3912684"/>
                  <a:pt x="290127" y="3875455"/>
                </a:cubicBezTo>
                <a:cubicBezTo>
                  <a:pt x="188711" y="3845929"/>
                  <a:pt x="107835" y="3769546"/>
                  <a:pt x="71890" y="3670698"/>
                </a:cubicBezTo>
                <a:cubicBezTo>
                  <a:pt x="55201" y="3706643"/>
                  <a:pt x="30168" y="3738736"/>
                  <a:pt x="0" y="3764411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340" name="Slide Number Placeholder 339">
            <a:extLst>
              <a:ext uri="{FF2B5EF4-FFF2-40B4-BE49-F238E27FC236}">
                <a16:creationId xmlns:a16="http://schemas.microsoft.com/office/drawing/2014/main" id="{05CED6C7-9660-41DF-B0AE-203005F87BB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C671CAD-EFA0-4FF6-B475-A267CC785C76}"/>
              </a:ext>
            </a:extLst>
          </p:cNvPr>
          <p:cNvCxnSpPr>
            <a:cxnSpLocks/>
          </p:cNvCxnSpPr>
          <p:nvPr userDrawn="1"/>
        </p:nvCxnSpPr>
        <p:spPr>
          <a:xfrm>
            <a:off x="10099675" y="470271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6812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8" pos="2547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4D375C42-C7F3-45E4-8897-3483B6DC53C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01854B5-E94C-49C5-B244-F57B3C38DA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497D9-9E7A-4BD1-8760-1A8BDF98D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C80A7-614C-4E07-81DE-C2E044B6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505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and Dot Scree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C854EB1-7CCC-45DE-AF0F-E195688CE36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575736" y="0"/>
            <a:ext cx="6616264" cy="6858000"/>
          </a:xfrm>
          <a:custGeom>
            <a:avLst/>
            <a:gdLst>
              <a:gd name="connsiteX0" fmla="*/ 56772 w 6616264"/>
              <a:gd name="connsiteY0" fmla="*/ 6855419 h 6858000"/>
              <a:gd name="connsiteX1" fmla="*/ 69029 w 6616264"/>
              <a:gd name="connsiteY1" fmla="*/ 6858000 h 6858000"/>
              <a:gd name="connsiteX2" fmla="*/ 44514 w 6616264"/>
              <a:gd name="connsiteY2" fmla="*/ 6858000 h 6858000"/>
              <a:gd name="connsiteX3" fmla="*/ 56772 w 6616264"/>
              <a:gd name="connsiteY3" fmla="*/ 6855419 h 6858000"/>
              <a:gd name="connsiteX4" fmla="*/ 629011 w 6616264"/>
              <a:gd name="connsiteY4" fmla="*/ 6807680 h 6858000"/>
              <a:gd name="connsiteX5" fmla="*/ 703848 w 6616264"/>
              <a:gd name="connsiteY5" fmla="*/ 6858000 h 6858000"/>
              <a:gd name="connsiteX6" fmla="*/ 554820 w 6616264"/>
              <a:gd name="connsiteY6" fmla="*/ 6858000 h 6858000"/>
              <a:gd name="connsiteX7" fmla="*/ 629011 w 6616264"/>
              <a:gd name="connsiteY7" fmla="*/ 6807680 h 6858000"/>
              <a:gd name="connsiteX8" fmla="*/ 1201250 w 6616264"/>
              <a:gd name="connsiteY8" fmla="*/ 6737359 h 6858000"/>
              <a:gd name="connsiteX9" fmla="*/ 1348988 w 6616264"/>
              <a:gd name="connsiteY9" fmla="*/ 6858000 h 6858000"/>
              <a:gd name="connsiteX10" fmla="*/ 1053513 w 6616264"/>
              <a:gd name="connsiteY10" fmla="*/ 6858000 h 6858000"/>
              <a:gd name="connsiteX11" fmla="*/ 1201250 w 6616264"/>
              <a:gd name="connsiteY11" fmla="*/ 6737359 h 6858000"/>
              <a:gd name="connsiteX12" fmla="*/ 56772 w 6616264"/>
              <a:gd name="connsiteY12" fmla="*/ 6273504 h 6858000"/>
              <a:gd name="connsiteX13" fmla="*/ 99350 w 6616264"/>
              <a:gd name="connsiteY13" fmla="*/ 6316083 h 6858000"/>
              <a:gd name="connsiteX14" fmla="*/ 56772 w 6616264"/>
              <a:gd name="connsiteY14" fmla="*/ 6358662 h 6858000"/>
              <a:gd name="connsiteX15" fmla="*/ 14192 w 6616264"/>
              <a:gd name="connsiteY15" fmla="*/ 6316083 h 6858000"/>
              <a:gd name="connsiteX16" fmla="*/ 56772 w 6616264"/>
              <a:gd name="connsiteY16" fmla="*/ 6273504 h 6858000"/>
              <a:gd name="connsiteX17" fmla="*/ 629011 w 6616264"/>
              <a:gd name="connsiteY17" fmla="*/ 6216086 h 6858000"/>
              <a:gd name="connsiteX18" fmla="*/ 729008 w 6616264"/>
              <a:gd name="connsiteY18" fmla="*/ 6316082 h 6858000"/>
              <a:gd name="connsiteX19" fmla="*/ 629011 w 6616264"/>
              <a:gd name="connsiteY19" fmla="*/ 6416080 h 6858000"/>
              <a:gd name="connsiteX20" fmla="*/ 529015 w 6616264"/>
              <a:gd name="connsiteY20" fmla="*/ 6316082 h 6858000"/>
              <a:gd name="connsiteX21" fmla="*/ 629011 w 6616264"/>
              <a:gd name="connsiteY21" fmla="*/ 6216086 h 6858000"/>
              <a:gd name="connsiteX22" fmla="*/ 1201251 w 6616264"/>
              <a:gd name="connsiteY22" fmla="*/ 6134799 h 6858000"/>
              <a:gd name="connsiteX23" fmla="*/ 1382536 w 6616264"/>
              <a:gd name="connsiteY23" fmla="*/ 6316083 h 6858000"/>
              <a:gd name="connsiteX24" fmla="*/ 1201251 w 6616264"/>
              <a:gd name="connsiteY24" fmla="*/ 6497367 h 6858000"/>
              <a:gd name="connsiteX25" fmla="*/ 1019967 w 6616264"/>
              <a:gd name="connsiteY25" fmla="*/ 6316083 h 6858000"/>
              <a:gd name="connsiteX26" fmla="*/ 1201251 w 6616264"/>
              <a:gd name="connsiteY26" fmla="*/ 6134799 h 6858000"/>
              <a:gd name="connsiteX27" fmla="*/ 56773 w 6616264"/>
              <a:gd name="connsiteY27" fmla="*/ 5692878 h 6858000"/>
              <a:gd name="connsiteX28" fmla="*/ 107738 w 6616264"/>
              <a:gd name="connsiteY28" fmla="*/ 5743844 h 6858000"/>
              <a:gd name="connsiteX29" fmla="*/ 56773 w 6616264"/>
              <a:gd name="connsiteY29" fmla="*/ 5794810 h 6858000"/>
              <a:gd name="connsiteX30" fmla="*/ 5806 w 6616264"/>
              <a:gd name="connsiteY30" fmla="*/ 5743844 h 6858000"/>
              <a:gd name="connsiteX31" fmla="*/ 56773 w 6616264"/>
              <a:gd name="connsiteY31" fmla="*/ 5692878 h 6858000"/>
              <a:gd name="connsiteX32" fmla="*/ 629011 w 6616264"/>
              <a:gd name="connsiteY32" fmla="*/ 5627718 h 6858000"/>
              <a:gd name="connsiteX33" fmla="*/ 744491 w 6616264"/>
              <a:gd name="connsiteY33" fmla="*/ 5743198 h 6858000"/>
              <a:gd name="connsiteX34" fmla="*/ 629011 w 6616264"/>
              <a:gd name="connsiteY34" fmla="*/ 5858678 h 6858000"/>
              <a:gd name="connsiteX35" fmla="*/ 513532 w 6616264"/>
              <a:gd name="connsiteY35" fmla="*/ 5743198 h 6858000"/>
              <a:gd name="connsiteX36" fmla="*/ 629011 w 6616264"/>
              <a:gd name="connsiteY36" fmla="*/ 5627718 h 6858000"/>
              <a:gd name="connsiteX37" fmla="*/ 1201250 w 6616264"/>
              <a:gd name="connsiteY37" fmla="*/ 5539979 h 6858000"/>
              <a:gd name="connsiteX38" fmla="*/ 1404470 w 6616264"/>
              <a:gd name="connsiteY38" fmla="*/ 5743198 h 6858000"/>
              <a:gd name="connsiteX39" fmla="*/ 1201250 w 6616264"/>
              <a:gd name="connsiteY39" fmla="*/ 5946418 h 6858000"/>
              <a:gd name="connsiteX40" fmla="*/ 998031 w 6616264"/>
              <a:gd name="connsiteY40" fmla="*/ 5743198 h 6858000"/>
              <a:gd name="connsiteX41" fmla="*/ 1201250 w 6616264"/>
              <a:gd name="connsiteY41" fmla="*/ 5539979 h 6858000"/>
              <a:gd name="connsiteX42" fmla="*/ 56772 w 6616264"/>
              <a:gd name="connsiteY42" fmla="*/ 5114187 h 6858000"/>
              <a:gd name="connsiteX43" fmla="*/ 113543 w 6616264"/>
              <a:gd name="connsiteY43" fmla="*/ 5170959 h 6858000"/>
              <a:gd name="connsiteX44" fmla="*/ 56772 w 6616264"/>
              <a:gd name="connsiteY44" fmla="*/ 5227731 h 6858000"/>
              <a:gd name="connsiteX45" fmla="*/ 0 w 6616264"/>
              <a:gd name="connsiteY45" fmla="*/ 5170959 h 6858000"/>
              <a:gd name="connsiteX46" fmla="*/ 56772 w 6616264"/>
              <a:gd name="connsiteY46" fmla="*/ 5114187 h 6858000"/>
              <a:gd name="connsiteX47" fmla="*/ 629011 w 6616264"/>
              <a:gd name="connsiteY47" fmla="*/ 5045802 h 6858000"/>
              <a:gd name="connsiteX48" fmla="*/ 754168 w 6616264"/>
              <a:gd name="connsiteY48" fmla="*/ 5170959 h 6858000"/>
              <a:gd name="connsiteX49" fmla="*/ 629011 w 6616264"/>
              <a:gd name="connsiteY49" fmla="*/ 5296116 h 6858000"/>
              <a:gd name="connsiteX50" fmla="*/ 503854 w 6616264"/>
              <a:gd name="connsiteY50" fmla="*/ 5170959 h 6858000"/>
              <a:gd name="connsiteX51" fmla="*/ 629011 w 6616264"/>
              <a:gd name="connsiteY51" fmla="*/ 5045802 h 6858000"/>
              <a:gd name="connsiteX52" fmla="*/ 1201250 w 6616264"/>
              <a:gd name="connsiteY52" fmla="*/ 4954191 h 6858000"/>
              <a:gd name="connsiteX53" fmla="*/ 1401022 w 6616264"/>
              <a:gd name="connsiteY53" fmla="*/ 5086465 h 6858000"/>
              <a:gd name="connsiteX54" fmla="*/ 1410074 w 6616264"/>
              <a:gd name="connsiteY54" fmla="*/ 5131469 h 6858000"/>
              <a:gd name="connsiteX55" fmla="*/ 1406404 w 6616264"/>
              <a:gd name="connsiteY55" fmla="*/ 5157373 h 6858000"/>
              <a:gd name="connsiteX56" fmla="*/ 1412511 w 6616264"/>
              <a:gd name="connsiteY56" fmla="*/ 5198248 h 6858000"/>
              <a:gd name="connsiteX57" fmla="*/ 1401022 w 6616264"/>
              <a:gd name="connsiteY57" fmla="*/ 5255179 h 6858000"/>
              <a:gd name="connsiteX58" fmla="*/ 1201250 w 6616264"/>
              <a:gd name="connsiteY58" fmla="*/ 5387726 h 6858000"/>
              <a:gd name="connsiteX59" fmla="*/ 984484 w 6616264"/>
              <a:gd name="connsiteY59" fmla="*/ 5170958 h 6858000"/>
              <a:gd name="connsiteX60" fmla="*/ 1201250 w 6616264"/>
              <a:gd name="connsiteY60" fmla="*/ 4954191 h 6858000"/>
              <a:gd name="connsiteX61" fmla="*/ 56772 w 6616264"/>
              <a:gd name="connsiteY61" fmla="*/ 4541947 h 6858000"/>
              <a:gd name="connsiteX62" fmla="*/ 113543 w 6616264"/>
              <a:gd name="connsiteY62" fmla="*/ 4598719 h 6858000"/>
              <a:gd name="connsiteX63" fmla="*/ 56772 w 6616264"/>
              <a:gd name="connsiteY63" fmla="*/ 4655491 h 6858000"/>
              <a:gd name="connsiteX64" fmla="*/ 0 w 6616264"/>
              <a:gd name="connsiteY64" fmla="*/ 4598719 h 6858000"/>
              <a:gd name="connsiteX65" fmla="*/ 56772 w 6616264"/>
              <a:gd name="connsiteY65" fmla="*/ 4541947 h 6858000"/>
              <a:gd name="connsiteX66" fmla="*/ 629011 w 6616264"/>
              <a:gd name="connsiteY66" fmla="*/ 4471627 h 6858000"/>
              <a:gd name="connsiteX67" fmla="*/ 756105 w 6616264"/>
              <a:gd name="connsiteY67" fmla="*/ 4598719 h 6858000"/>
              <a:gd name="connsiteX68" fmla="*/ 629011 w 6616264"/>
              <a:gd name="connsiteY68" fmla="*/ 4725813 h 6858000"/>
              <a:gd name="connsiteX69" fmla="*/ 501919 w 6616264"/>
              <a:gd name="connsiteY69" fmla="*/ 4598719 h 6858000"/>
              <a:gd name="connsiteX70" fmla="*/ 629011 w 6616264"/>
              <a:gd name="connsiteY70" fmla="*/ 4471627 h 6858000"/>
              <a:gd name="connsiteX71" fmla="*/ 1201250 w 6616264"/>
              <a:gd name="connsiteY71" fmla="*/ 4380017 h 6858000"/>
              <a:gd name="connsiteX72" fmla="*/ 1402746 w 6616264"/>
              <a:gd name="connsiteY72" fmla="*/ 4513652 h 6858000"/>
              <a:gd name="connsiteX73" fmla="*/ 1409763 w 6616264"/>
              <a:gd name="connsiteY73" fmla="*/ 4548337 h 6858000"/>
              <a:gd name="connsiteX74" fmla="*/ 1404469 w 6616264"/>
              <a:gd name="connsiteY74" fmla="*/ 4585133 h 6858000"/>
              <a:gd name="connsiteX75" fmla="*/ 1411993 w 6616264"/>
              <a:gd name="connsiteY75" fmla="*/ 4638075 h 6858000"/>
              <a:gd name="connsiteX76" fmla="*/ 1402746 w 6616264"/>
              <a:gd name="connsiteY76" fmla="*/ 4683788 h 6858000"/>
              <a:gd name="connsiteX77" fmla="*/ 1201250 w 6616264"/>
              <a:gd name="connsiteY77" fmla="*/ 4817423 h 6858000"/>
              <a:gd name="connsiteX78" fmla="*/ 982548 w 6616264"/>
              <a:gd name="connsiteY78" fmla="*/ 4598719 h 6858000"/>
              <a:gd name="connsiteX79" fmla="*/ 1201250 w 6616264"/>
              <a:gd name="connsiteY79" fmla="*/ 4380017 h 6858000"/>
              <a:gd name="connsiteX80" fmla="*/ 56772 w 6616264"/>
              <a:gd name="connsiteY80" fmla="*/ 3971644 h 6858000"/>
              <a:gd name="connsiteX81" fmla="*/ 111609 w 6616264"/>
              <a:gd name="connsiteY81" fmla="*/ 4026481 h 6858000"/>
              <a:gd name="connsiteX82" fmla="*/ 56772 w 6616264"/>
              <a:gd name="connsiteY82" fmla="*/ 4081318 h 6858000"/>
              <a:gd name="connsiteX83" fmla="*/ 1935 w 6616264"/>
              <a:gd name="connsiteY83" fmla="*/ 4026481 h 6858000"/>
              <a:gd name="connsiteX84" fmla="*/ 56772 w 6616264"/>
              <a:gd name="connsiteY84" fmla="*/ 3971644 h 6858000"/>
              <a:gd name="connsiteX85" fmla="*/ 629011 w 6616264"/>
              <a:gd name="connsiteY85" fmla="*/ 3905839 h 6858000"/>
              <a:gd name="connsiteX86" fmla="*/ 749008 w 6616264"/>
              <a:gd name="connsiteY86" fmla="*/ 4025835 h 6858000"/>
              <a:gd name="connsiteX87" fmla="*/ 629011 w 6616264"/>
              <a:gd name="connsiteY87" fmla="*/ 4145832 h 6858000"/>
              <a:gd name="connsiteX88" fmla="*/ 509015 w 6616264"/>
              <a:gd name="connsiteY88" fmla="*/ 4025835 h 6858000"/>
              <a:gd name="connsiteX89" fmla="*/ 629011 w 6616264"/>
              <a:gd name="connsiteY89" fmla="*/ 3905839 h 6858000"/>
              <a:gd name="connsiteX90" fmla="*/ 1203892 w 6616264"/>
              <a:gd name="connsiteY90" fmla="*/ 3814492 h 6858000"/>
              <a:gd name="connsiteX91" fmla="*/ 1409012 w 6616264"/>
              <a:gd name="connsiteY91" fmla="*/ 3986118 h 6858000"/>
              <a:gd name="connsiteX92" fmla="*/ 1241229 w 6616264"/>
              <a:gd name="connsiteY92" fmla="*/ 4233929 h 6858000"/>
              <a:gd name="connsiteX93" fmla="*/ 993420 w 6616264"/>
              <a:gd name="connsiteY93" fmla="*/ 4066147 h 6858000"/>
              <a:gd name="connsiteX94" fmla="*/ 1161200 w 6616264"/>
              <a:gd name="connsiteY94" fmla="*/ 3818335 h 6858000"/>
              <a:gd name="connsiteX95" fmla="*/ 1203892 w 6616264"/>
              <a:gd name="connsiteY95" fmla="*/ 3814492 h 6858000"/>
              <a:gd name="connsiteX96" fmla="*/ 56773 w 6616264"/>
              <a:gd name="connsiteY96" fmla="*/ 3404566 h 6858000"/>
              <a:gd name="connsiteX97" fmla="*/ 105802 w 6616264"/>
              <a:gd name="connsiteY97" fmla="*/ 3453597 h 6858000"/>
              <a:gd name="connsiteX98" fmla="*/ 56773 w 6616264"/>
              <a:gd name="connsiteY98" fmla="*/ 3502626 h 6858000"/>
              <a:gd name="connsiteX99" fmla="*/ 7742 w 6616264"/>
              <a:gd name="connsiteY99" fmla="*/ 3453597 h 6858000"/>
              <a:gd name="connsiteX100" fmla="*/ 56773 w 6616264"/>
              <a:gd name="connsiteY100" fmla="*/ 3404566 h 6858000"/>
              <a:gd name="connsiteX101" fmla="*/ 629011 w 6616264"/>
              <a:gd name="connsiteY101" fmla="*/ 3346503 h 6858000"/>
              <a:gd name="connsiteX102" fmla="*/ 736105 w 6616264"/>
              <a:gd name="connsiteY102" fmla="*/ 3453597 h 6858000"/>
              <a:gd name="connsiteX103" fmla="*/ 629011 w 6616264"/>
              <a:gd name="connsiteY103" fmla="*/ 3560690 h 6858000"/>
              <a:gd name="connsiteX104" fmla="*/ 521918 w 6616264"/>
              <a:gd name="connsiteY104" fmla="*/ 3453597 h 6858000"/>
              <a:gd name="connsiteX105" fmla="*/ 629011 w 6616264"/>
              <a:gd name="connsiteY105" fmla="*/ 3346503 h 6858000"/>
              <a:gd name="connsiteX106" fmla="*/ 1202686 w 6616264"/>
              <a:gd name="connsiteY106" fmla="*/ 3262069 h 6858000"/>
              <a:gd name="connsiteX107" fmla="*/ 1378371 w 6616264"/>
              <a:gd name="connsiteY107" fmla="*/ 3380399 h 6858000"/>
              <a:gd name="connsiteX108" fmla="*/ 1274673 w 6616264"/>
              <a:gd name="connsiteY108" fmla="*/ 3630752 h 6858000"/>
              <a:gd name="connsiteX109" fmla="*/ 1024320 w 6616264"/>
              <a:gd name="connsiteY109" fmla="*/ 3527054 h 6858000"/>
              <a:gd name="connsiteX110" fmla="*/ 1128017 w 6616264"/>
              <a:gd name="connsiteY110" fmla="*/ 3276701 h 6858000"/>
              <a:gd name="connsiteX111" fmla="*/ 1202686 w 6616264"/>
              <a:gd name="connsiteY111" fmla="*/ 3262069 h 6858000"/>
              <a:gd name="connsiteX112" fmla="*/ 56772 w 6616264"/>
              <a:gd name="connsiteY112" fmla="*/ 2842649 h 6858000"/>
              <a:gd name="connsiteX113" fmla="*/ 95481 w 6616264"/>
              <a:gd name="connsiteY113" fmla="*/ 2881357 h 6858000"/>
              <a:gd name="connsiteX114" fmla="*/ 56772 w 6616264"/>
              <a:gd name="connsiteY114" fmla="*/ 2920066 h 6858000"/>
              <a:gd name="connsiteX115" fmla="*/ 18064 w 6616264"/>
              <a:gd name="connsiteY115" fmla="*/ 2881357 h 6858000"/>
              <a:gd name="connsiteX116" fmla="*/ 56772 w 6616264"/>
              <a:gd name="connsiteY116" fmla="*/ 2842649 h 6858000"/>
              <a:gd name="connsiteX117" fmla="*/ 629011 w 6616264"/>
              <a:gd name="connsiteY117" fmla="*/ 2794263 h 6858000"/>
              <a:gd name="connsiteX118" fmla="*/ 716105 w 6616264"/>
              <a:gd name="connsiteY118" fmla="*/ 2881357 h 6858000"/>
              <a:gd name="connsiteX119" fmla="*/ 629011 w 6616264"/>
              <a:gd name="connsiteY119" fmla="*/ 2968450 h 6858000"/>
              <a:gd name="connsiteX120" fmla="*/ 541918 w 6616264"/>
              <a:gd name="connsiteY120" fmla="*/ 2881357 h 6858000"/>
              <a:gd name="connsiteX121" fmla="*/ 629011 w 6616264"/>
              <a:gd name="connsiteY121" fmla="*/ 2794263 h 6858000"/>
              <a:gd name="connsiteX122" fmla="*/ 1201251 w 6616264"/>
              <a:gd name="connsiteY122" fmla="*/ 2715555 h 6858000"/>
              <a:gd name="connsiteX123" fmla="*/ 1367053 w 6616264"/>
              <a:gd name="connsiteY123" fmla="*/ 2881357 h 6858000"/>
              <a:gd name="connsiteX124" fmla="*/ 1201251 w 6616264"/>
              <a:gd name="connsiteY124" fmla="*/ 3047158 h 6858000"/>
              <a:gd name="connsiteX125" fmla="*/ 1035450 w 6616264"/>
              <a:gd name="connsiteY125" fmla="*/ 2881357 h 6858000"/>
              <a:gd name="connsiteX126" fmla="*/ 1201251 w 6616264"/>
              <a:gd name="connsiteY126" fmla="*/ 2715555 h 6858000"/>
              <a:gd name="connsiteX127" fmla="*/ 629011 w 6616264"/>
              <a:gd name="connsiteY127" fmla="*/ 2240732 h 6858000"/>
              <a:gd name="connsiteX128" fmla="*/ 696752 w 6616264"/>
              <a:gd name="connsiteY128" fmla="*/ 2308473 h 6858000"/>
              <a:gd name="connsiteX129" fmla="*/ 629011 w 6616264"/>
              <a:gd name="connsiteY129" fmla="*/ 2376214 h 6858000"/>
              <a:gd name="connsiteX130" fmla="*/ 561272 w 6616264"/>
              <a:gd name="connsiteY130" fmla="*/ 2308473 h 6858000"/>
              <a:gd name="connsiteX131" fmla="*/ 629011 w 6616264"/>
              <a:gd name="connsiteY131" fmla="*/ 2240732 h 6858000"/>
              <a:gd name="connsiteX132" fmla="*/ 1201250 w 6616264"/>
              <a:gd name="connsiteY132" fmla="*/ 2176227 h 6858000"/>
              <a:gd name="connsiteX133" fmla="*/ 1333504 w 6616264"/>
              <a:gd name="connsiteY133" fmla="*/ 2308479 h 6858000"/>
              <a:gd name="connsiteX134" fmla="*/ 1201250 w 6616264"/>
              <a:gd name="connsiteY134" fmla="*/ 2440726 h 6858000"/>
              <a:gd name="connsiteX135" fmla="*/ 1068997 w 6616264"/>
              <a:gd name="connsiteY135" fmla="*/ 2308479 h 6858000"/>
              <a:gd name="connsiteX136" fmla="*/ 1201250 w 6616264"/>
              <a:gd name="connsiteY136" fmla="*/ 2176227 h 6858000"/>
              <a:gd name="connsiteX137" fmla="*/ 1773490 w 6616264"/>
              <a:gd name="connsiteY137" fmla="*/ 2088481 h 6858000"/>
              <a:gd name="connsiteX138" fmla="*/ 1976166 w 6616264"/>
              <a:gd name="connsiteY138" fmla="*/ 2222935 h 6858000"/>
              <a:gd name="connsiteX139" fmla="*/ 1987399 w 6616264"/>
              <a:gd name="connsiteY139" fmla="*/ 2278426 h 6858000"/>
              <a:gd name="connsiteX140" fmla="*/ 1985740 w 6616264"/>
              <a:gd name="connsiteY140" fmla="*/ 2294890 h 6858000"/>
              <a:gd name="connsiteX141" fmla="*/ 1989817 w 6616264"/>
              <a:gd name="connsiteY141" fmla="*/ 2326586 h 6858000"/>
              <a:gd name="connsiteX142" fmla="*/ 1976166 w 6616264"/>
              <a:gd name="connsiteY142" fmla="*/ 2394018 h 6858000"/>
              <a:gd name="connsiteX143" fmla="*/ 1773490 w 6616264"/>
              <a:gd name="connsiteY143" fmla="*/ 2528464 h 6858000"/>
              <a:gd name="connsiteX144" fmla="*/ 1553498 w 6616264"/>
              <a:gd name="connsiteY144" fmla="*/ 2308473 h 6858000"/>
              <a:gd name="connsiteX145" fmla="*/ 1773490 w 6616264"/>
              <a:gd name="connsiteY145" fmla="*/ 2088481 h 6858000"/>
              <a:gd name="connsiteX146" fmla="*/ 629011 w 6616264"/>
              <a:gd name="connsiteY146" fmla="*/ 1688493 h 6858000"/>
              <a:gd name="connsiteX147" fmla="*/ 676752 w 6616264"/>
              <a:gd name="connsiteY147" fmla="*/ 1736234 h 6858000"/>
              <a:gd name="connsiteX148" fmla="*/ 629011 w 6616264"/>
              <a:gd name="connsiteY148" fmla="*/ 1783975 h 6858000"/>
              <a:gd name="connsiteX149" fmla="*/ 581271 w 6616264"/>
              <a:gd name="connsiteY149" fmla="*/ 1736234 h 6858000"/>
              <a:gd name="connsiteX150" fmla="*/ 629011 w 6616264"/>
              <a:gd name="connsiteY150" fmla="*/ 1688493 h 6858000"/>
              <a:gd name="connsiteX151" fmla="*/ 1201250 w 6616264"/>
              <a:gd name="connsiteY151" fmla="*/ 1639465 h 6858000"/>
              <a:gd name="connsiteX152" fmla="*/ 1298022 w 6616264"/>
              <a:gd name="connsiteY152" fmla="*/ 1736237 h 6858000"/>
              <a:gd name="connsiteX153" fmla="*/ 1201250 w 6616264"/>
              <a:gd name="connsiteY153" fmla="*/ 1833008 h 6858000"/>
              <a:gd name="connsiteX154" fmla="*/ 1104480 w 6616264"/>
              <a:gd name="connsiteY154" fmla="*/ 1736237 h 6858000"/>
              <a:gd name="connsiteX155" fmla="*/ 1201250 w 6616264"/>
              <a:gd name="connsiteY155" fmla="*/ 1639465 h 6858000"/>
              <a:gd name="connsiteX156" fmla="*/ 1741933 w 6616264"/>
              <a:gd name="connsiteY156" fmla="*/ 1572389 h 6858000"/>
              <a:gd name="connsiteX157" fmla="*/ 1937614 w 6616264"/>
              <a:gd name="connsiteY157" fmla="*/ 1704875 h 6858000"/>
              <a:gd name="connsiteX158" fmla="*/ 1805127 w 6616264"/>
              <a:gd name="connsiteY158" fmla="*/ 1900555 h 6858000"/>
              <a:gd name="connsiteX159" fmla="*/ 1609447 w 6616264"/>
              <a:gd name="connsiteY159" fmla="*/ 1768068 h 6858000"/>
              <a:gd name="connsiteX160" fmla="*/ 1741933 w 6616264"/>
              <a:gd name="connsiteY160" fmla="*/ 1572389 h 6858000"/>
              <a:gd name="connsiteX161" fmla="*/ 1189474 w 6616264"/>
              <a:gd name="connsiteY161" fmla="*/ 1102707 h 6858000"/>
              <a:gd name="connsiteX162" fmla="*/ 1262761 w 6616264"/>
              <a:gd name="connsiteY162" fmla="*/ 1152327 h 6858000"/>
              <a:gd name="connsiteX163" fmla="*/ 1213141 w 6616264"/>
              <a:gd name="connsiteY163" fmla="*/ 1225613 h 6858000"/>
              <a:gd name="connsiteX164" fmla="*/ 1139856 w 6616264"/>
              <a:gd name="connsiteY164" fmla="*/ 1175994 h 6858000"/>
              <a:gd name="connsiteX165" fmla="*/ 1189474 w 6616264"/>
              <a:gd name="connsiteY165" fmla="*/ 1102707 h 6858000"/>
              <a:gd name="connsiteX166" fmla="*/ 1773490 w 6616264"/>
              <a:gd name="connsiteY166" fmla="*/ 1043355 h 6858000"/>
              <a:gd name="connsiteX167" fmla="*/ 1894132 w 6616264"/>
              <a:gd name="connsiteY167" fmla="*/ 1163996 h 6858000"/>
              <a:gd name="connsiteX168" fmla="*/ 1773490 w 6616264"/>
              <a:gd name="connsiteY168" fmla="*/ 1284638 h 6858000"/>
              <a:gd name="connsiteX169" fmla="*/ 1652849 w 6616264"/>
              <a:gd name="connsiteY169" fmla="*/ 1163996 h 6858000"/>
              <a:gd name="connsiteX170" fmla="*/ 1773490 w 6616264"/>
              <a:gd name="connsiteY170" fmla="*/ 1043355 h 6858000"/>
              <a:gd name="connsiteX171" fmla="*/ 2346375 w 6616264"/>
              <a:gd name="connsiteY171" fmla="*/ 973034 h 6858000"/>
              <a:gd name="connsiteX172" fmla="*/ 2537335 w 6616264"/>
              <a:gd name="connsiteY172" fmla="*/ 1163996 h 6858000"/>
              <a:gd name="connsiteX173" fmla="*/ 2346375 w 6616264"/>
              <a:gd name="connsiteY173" fmla="*/ 1354957 h 6858000"/>
              <a:gd name="connsiteX174" fmla="*/ 2155413 w 6616264"/>
              <a:gd name="connsiteY174" fmla="*/ 1163996 h 6858000"/>
              <a:gd name="connsiteX175" fmla="*/ 2346375 w 6616264"/>
              <a:gd name="connsiteY175" fmla="*/ 973034 h 6858000"/>
              <a:gd name="connsiteX176" fmla="*/ 1201251 w 6616264"/>
              <a:gd name="connsiteY176" fmla="*/ 554986 h 6858000"/>
              <a:gd name="connsiteX177" fmla="*/ 1238024 w 6616264"/>
              <a:gd name="connsiteY177" fmla="*/ 591758 h 6858000"/>
              <a:gd name="connsiteX178" fmla="*/ 1201251 w 6616264"/>
              <a:gd name="connsiteY178" fmla="*/ 628531 h 6858000"/>
              <a:gd name="connsiteX179" fmla="*/ 1164478 w 6616264"/>
              <a:gd name="connsiteY179" fmla="*/ 591758 h 6858000"/>
              <a:gd name="connsiteX180" fmla="*/ 1201251 w 6616264"/>
              <a:gd name="connsiteY180" fmla="*/ 554986 h 6858000"/>
              <a:gd name="connsiteX181" fmla="*/ 1773490 w 6616264"/>
              <a:gd name="connsiteY181" fmla="*/ 516275 h 6858000"/>
              <a:gd name="connsiteX182" fmla="*/ 1848972 w 6616264"/>
              <a:gd name="connsiteY182" fmla="*/ 591757 h 6858000"/>
              <a:gd name="connsiteX183" fmla="*/ 1773490 w 6616264"/>
              <a:gd name="connsiteY183" fmla="*/ 667238 h 6858000"/>
              <a:gd name="connsiteX184" fmla="*/ 1698009 w 6616264"/>
              <a:gd name="connsiteY184" fmla="*/ 591757 h 6858000"/>
              <a:gd name="connsiteX185" fmla="*/ 1773490 w 6616264"/>
              <a:gd name="connsiteY185" fmla="*/ 516275 h 6858000"/>
              <a:gd name="connsiteX186" fmla="*/ 2346375 w 6616264"/>
              <a:gd name="connsiteY186" fmla="*/ 462084 h 6858000"/>
              <a:gd name="connsiteX187" fmla="*/ 2476048 w 6616264"/>
              <a:gd name="connsiteY187" fmla="*/ 591757 h 6858000"/>
              <a:gd name="connsiteX188" fmla="*/ 2346375 w 6616264"/>
              <a:gd name="connsiteY188" fmla="*/ 721429 h 6858000"/>
              <a:gd name="connsiteX189" fmla="*/ 2216701 w 6616264"/>
              <a:gd name="connsiteY189" fmla="*/ 591757 h 6858000"/>
              <a:gd name="connsiteX190" fmla="*/ 2346375 w 6616264"/>
              <a:gd name="connsiteY190" fmla="*/ 462084 h 6858000"/>
              <a:gd name="connsiteX191" fmla="*/ 2918614 w 6616264"/>
              <a:gd name="connsiteY191" fmla="*/ 395638 h 6858000"/>
              <a:gd name="connsiteX192" fmla="*/ 3114092 w 6616264"/>
              <a:gd name="connsiteY192" fmla="*/ 591115 h 6858000"/>
              <a:gd name="connsiteX193" fmla="*/ 2918614 w 6616264"/>
              <a:gd name="connsiteY193" fmla="*/ 786593 h 6858000"/>
              <a:gd name="connsiteX194" fmla="*/ 2723137 w 6616264"/>
              <a:gd name="connsiteY194" fmla="*/ 591115 h 6858000"/>
              <a:gd name="connsiteX195" fmla="*/ 2918614 w 6616264"/>
              <a:gd name="connsiteY195" fmla="*/ 395638 h 6858000"/>
              <a:gd name="connsiteX196" fmla="*/ 4310582 w 6616264"/>
              <a:gd name="connsiteY196" fmla="*/ 0 h 6858000"/>
              <a:gd name="connsiteX197" fmla="*/ 6616264 w 6616264"/>
              <a:gd name="connsiteY197" fmla="*/ 0 h 6858000"/>
              <a:gd name="connsiteX198" fmla="*/ 6616264 w 6616264"/>
              <a:gd name="connsiteY198" fmla="*/ 6845058 h 6858000"/>
              <a:gd name="connsiteX199" fmla="*/ 1487047 w 6616264"/>
              <a:gd name="connsiteY199" fmla="*/ 6845058 h 6858000"/>
              <a:gd name="connsiteX200" fmla="*/ 1727039 w 6616264"/>
              <a:gd name="connsiteY200" fmla="*/ 6632807 h 6858000"/>
              <a:gd name="connsiteX201" fmla="*/ 1965741 w 6616264"/>
              <a:gd name="connsiteY201" fmla="*/ 6834091 h 6858000"/>
              <a:gd name="connsiteX202" fmla="*/ 2090254 w 6616264"/>
              <a:gd name="connsiteY202" fmla="*/ 6611518 h 6858000"/>
              <a:gd name="connsiteX203" fmla="*/ 1960580 w 6616264"/>
              <a:gd name="connsiteY203" fmla="*/ 6459265 h 6858000"/>
              <a:gd name="connsiteX204" fmla="*/ 1727039 w 6616264"/>
              <a:gd name="connsiteY204" fmla="*/ 6583777 h 6858000"/>
              <a:gd name="connsiteX205" fmla="*/ 1445758 w 6616264"/>
              <a:gd name="connsiteY205" fmla="*/ 6302496 h 6858000"/>
              <a:gd name="connsiteX206" fmla="*/ 1658654 w 6616264"/>
              <a:gd name="connsiteY206" fmla="*/ 6029602 h 6858000"/>
              <a:gd name="connsiteX207" fmla="*/ 1419307 w 6616264"/>
              <a:gd name="connsiteY207" fmla="*/ 5729611 h 6858000"/>
              <a:gd name="connsiteX208" fmla="*/ 1598012 w 6616264"/>
              <a:gd name="connsiteY208" fmla="*/ 5450911 h 6858000"/>
              <a:gd name="connsiteX209" fmla="*/ 1420467 w 6616264"/>
              <a:gd name="connsiteY209" fmla="*/ 5251502 h 6858000"/>
              <a:gd name="connsiteX210" fmla="*/ 1412511 w 6616264"/>
              <a:gd name="connsiteY210" fmla="*/ 5198248 h 6858000"/>
              <a:gd name="connsiteX211" fmla="*/ 1418018 w 6616264"/>
              <a:gd name="connsiteY211" fmla="*/ 5170958 h 6858000"/>
              <a:gd name="connsiteX212" fmla="*/ 1410074 w 6616264"/>
              <a:gd name="connsiteY212" fmla="*/ 5131469 h 6858000"/>
              <a:gd name="connsiteX213" fmla="*/ 1419106 w 6616264"/>
              <a:gd name="connsiteY213" fmla="*/ 5067728 h 6858000"/>
              <a:gd name="connsiteX214" fmla="*/ 1580592 w 6616264"/>
              <a:gd name="connsiteY214" fmla="*/ 4872220 h 6858000"/>
              <a:gd name="connsiteX215" fmla="*/ 1417291 w 6616264"/>
              <a:gd name="connsiteY215" fmla="*/ 4675352 h 6858000"/>
              <a:gd name="connsiteX216" fmla="*/ 1411993 w 6616264"/>
              <a:gd name="connsiteY216" fmla="*/ 4638075 h 6858000"/>
              <a:gd name="connsiteX217" fmla="*/ 1419954 w 6616264"/>
              <a:gd name="connsiteY217" fmla="*/ 4598719 h 6858000"/>
              <a:gd name="connsiteX218" fmla="*/ 1409763 w 6616264"/>
              <a:gd name="connsiteY218" fmla="*/ 4548337 h 6858000"/>
              <a:gd name="connsiteX219" fmla="*/ 1417623 w 6616264"/>
              <a:gd name="connsiteY219" fmla="*/ 4493695 h 6858000"/>
              <a:gd name="connsiteX220" fmla="*/ 1584463 w 6616264"/>
              <a:gd name="connsiteY220" fmla="*/ 4295465 h 6858000"/>
              <a:gd name="connsiteX221" fmla="*/ 1410276 w 6616264"/>
              <a:gd name="connsiteY221" fmla="*/ 4012249 h 6858000"/>
              <a:gd name="connsiteX222" fmla="*/ 1619945 w 6616264"/>
              <a:gd name="connsiteY222" fmla="*/ 3714194 h 6858000"/>
              <a:gd name="connsiteX223" fmla="*/ 1432210 w 6616264"/>
              <a:gd name="connsiteY223" fmla="*/ 3440009 h 6858000"/>
              <a:gd name="connsiteX224" fmla="*/ 1727039 w 6616264"/>
              <a:gd name="connsiteY224" fmla="*/ 3145180 h 6858000"/>
              <a:gd name="connsiteX225" fmla="*/ 1959290 w 6616264"/>
              <a:gd name="connsiteY225" fmla="*/ 3259370 h 6858000"/>
              <a:gd name="connsiteX226" fmla="*/ 2066382 w 6616264"/>
              <a:gd name="connsiteY226" fmla="*/ 3133568 h 6858000"/>
              <a:gd name="connsiteX227" fmla="*/ 1963805 w 6616264"/>
              <a:gd name="connsiteY227" fmla="*/ 2980025 h 6858000"/>
              <a:gd name="connsiteX228" fmla="*/ 1726393 w 6616264"/>
              <a:gd name="connsiteY228" fmla="*/ 3129696 h 6858000"/>
              <a:gd name="connsiteX229" fmla="*/ 1463822 w 6616264"/>
              <a:gd name="connsiteY229" fmla="*/ 2867125 h 6858000"/>
              <a:gd name="connsiteX230" fmla="*/ 1726393 w 6616264"/>
              <a:gd name="connsiteY230" fmla="*/ 2604553 h 6858000"/>
              <a:gd name="connsiteX231" fmla="*/ 1963805 w 6616264"/>
              <a:gd name="connsiteY231" fmla="*/ 2754226 h 6858000"/>
              <a:gd name="connsiteX232" fmla="*/ 2128316 w 6616264"/>
              <a:gd name="connsiteY232" fmla="*/ 2557458 h 6858000"/>
              <a:gd name="connsiteX233" fmla="*/ 1995952 w 6616264"/>
              <a:gd name="connsiteY233" fmla="*/ 2374289 h 6858000"/>
              <a:gd name="connsiteX234" fmla="*/ 1989817 w 6616264"/>
              <a:gd name="connsiteY234" fmla="*/ 2326586 h 6858000"/>
              <a:gd name="connsiteX235" fmla="*/ 1993483 w 6616264"/>
              <a:gd name="connsiteY235" fmla="*/ 2308473 h 6858000"/>
              <a:gd name="connsiteX236" fmla="*/ 1987399 w 6616264"/>
              <a:gd name="connsiteY236" fmla="*/ 2278426 h 6858000"/>
              <a:gd name="connsiteX237" fmla="*/ 1992121 w 6616264"/>
              <a:gd name="connsiteY237" fmla="*/ 2231592 h 6858000"/>
              <a:gd name="connsiteX238" fmla="*/ 2299279 w 6616264"/>
              <a:gd name="connsiteY238" fmla="*/ 1981352 h 6858000"/>
              <a:gd name="connsiteX239" fmla="*/ 2538626 w 6616264"/>
              <a:gd name="connsiteY239" fmla="*/ 2092962 h 6858000"/>
              <a:gd name="connsiteX240" fmla="*/ 2647654 w 6616264"/>
              <a:gd name="connsiteY240" fmla="*/ 1976190 h 6858000"/>
              <a:gd name="connsiteX241" fmla="*/ 2542496 w 6616264"/>
              <a:gd name="connsiteY241" fmla="*/ 1803293 h 6858000"/>
              <a:gd name="connsiteX242" fmla="*/ 2298633 w 6616264"/>
              <a:gd name="connsiteY242" fmla="*/ 1979417 h 6858000"/>
              <a:gd name="connsiteX243" fmla="*/ 2041223 w 6616264"/>
              <a:gd name="connsiteY243" fmla="*/ 1722003 h 6858000"/>
              <a:gd name="connsiteX244" fmla="*/ 2298633 w 6616264"/>
              <a:gd name="connsiteY244" fmla="*/ 1464593 h 6858000"/>
              <a:gd name="connsiteX245" fmla="*/ 2542496 w 6616264"/>
              <a:gd name="connsiteY245" fmla="*/ 1640718 h 6858000"/>
              <a:gd name="connsiteX246" fmla="*/ 2760554 w 6616264"/>
              <a:gd name="connsiteY246" fmla="*/ 1402016 h 6858000"/>
              <a:gd name="connsiteX247" fmla="*/ 2595399 w 6616264"/>
              <a:gd name="connsiteY247" fmla="*/ 1149118 h 6858000"/>
              <a:gd name="connsiteX248" fmla="*/ 2871517 w 6616264"/>
              <a:gd name="connsiteY248" fmla="*/ 872997 h 6858000"/>
              <a:gd name="connsiteX249" fmla="*/ 3123122 w 6616264"/>
              <a:gd name="connsiteY249" fmla="*/ 1035574 h 6858000"/>
              <a:gd name="connsiteX250" fmla="*/ 3348276 w 6616264"/>
              <a:gd name="connsiteY250" fmla="*/ 822035 h 6858000"/>
              <a:gd name="connsiteX251" fmla="*/ 3179894 w 6616264"/>
              <a:gd name="connsiteY251" fmla="*/ 576235 h 6858000"/>
              <a:gd name="connsiteX252" fmla="*/ 3443756 w 6616264"/>
              <a:gd name="connsiteY252" fmla="*/ 312373 h 6858000"/>
              <a:gd name="connsiteX253" fmla="*/ 3699877 w 6616264"/>
              <a:gd name="connsiteY253" fmla="*/ 514303 h 6858000"/>
              <a:gd name="connsiteX254" fmla="*/ 4015996 w 6616264"/>
              <a:gd name="connsiteY254" fmla="*/ 254311 h 6858000"/>
              <a:gd name="connsiteX255" fmla="*/ 4275343 w 6616264"/>
              <a:gd name="connsiteY255" fmla="*/ 385274 h 6858000"/>
              <a:gd name="connsiteX256" fmla="*/ 4441788 w 6616264"/>
              <a:gd name="connsiteY256" fmla="*/ 240118 h 6858000"/>
              <a:gd name="connsiteX257" fmla="*/ 4310179 w 6616264"/>
              <a:gd name="connsiteY257" fmla="*/ 3997 h 6858000"/>
              <a:gd name="connsiteX258" fmla="*/ 3836709 w 6616264"/>
              <a:gd name="connsiteY258" fmla="*/ 0 h 6858000"/>
              <a:gd name="connsiteX259" fmla="*/ 4290765 w 6616264"/>
              <a:gd name="connsiteY259" fmla="*/ 0 h 6858000"/>
              <a:gd name="connsiteX260" fmla="*/ 4294697 w 6616264"/>
              <a:gd name="connsiteY260" fmla="*/ 19521 h 6858000"/>
              <a:gd name="connsiteX261" fmla="*/ 4063738 w 6616264"/>
              <a:gd name="connsiteY261" fmla="*/ 250481 h 6858000"/>
              <a:gd name="connsiteX262" fmla="*/ 3832777 w 6616264"/>
              <a:gd name="connsiteY262" fmla="*/ 19521 h 6858000"/>
              <a:gd name="connsiteX263" fmla="*/ 3315960 w 6616264"/>
              <a:gd name="connsiteY263" fmla="*/ 0 h 6858000"/>
              <a:gd name="connsiteX264" fmla="*/ 3665746 w 6616264"/>
              <a:gd name="connsiteY264" fmla="*/ 0 h 6858000"/>
              <a:gd name="connsiteX265" fmla="*/ 3669557 w 6616264"/>
              <a:gd name="connsiteY265" fmla="*/ 18877 h 6858000"/>
              <a:gd name="connsiteX266" fmla="*/ 3490853 w 6616264"/>
              <a:gd name="connsiteY266" fmla="*/ 197580 h 6858000"/>
              <a:gd name="connsiteX267" fmla="*/ 3312149 w 6616264"/>
              <a:gd name="connsiteY267" fmla="*/ 18877 h 6858000"/>
              <a:gd name="connsiteX268" fmla="*/ 2797406 w 6616264"/>
              <a:gd name="connsiteY268" fmla="*/ 0 h 6858000"/>
              <a:gd name="connsiteX269" fmla="*/ 3039822 w 6616264"/>
              <a:gd name="connsiteY269" fmla="*/ 0 h 6858000"/>
              <a:gd name="connsiteX270" fmla="*/ 3043771 w 6616264"/>
              <a:gd name="connsiteY270" fmla="*/ 19521 h 6858000"/>
              <a:gd name="connsiteX271" fmla="*/ 2918614 w 6616264"/>
              <a:gd name="connsiteY271" fmla="*/ 144678 h 6858000"/>
              <a:gd name="connsiteX272" fmla="*/ 2793456 w 6616264"/>
              <a:gd name="connsiteY272" fmla="*/ 19521 h 6858000"/>
              <a:gd name="connsiteX273" fmla="*/ 2274893 w 6616264"/>
              <a:gd name="connsiteY273" fmla="*/ 0 h 6858000"/>
              <a:gd name="connsiteX274" fmla="*/ 2417855 w 6616264"/>
              <a:gd name="connsiteY274" fmla="*/ 0 h 6858000"/>
              <a:gd name="connsiteX275" fmla="*/ 2421856 w 6616264"/>
              <a:gd name="connsiteY275" fmla="*/ 19518 h 6858000"/>
              <a:gd name="connsiteX276" fmla="*/ 2346375 w 6616264"/>
              <a:gd name="connsiteY276" fmla="*/ 94999 h 6858000"/>
              <a:gd name="connsiteX277" fmla="*/ 2270893 w 6616264"/>
              <a:gd name="connsiteY277" fmla="*/ 19518 h 6858000"/>
              <a:gd name="connsiteX278" fmla="*/ 1740884 w 6616264"/>
              <a:gd name="connsiteY278" fmla="*/ 0 h 6858000"/>
              <a:gd name="connsiteX279" fmla="*/ 1806098 w 6616264"/>
              <a:gd name="connsiteY279" fmla="*/ 0 h 6858000"/>
              <a:gd name="connsiteX280" fmla="*/ 1814136 w 6616264"/>
              <a:gd name="connsiteY280" fmla="*/ 19519 h 6858000"/>
              <a:gd name="connsiteX281" fmla="*/ 1773490 w 6616264"/>
              <a:gd name="connsiteY281" fmla="*/ 60163 h 6858000"/>
              <a:gd name="connsiteX282" fmla="*/ 1732847 w 6616264"/>
              <a:gd name="connsiteY282" fmla="*/ 1951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</a:cxnLst>
            <a:rect l="l" t="t" r="r" b="b"/>
            <a:pathLst>
              <a:path w="6616264" h="6858000">
                <a:moveTo>
                  <a:pt x="56772" y="6855419"/>
                </a:moveTo>
                <a:cubicBezTo>
                  <a:pt x="61288" y="6855419"/>
                  <a:pt x="65160" y="6856710"/>
                  <a:pt x="69029" y="6858000"/>
                </a:cubicBezTo>
                <a:lnTo>
                  <a:pt x="44514" y="6858000"/>
                </a:lnTo>
                <a:cubicBezTo>
                  <a:pt x="47740" y="6856710"/>
                  <a:pt x="52255" y="6856064"/>
                  <a:pt x="56772" y="6855419"/>
                </a:cubicBezTo>
                <a:close/>
                <a:moveTo>
                  <a:pt x="629011" y="6807680"/>
                </a:moveTo>
                <a:cubicBezTo>
                  <a:pt x="662559" y="6807680"/>
                  <a:pt x="691590" y="6828969"/>
                  <a:pt x="703848" y="6858000"/>
                </a:cubicBezTo>
                <a:lnTo>
                  <a:pt x="554820" y="6858000"/>
                </a:lnTo>
                <a:cubicBezTo>
                  <a:pt x="566433" y="6828324"/>
                  <a:pt x="595464" y="6807680"/>
                  <a:pt x="629011" y="6807680"/>
                </a:cubicBezTo>
                <a:close/>
                <a:moveTo>
                  <a:pt x="1201250" y="6737359"/>
                </a:moveTo>
                <a:cubicBezTo>
                  <a:pt x="1274151" y="6737359"/>
                  <a:pt x="1335439" y="6789614"/>
                  <a:pt x="1348988" y="6858000"/>
                </a:cubicBezTo>
                <a:lnTo>
                  <a:pt x="1053513" y="6858000"/>
                </a:lnTo>
                <a:cubicBezTo>
                  <a:pt x="1067706" y="6788970"/>
                  <a:pt x="1128349" y="6737359"/>
                  <a:pt x="1201250" y="6737359"/>
                </a:cubicBezTo>
                <a:close/>
                <a:moveTo>
                  <a:pt x="56772" y="6273504"/>
                </a:moveTo>
                <a:cubicBezTo>
                  <a:pt x="79998" y="6273504"/>
                  <a:pt x="99350" y="6292214"/>
                  <a:pt x="99350" y="6316083"/>
                </a:cubicBezTo>
                <a:cubicBezTo>
                  <a:pt x="99350" y="6339308"/>
                  <a:pt x="80642" y="6358662"/>
                  <a:pt x="56772" y="6358662"/>
                </a:cubicBezTo>
                <a:cubicBezTo>
                  <a:pt x="33547" y="6358662"/>
                  <a:pt x="14192" y="6339954"/>
                  <a:pt x="14192" y="6316083"/>
                </a:cubicBezTo>
                <a:cubicBezTo>
                  <a:pt x="14192" y="6292859"/>
                  <a:pt x="32902" y="6273504"/>
                  <a:pt x="56772" y="6273504"/>
                </a:cubicBezTo>
                <a:close/>
                <a:moveTo>
                  <a:pt x="629011" y="6216086"/>
                </a:moveTo>
                <a:cubicBezTo>
                  <a:pt x="684494" y="6216086"/>
                  <a:pt x="729008" y="6260600"/>
                  <a:pt x="729008" y="6316082"/>
                </a:cubicBezTo>
                <a:cubicBezTo>
                  <a:pt x="729008" y="6371564"/>
                  <a:pt x="684494" y="6416080"/>
                  <a:pt x="629011" y="6416080"/>
                </a:cubicBezTo>
                <a:cubicBezTo>
                  <a:pt x="573530" y="6416080"/>
                  <a:pt x="529015" y="6371564"/>
                  <a:pt x="529015" y="6316082"/>
                </a:cubicBezTo>
                <a:cubicBezTo>
                  <a:pt x="529015" y="6260600"/>
                  <a:pt x="573530" y="6216086"/>
                  <a:pt x="629011" y="6216086"/>
                </a:cubicBezTo>
                <a:close/>
                <a:moveTo>
                  <a:pt x="1201251" y="6134799"/>
                </a:moveTo>
                <a:cubicBezTo>
                  <a:pt x="1301248" y="6134799"/>
                  <a:pt x="1382536" y="6216086"/>
                  <a:pt x="1382536" y="6316083"/>
                </a:cubicBezTo>
                <a:cubicBezTo>
                  <a:pt x="1382536" y="6416080"/>
                  <a:pt x="1301248" y="6497367"/>
                  <a:pt x="1201251" y="6497367"/>
                </a:cubicBezTo>
                <a:cubicBezTo>
                  <a:pt x="1101255" y="6497367"/>
                  <a:pt x="1019967" y="6416080"/>
                  <a:pt x="1019967" y="6316083"/>
                </a:cubicBezTo>
                <a:cubicBezTo>
                  <a:pt x="1019967" y="6216086"/>
                  <a:pt x="1101255" y="6134799"/>
                  <a:pt x="1201251" y="6134799"/>
                </a:cubicBezTo>
                <a:close/>
                <a:moveTo>
                  <a:pt x="56773" y="5692878"/>
                </a:moveTo>
                <a:cubicBezTo>
                  <a:pt x="84514" y="5692878"/>
                  <a:pt x="107093" y="5715457"/>
                  <a:pt x="107738" y="5743844"/>
                </a:cubicBezTo>
                <a:cubicBezTo>
                  <a:pt x="107738" y="5772231"/>
                  <a:pt x="85159" y="5794810"/>
                  <a:pt x="56773" y="5794810"/>
                </a:cubicBezTo>
                <a:cubicBezTo>
                  <a:pt x="28385" y="5794810"/>
                  <a:pt x="5806" y="5772231"/>
                  <a:pt x="5806" y="5743844"/>
                </a:cubicBezTo>
                <a:cubicBezTo>
                  <a:pt x="5806" y="5715457"/>
                  <a:pt x="28385" y="5692878"/>
                  <a:pt x="56773" y="5692878"/>
                </a:cubicBezTo>
                <a:close/>
                <a:moveTo>
                  <a:pt x="629011" y="5627718"/>
                </a:moveTo>
                <a:cubicBezTo>
                  <a:pt x="692881" y="5627718"/>
                  <a:pt x="744491" y="5679330"/>
                  <a:pt x="744491" y="5743198"/>
                </a:cubicBezTo>
                <a:cubicBezTo>
                  <a:pt x="744491" y="5807067"/>
                  <a:pt x="692881" y="5858678"/>
                  <a:pt x="629011" y="5858678"/>
                </a:cubicBezTo>
                <a:cubicBezTo>
                  <a:pt x="565143" y="5858678"/>
                  <a:pt x="513532" y="5807067"/>
                  <a:pt x="513532" y="5743198"/>
                </a:cubicBezTo>
                <a:cubicBezTo>
                  <a:pt x="513532" y="5679330"/>
                  <a:pt x="565143" y="5627718"/>
                  <a:pt x="629011" y="5627718"/>
                </a:cubicBezTo>
                <a:close/>
                <a:moveTo>
                  <a:pt x="1201250" y="5539979"/>
                </a:moveTo>
                <a:cubicBezTo>
                  <a:pt x="1313506" y="5539979"/>
                  <a:pt x="1404470" y="5630944"/>
                  <a:pt x="1404470" y="5743198"/>
                </a:cubicBezTo>
                <a:cubicBezTo>
                  <a:pt x="1404470" y="5855452"/>
                  <a:pt x="1313506" y="5946418"/>
                  <a:pt x="1201250" y="5946418"/>
                </a:cubicBezTo>
                <a:cubicBezTo>
                  <a:pt x="1088996" y="5946418"/>
                  <a:pt x="998031" y="5855452"/>
                  <a:pt x="998031" y="5743198"/>
                </a:cubicBezTo>
                <a:cubicBezTo>
                  <a:pt x="998031" y="5630944"/>
                  <a:pt x="1088996" y="5539979"/>
                  <a:pt x="1201250" y="5539979"/>
                </a:cubicBezTo>
                <a:close/>
                <a:moveTo>
                  <a:pt x="56772" y="5114187"/>
                </a:moveTo>
                <a:cubicBezTo>
                  <a:pt x="87739" y="5114187"/>
                  <a:pt x="113543" y="5139347"/>
                  <a:pt x="113543" y="5170959"/>
                </a:cubicBezTo>
                <a:cubicBezTo>
                  <a:pt x="113543" y="5201926"/>
                  <a:pt x="88383" y="5227731"/>
                  <a:pt x="56772" y="5227731"/>
                </a:cubicBezTo>
                <a:cubicBezTo>
                  <a:pt x="25805" y="5227731"/>
                  <a:pt x="0" y="5202571"/>
                  <a:pt x="0" y="5170959"/>
                </a:cubicBezTo>
                <a:cubicBezTo>
                  <a:pt x="0" y="5139992"/>
                  <a:pt x="25160" y="5114187"/>
                  <a:pt x="56772" y="5114187"/>
                </a:cubicBezTo>
                <a:close/>
                <a:moveTo>
                  <a:pt x="629011" y="5045802"/>
                </a:moveTo>
                <a:cubicBezTo>
                  <a:pt x="698041" y="5045802"/>
                  <a:pt x="754168" y="5101930"/>
                  <a:pt x="754168" y="5170959"/>
                </a:cubicBezTo>
                <a:cubicBezTo>
                  <a:pt x="754168" y="5239989"/>
                  <a:pt x="698041" y="5296116"/>
                  <a:pt x="629011" y="5296116"/>
                </a:cubicBezTo>
                <a:cubicBezTo>
                  <a:pt x="559981" y="5296116"/>
                  <a:pt x="503854" y="5239989"/>
                  <a:pt x="503854" y="5170959"/>
                </a:cubicBezTo>
                <a:cubicBezTo>
                  <a:pt x="503854" y="5101930"/>
                  <a:pt x="559981" y="5045802"/>
                  <a:pt x="629011" y="5045802"/>
                </a:cubicBezTo>
                <a:close/>
                <a:moveTo>
                  <a:pt x="1201250" y="4954191"/>
                </a:moveTo>
                <a:cubicBezTo>
                  <a:pt x="1291247" y="4954191"/>
                  <a:pt x="1368181" y="5008626"/>
                  <a:pt x="1401022" y="5086465"/>
                </a:cubicBezTo>
                <a:lnTo>
                  <a:pt x="1410074" y="5131469"/>
                </a:lnTo>
                <a:lnTo>
                  <a:pt x="1406404" y="5157373"/>
                </a:lnTo>
                <a:lnTo>
                  <a:pt x="1412511" y="5198248"/>
                </a:lnTo>
                <a:lnTo>
                  <a:pt x="1401022" y="5255179"/>
                </a:lnTo>
                <a:cubicBezTo>
                  <a:pt x="1368181" y="5332930"/>
                  <a:pt x="1291247" y="5387726"/>
                  <a:pt x="1201250" y="5387726"/>
                </a:cubicBezTo>
                <a:cubicBezTo>
                  <a:pt x="1081899" y="5387726"/>
                  <a:pt x="984484" y="5290954"/>
                  <a:pt x="984484" y="5170958"/>
                </a:cubicBezTo>
                <a:cubicBezTo>
                  <a:pt x="984484" y="5051607"/>
                  <a:pt x="1081254" y="4954191"/>
                  <a:pt x="1201250" y="4954191"/>
                </a:cubicBezTo>
                <a:close/>
                <a:moveTo>
                  <a:pt x="56772" y="4541947"/>
                </a:moveTo>
                <a:cubicBezTo>
                  <a:pt x="87739" y="4541947"/>
                  <a:pt x="113543" y="4567107"/>
                  <a:pt x="113543" y="4598719"/>
                </a:cubicBezTo>
                <a:cubicBezTo>
                  <a:pt x="113543" y="4629686"/>
                  <a:pt x="88383" y="4655491"/>
                  <a:pt x="56772" y="4655491"/>
                </a:cubicBezTo>
                <a:cubicBezTo>
                  <a:pt x="25805" y="4655491"/>
                  <a:pt x="0" y="4630331"/>
                  <a:pt x="0" y="4598719"/>
                </a:cubicBezTo>
                <a:cubicBezTo>
                  <a:pt x="0" y="4567752"/>
                  <a:pt x="25160" y="4541947"/>
                  <a:pt x="56772" y="4541947"/>
                </a:cubicBezTo>
                <a:close/>
                <a:moveTo>
                  <a:pt x="629011" y="4471627"/>
                </a:moveTo>
                <a:cubicBezTo>
                  <a:pt x="698687" y="4471627"/>
                  <a:pt x="755461" y="4528399"/>
                  <a:pt x="756105" y="4598719"/>
                </a:cubicBezTo>
                <a:cubicBezTo>
                  <a:pt x="756105" y="4669041"/>
                  <a:pt x="699333" y="4725813"/>
                  <a:pt x="629011" y="4725813"/>
                </a:cubicBezTo>
                <a:cubicBezTo>
                  <a:pt x="558691" y="4725813"/>
                  <a:pt x="501919" y="4669041"/>
                  <a:pt x="501919" y="4598719"/>
                </a:cubicBezTo>
                <a:cubicBezTo>
                  <a:pt x="501919" y="4528399"/>
                  <a:pt x="558691" y="4471627"/>
                  <a:pt x="629011" y="4471627"/>
                </a:cubicBezTo>
                <a:close/>
                <a:moveTo>
                  <a:pt x="1201250" y="4380017"/>
                </a:moveTo>
                <a:cubicBezTo>
                  <a:pt x="1291731" y="4380017"/>
                  <a:pt x="1369511" y="4435177"/>
                  <a:pt x="1402746" y="4513652"/>
                </a:cubicBezTo>
                <a:lnTo>
                  <a:pt x="1409763" y="4548337"/>
                </a:lnTo>
                <a:lnTo>
                  <a:pt x="1404469" y="4585133"/>
                </a:lnTo>
                <a:lnTo>
                  <a:pt x="1411993" y="4638075"/>
                </a:lnTo>
                <a:lnTo>
                  <a:pt x="1402746" y="4683788"/>
                </a:lnTo>
                <a:cubicBezTo>
                  <a:pt x="1369511" y="4762263"/>
                  <a:pt x="1291731" y="4817423"/>
                  <a:pt x="1201250" y="4817423"/>
                </a:cubicBezTo>
                <a:cubicBezTo>
                  <a:pt x="1080609" y="4817423"/>
                  <a:pt x="982548" y="4719361"/>
                  <a:pt x="982548" y="4598719"/>
                </a:cubicBezTo>
                <a:cubicBezTo>
                  <a:pt x="982548" y="4478078"/>
                  <a:pt x="1080609" y="4380017"/>
                  <a:pt x="1201250" y="4380017"/>
                </a:cubicBezTo>
                <a:close/>
                <a:moveTo>
                  <a:pt x="56772" y="3971644"/>
                </a:moveTo>
                <a:cubicBezTo>
                  <a:pt x="87093" y="3971644"/>
                  <a:pt x="111609" y="3996159"/>
                  <a:pt x="111609" y="4026481"/>
                </a:cubicBezTo>
                <a:cubicBezTo>
                  <a:pt x="111609" y="4056802"/>
                  <a:pt x="87093" y="4081318"/>
                  <a:pt x="56772" y="4081318"/>
                </a:cubicBezTo>
                <a:cubicBezTo>
                  <a:pt x="26450" y="4081318"/>
                  <a:pt x="1935" y="4056802"/>
                  <a:pt x="1935" y="4026481"/>
                </a:cubicBezTo>
                <a:cubicBezTo>
                  <a:pt x="1935" y="3996159"/>
                  <a:pt x="26450" y="3971644"/>
                  <a:pt x="56772" y="3971644"/>
                </a:cubicBezTo>
                <a:close/>
                <a:moveTo>
                  <a:pt x="629011" y="3905839"/>
                </a:moveTo>
                <a:cubicBezTo>
                  <a:pt x="695461" y="3905839"/>
                  <a:pt x="749008" y="3959385"/>
                  <a:pt x="749008" y="4025835"/>
                </a:cubicBezTo>
                <a:cubicBezTo>
                  <a:pt x="749008" y="4092285"/>
                  <a:pt x="695461" y="4145832"/>
                  <a:pt x="629011" y="4145832"/>
                </a:cubicBezTo>
                <a:cubicBezTo>
                  <a:pt x="562561" y="4145832"/>
                  <a:pt x="509015" y="4092285"/>
                  <a:pt x="509015" y="4025835"/>
                </a:cubicBezTo>
                <a:cubicBezTo>
                  <a:pt x="509015" y="3959385"/>
                  <a:pt x="562561" y="3905839"/>
                  <a:pt x="629011" y="3905839"/>
                </a:cubicBezTo>
                <a:close/>
                <a:moveTo>
                  <a:pt x="1203892" y="3814492"/>
                </a:moveTo>
                <a:cubicBezTo>
                  <a:pt x="1302314" y="3815634"/>
                  <a:pt x="1389676" y="3885700"/>
                  <a:pt x="1409012" y="3986118"/>
                </a:cubicBezTo>
                <a:cubicBezTo>
                  <a:pt x="1431111" y="4100879"/>
                  <a:pt x="1355993" y="4211830"/>
                  <a:pt x="1241229" y="4233929"/>
                </a:cubicBezTo>
                <a:cubicBezTo>
                  <a:pt x="1126467" y="4256029"/>
                  <a:pt x="1015518" y="4180910"/>
                  <a:pt x="993420" y="4066147"/>
                </a:cubicBezTo>
                <a:cubicBezTo>
                  <a:pt x="971319" y="3951383"/>
                  <a:pt x="1046437" y="3840434"/>
                  <a:pt x="1161200" y="3818335"/>
                </a:cubicBezTo>
                <a:cubicBezTo>
                  <a:pt x="1175546" y="3815573"/>
                  <a:pt x="1189832" y="3814329"/>
                  <a:pt x="1203892" y="3814492"/>
                </a:cubicBezTo>
                <a:close/>
                <a:moveTo>
                  <a:pt x="56773" y="3404566"/>
                </a:moveTo>
                <a:cubicBezTo>
                  <a:pt x="83868" y="3404566"/>
                  <a:pt x="105802" y="3426501"/>
                  <a:pt x="105802" y="3453597"/>
                </a:cubicBezTo>
                <a:cubicBezTo>
                  <a:pt x="105802" y="3480692"/>
                  <a:pt x="83868" y="3502626"/>
                  <a:pt x="56773" y="3502626"/>
                </a:cubicBezTo>
                <a:cubicBezTo>
                  <a:pt x="29677" y="3502626"/>
                  <a:pt x="7742" y="3480692"/>
                  <a:pt x="7742" y="3453597"/>
                </a:cubicBezTo>
                <a:cubicBezTo>
                  <a:pt x="7742" y="3426501"/>
                  <a:pt x="29677" y="3404566"/>
                  <a:pt x="56773" y="3404566"/>
                </a:cubicBezTo>
                <a:close/>
                <a:moveTo>
                  <a:pt x="629011" y="3346503"/>
                </a:moveTo>
                <a:cubicBezTo>
                  <a:pt x="688364" y="3346503"/>
                  <a:pt x="736105" y="3394244"/>
                  <a:pt x="736105" y="3453597"/>
                </a:cubicBezTo>
                <a:cubicBezTo>
                  <a:pt x="736105" y="3512950"/>
                  <a:pt x="688364" y="3560690"/>
                  <a:pt x="629011" y="3560690"/>
                </a:cubicBezTo>
                <a:cubicBezTo>
                  <a:pt x="569658" y="3560690"/>
                  <a:pt x="521918" y="3512950"/>
                  <a:pt x="521918" y="3453597"/>
                </a:cubicBezTo>
                <a:cubicBezTo>
                  <a:pt x="521918" y="3394244"/>
                  <a:pt x="569658" y="3346503"/>
                  <a:pt x="629011" y="3346503"/>
                </a:cubicBezTo>
                <a:close/>
                <a:moveTo>
                  <a:pt x="1202686" y="3262069"/>
                </a:moveTo>
                <a:cubicBezTo>
                  <a:pt x="1277355" y="3262625"/>
                  <a:pt x="1347997" y="3307072"/>
                  <a:pt x="1378371" y="3380399"/>
                </a:cubicBezTo>
                <a:cubicBezTo>
                  <a:pt x="1418869" y="3478167"/>
                  <a:pt x="1372441" y="3590254"/>
                  <a:pt x="1274673" y="3630752"/>
                </a:cubicBezTo>
                <a:cubicBezTo>
                  <a:pt x="1176904" y="3671250"/>
                  <a:pt x="1064816" y="3624823"/>
                  <a:pt x="1024320" y="3527054"/>
                </a:cubicBezTo>
                <a:cubicBezTo>
                  <a:pt x="983821" y="3429286"/>
                  <a:pt x="1030249" y="3317198"/>
                  <a:pt x="1128017" y="3276701"/>
                </a:cubicBezTo>
                <a:cubicBezTo>
                  <a:pt x="1152459" y="3266577"/>
                  <a:pt x="1177796" y="3261885"/>
                  <a:pt x="1202686" y="3262069"/>
                </a:cubicBezTo>
                <a:close/>
                <a:moveTo>
                  <a:pt x="56772" y="2842649"/>
                </a:moveTo>
                <a:cubicBezTo>
                  <a:pt x="78062" y="2842649"/>
                  <a:pt x="95481" y="2860068"/>
                  <a:pt x="95481" y="2881357"/>
                </a:cubicBezTo>
                <a:cubicBezTo>
                  <a:pt x="95481" y="2902647"/>
                  <a:pt x="78062" y="2920066"/>
                  <a:pt x="56772" y="2920066"/>
                </a:cubicBezTo>
                <a:cubicBezTo>
                  <a:pt x="34837" y="2920066"/>
                  <a:pt x="18064" y="2902647"/>
                  <a:pt x="18064" y="2881357"/>
                </a:cubicBezTo>
                <a:cubicBezTo>
                  <a:pt x="18064" y="2860068"/>
                  <a:pt x="35482" y="2842649"/>
                  <a:pt x="56772" y="2842649"/>
                </a:cubicBezTo>
                <a:close/>
                <a:moveTo>
                  <a:pt x="629011" y="2794263"/>
                </a:moveTo>
                <a:cubicBezTo>
                  <a:pt x="676752" y="2794263"/>
                  <a:pt x="716105" y="2832971"/>
                  <a:pt x="716105" y="2881357"/>
                </a:cubicBezTo>
                <a:cubicBezTo>
                  <a:pt x="716105" y="2929097"/>
                  <a:pt x="677397" y="2968450"/>
                  <a:pt x="629011" y="2968450"/>
                </a:cubicBezTo>
                <a:cubicBezTo>
                  <a:pt x="580626" y="2968450"/>
                  <a:pt x="541273" y="2929743"/>
                  <a:pt x="541918" y="2881357"/>
                </a:cubicBezTo>
                <a:cubicBezTo>
                  <a:pt x="541918" y="2833616"/>
                  <a:pt x="580626" y="2794263"/>
                  <a:pt x="629011" y="2794263"/>
                </a:cubicBezTo>
                <a:close/>
                <a:moveTo>
                  <a:pt x="1201251" y="2715555"/>
                </a:moveTo>
                <a:cubicBezTo>
                  <a:pt x="1292862" y="2715555"/>
                  <a:pt x="1367053" y="2789747"/>
                  <a:pt x="1367053" y="2881357"/>
                </a:cubicBezTo>
                <a:cubicBezTo>
                  <a:pt x="1367053" y="2972967"/>
                  <a:pt x="1292862" y="3047158"/>
                  <a:pt x="1201251" y="3047158"/>
                </a:cubicBezTo>
                <a:cubicBezTo>
                  <a:pt x="1109641" y="3047158"/>
                  <a:pt x="1035450" y="2972967"/>
                  <a:pt x="1035450" y="2881357"/>
                </a:cubicBezTo>
                <a:cubicBezTo>
                  <a:pt x="1035450" y="2789747"/>
                  <a:pt x="1109641" y="2715555"/>
                  <a:pt x="1201251" y="2715555"/>
                </a:cubicBezTo>
                <a:close/>
                <a:moveTo>
                  <a:pt x="629011" y="2240732"/>
                </a:moveTo>
                <a:cubicBezTo>
                  <a:pt x="666430" y="2240732"/>
                  <a:pt x="696752" y="2271055"/>
                  <a:pt x="696752" y="2308473"/>
                </a:cubicBezTo>
                <a:cubicBezTo>
                  <a:pt x="696752" y="2345890"/>
                  <a:pt x="666430" y="2376214"/>
                  <a:pt x="629011" y="2376214"/>
                </a:cubicBezTo>
                <a:cubicBezTo>
                  <a:pt x="591594" y="2376214"/>
                  <a:pt x="561272" y="2345890"/>
                  <a:pt x="561272" y="2308473"/>
                </a:cubicBezTo>
                <a:cubicBezTo>
                  <a:pt x="561272" y="2271055"/>
                  <a:pt x="591594" y="2240732"/>
                  <a:pt x="629011" y="2240732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6"/>
                  <a:pt x="1333504" y="2308479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2"/>
                  <a:pt x="1068997" y="2308479"/>
                </a:cubicBezTo>
                <a:cubicBezTo>
                  <a:pt x="1068997" y="2235576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5"/>
                </a:cubicBezTo>
                <a:lnTo>
                  <a:pt x="1987399" y="2278426"/>
                </a:lnTo>
                <a:lnTo>
                  <a:pt x="1985740" y="2294890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5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5" y="1058530"/>
                  <a:pt x="2537335" y="1163996"/>
                </a:cubicBezTo>
                <a:cubicBezTo>
                  <a:pt x="2537335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4" y="395638"/>
                </a:moveTo>
                <a:cubicBezTo>
                  <a:pt x="3026353" y="395638"/>
                  <a:pt x="3114092" y="483377"/>
                  <a:pt x="3114092" y="591115"/>
                </a:cubicBezTo>
                <a:cubicBezTo>
                  <a:pt x="3114092" y="698853"/>
                  <a:pt x="3026353" y="786593"/>
                  <a:pt x="2918614" y="786593"/>
                </a:cubicBezTo>
                <a:cubicBezTo>
                  <a:pt x="2810875" y="786593"/>
                  <a:pt x="2723137" y="699498"/>
                  <a:pt x="2723137" y="591115"/>
                </a:cubicBezTo>
                <a:cubicBezTo>
                  <a:pt x="2723137" y="483377"/>
                  <a:pt x="2810875" y="395638"/>
                  <a:pt x="2918614" y="395638"/>
                </a:cubicBezTo>
                <a:close/>
                <a:moveTo>
                  <a:pt x="4310582" y="0"/>
                </a:moveTo>
                <a:lnTo>
                  <a:pt x="6616264" y="0"/>
                </a:lnTo>
                <a:lnTo>
                  <a:pt x="6616264" y="6845058"/>
                </a:lnTo>
                <a:lnTo>
                  <a:pt x="1487047" y="6845058"/>
                </a:lnTo>
                <a:cubicBezTo>
                  <a:pt x="1501885" y="6725707"/>
                  <a:pt x="1603173" y="6632807"/>
                  <a:pt x="1727039" y="6632807"/>
                </a:cubicBezTo>
                <a:cubicBezTo>
                  <a:pt x="1847035" y="6632807"/>
                  <a:pt x="1946387" y="6719901"/>
                  <a:pt x="1965741" y="6834091"/>
                </a:cubicBezTo>
                <a:cubicBezTo>
                  <a:pt x="1976709" y="6743772"/>
                  <a:pt x="2023158" y="6665064"/>
                  <a:pt x="2090254" y="6611518"/>
                </a:cubicBezTo>
                <a:cubicBezTo>
                  <a:pt x="2034126" y="6573454"/>
                  <a:pt x="1988966" y="6521199"/>
                  <a:pt x="1960580" y="6459265"/>
                </a:cubicBezTo>
                <a:cubicBezTo>
                  <a:pt x="1910259" y="6534101"/>
                  <a:pt x="1824455" y="6583777"/>
                  <a:pt x="1727039" y="6583777"/>
                </a:cubicBezTo>
                <a:cubicBezTo>
                  <a:pt x="1571560" y="6583777"/>
                  <a:pt x="1445758" y="6457975"/>
                  <a:pt x="1445758" y="6302496"/>
                </a:cubicBezTo>
                <a:cubicBezTo>
                  <a:pt x="1445758" y="6170243"/>
                  <a:pt x="1536078" y="6059923"/>
                  <a:pt x="1658654" y="6029602"/>
                </a:cubicBezTo>
                <a:cubicBezTo>
                  <a:pt x="1521884" y="5997990"/>
                  <a:pt x="1419307" y="5876059"/>
                  <a:pt x="1419307" y="5729611"/>
                </a:cubicBezTo>
                <a:cubicBezTo>
                  <a:pt x="1419307" y="5606390"/>
                  <a:pt x="1492853" y="5499942"/>
                  <a:pt x="1598012" y="5450911"/>
                </a:cubicBezTo>
                <a:cubicBezTo>
                  <a:pt x="1513337" y="5413654"/>
                  <a:pt x="1447894" y="5340834"/>
                  <a:pt x="1420467" y="5251502"/>
                </a:cubicBezTo>
                <a:lnTo>
                  <a:pt x="1412511" y="5198248"/>
                </a:lnTo>
                <a:lnTo>
                  <a:pt x="1418018" y="5170958"/>
                </a:lnTo>
                <a:lnTo>
                  <a:pt x="1410074" y="5131469"/>
                </a:lnTo>
                <a:lnTo>
                  <a:pt x="1419106" y="5067728"/>
                </a:lnTo>
                <a:cubicBezTo>
                  <a:pt x="1443902" y="4982419"/>
                  <a:pt x="1503175" y="4911897"/>
                  <a:pt x="1580592" y="4872220"/>
                </a:cubicBezTo>
                <a:cubicBezTo>
                  <a:pt x="1502208" y="4832545"/>
                  <a:pt x="1442330" y="4761297"/>
                  <a:pt x="1417291" y="4675352"/>
                </a:cubicBezTo>
                <a:lnTo>
                  <a:pt x="1411993" y="4638075"/>
                </a:lnTo>
                <a:lnTo>
                  <a:pt x="1419954" y="4598719"/>
                </a:lnTo>
                <a:lnTo>
                  <a:pt x="1409763" y="4548337"/>
                </a:lnTo>
                <a:lnTo>
                  <a:pt x="1417623" y="4493695"/>
                </a:lnTo>
                <a:cubicBezTo>
                  <a:pt x="1443297" y="4406752"/>
                  <a:pt x="1504626" y="4335142"/>
                  <a:pt x="1584463" y="4295465"/>
                </a:cubicBezTo>
                <a:cubicBezTo>
                  <a:pt x="1481241" y="4243208"/>
                  <a:pt x="1410276" y="4136115"/>
                  <a:pt x="1410276" y="4012249"/>
                </a:cubicBezTo>
                <a:cubicBezTo>
                  <a:pt x="1410276" y="3874833"/>
                  <a:pt x="1497370" y="3758063"/>
                  <a:pt x="1619945" y="3714194"/>
                </a:cubicBezTo>
                <a:cubicBezTo>
                  <a:pt x="1510272" y="3670970"/>
                  <a:pt x="1432210" y="3564521"/>
                  <a:pt x="1432210" y="3440009"/>
                </a:cubicBezTo>
                <a:cubicBezTo>
                  <a:pt x="1432210" y="3276789"/>
                  <a:pt x="1564463" y="3145180"/>
                  <a:pt x="1727039" y="3145180"/>
                </a:cubicBezTo>
                <a:cubicBezTo>
                  <a:pt x="1821230" y="3145180"/>
                  <a:pt x="1905097" y="3189694"/>
                  <a:pt x="1959290" y="3259370"/>
                </a:cubicBezTo>
                <a:cubicBezTo>
                  <a:pt x="1985740" y="3210339"/>
                  <a:pt x="2022513" y="3167115"/>
                  <a:pt x="2066382" y="3133568"/>
                </a:cubicBezTo>
                <a:cubicBezTo>
                  <a:pt x="2019932" y="3092924"/>
                  <a:pt x="1983805" y="3040022"/>
                  <a:pt x="1963805" y="2980025"/>
                </a:cubicBezTo>
                <a:cubicBezTo>
                  <a:pt x="1921226" y="3068408"/>
                  <a:pt x="1830907" y="3129696"/>
                  <a:pt x="1726393" y="3129696"/>
                </a:cubicBezTo>
                <a:cubicBezTo>
                  <a:pt x="1581237" y="3129696"/>
                  <a:pt x="1463822" y="3012281"/>
                  <a:pt x="1463822" y="2867125"/>
                </a:cubicBezTo>
                <a:cubicBezTo>
                  <a:pt x="1463822" y="2721968"/>
                  <a:pt x="1581237" y="2604553"/>
                  <a:pt x="1726393" y="2604553"/>
                </a:cubicBezTo>
                <a:cubicBezTo>
                  <a:pt x="1831551" y="2604553"/>
                  <a:pt x="1921871" y="2665842"/>
                  <a:pt x="1963805" y="2754226"/>
                </a:cubicBezTo>
                <a:cubicBezTo>
                  <a:pt x="1992191" y="2670357"/>
                  <a:pt x="2051544" y="2600037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7" y="2024578"/>
                  <a:pt x="2538626" y="2092962"/>
                </a:cubicBezTo>
                <a:cubicBezTo>
                  <a:pt x="2566367" y="2047155"/>
                  <a:pt x="2603784" y="2007158"/>
                  <a:pt x="2647654" y="1976190"/>
                </a:cubicBezTo>
                <a:cubicBezTo>
                  <a:pt x="2596688" y="1931031"/>
                  <a:pt x="2559269" y="1871032"/>
                  <a:pt x="2542496" y="1803293"/>
                </a:cubicBezTo>
                <a:cubicBezTo>
                  <a:pt x="2508304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4" y="1538784"/>
                  <a:pt x="2542496" y="1640718"/>
                </a:cubicBezTo>
                <a:cubicBezTo>
                  <a:pt x="2570239" y="1529109"/>
                  <a:pt x="2652815" y="1439433"/>
                  <a:pt x="2760554" y="1402016"/>
                </a:cubicBezTo>
                <a:cubicBezTo>
                  <a:pt x="2663137" y="1358789"/>
                  <a:pt x="2595399" y="1262019"/>
                  <a:pt x="2595399" y="1149118"/>
                </a:cubicBezTo>
                <a:cubicBezTo>
                  <a:pt x="2595399" y="996221"/>
                  <a:pt x="2719264" y="872997"/>
                  <a:pt x="2871517" y="872997"/>
                </a:cubicBezTo>
                <a:cubicBezTo>
                  <a:pt x="2983772" y="872997"/>
                  <a:pt x="3079897" y="939449"/>
                  <a:pt x="3123122" y="1035574"/>
                </a:cubicBezTo>
                <a:cubicBezTo>
                  <a:pt x="3159250" y="932997"/>
                  <a:pt x="3243118" y="853000"/>
                  <a:pt x="3348276" y="822035"/>
                </a:cubicBezTo>
                <a:cubicBezTo>
                  <a:pt x="3249570" y="783327"/>
                  <a:pt x="3179894" y="688491"/>
                  <a:pt x="3179894" y="576235"/>
                </a:cubicBezTo>
                <a:cubicBezTo>
                  <a:pt x="3179894" y="430434"/>
                  <a:pt x="3297955" y="312373"/>
                  <a:pt x="3443756" y="312373"/>
                </a:cubicBezTo>
                <a:cubicBezTo>
                  <a:pt x="3567623" y="312373"/>
                  <a:pt x="3672136" y="398822"/>
                  <a:pt x="3699877" y="514303"/>
                </a:cubicBezTo>
                <a:cubicBezTo>
                  <a:pt x="3728908" y="365921"/>
                  <a:pt x="3859227" y="254311"/>
                  <a:pt x="4015996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8" y="240118"/>
                </a:cubicBezTo>
                <a:cubicBezTo>
                  <a:pt x="4363082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5" y="250481"/>
                  <a:pt x="4063738" y="250481"/>
                </a:cubicBezTo>
                <a:cubicBezTo>
                  <a:pt x="3935999" y="250481"/>
                  <a:pt x="3832132" y="146614"/>
                  <a:pt x="3832777" y="19521"/>
                </a:cubicBezTo>
                <a:close/>
                <a:moveTo>
                  <a:pt x="3315960" y="0"/>
                </a:moveTo>
                <a:lnTo>
                  <a:pt x="3665746" y="0"/>
                </a:lnTo>
                <a:lnTo>
                  <a:pt x="3669557" y="18877"/>
                </a:lnTo>
                <a:cubicBezTo>
                  <a:pt x="3669557" y="117572"/>
                  <a:pt x="3589548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6" y="0"/>
                </a:moveTo>
                <a:lnTo>
                  <a:pt x="3039822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4" y="144678"/>
                </a:cubicBezTo>
                <a:cubicBezTo>
                  <a:pt x="2849583" y="144678"/>
                  <a:pt x="2793456" y="88551"/>
                  <a:pt x="2793456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E567CD6-3B78-4067-89C5-1D44BD3BA30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BAC30FE-1767-4175-A595-03CBD296F1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5" y="1798638"/>
            <a:ext cx="5068888" cy="496887"/>
          </a:xfrm>
        </p:spPr>
        <p:txBody>
          <a:bodyPr/>
          <a:lstStyle>
            <a:lvl1pPr marL="0" indent="0">
              <a:buNone/>
              <a:defRPr sz="3200"/>
            </a:lvl1pPr>
            <a:lvl2pPr marL="0" indent="0">
              <a:buNone/>
              <a:defRPr sz="32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E15BA4C-2851-4908-B582-A726DAB971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775" y="3641952"/>
            <a:ext cx="5068888" cy="2315936"/>
          </a:xfrm>
        </p:spPr>
        <p:txBody>
          <a:bodyPr/>
          <a:lstStyle>
            <a:lvl1pPr marL="0" indent="0">
              <a:buNone/>
              <a:defRPr sz="16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F838E057-8933-4F9A-98C2-E00BD0C8CC6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8775" y="2295525"/>
            <a:ext cx="5068888" cy="1133475"/>
          </a:xfrm>
        </p:spPr>
        <p:txBody>
          <a:bodyPr/>
          <a:lstStyle>
            <a:lvl1pPr marL="0" indent="0">
              <a:buNone/>
              <a:defRPr sz="3200">
                <a:latin typeface="+mn-lt"/>
              </a:defRPr>
            </a:lvl1pPr>
            <a:lvl2pPr marL="0" indent="0">
              <a:buNone/>
              <a:defRPr sz="32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2151015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F37376-B2FD-48AB-B025-33847E15C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7FE9DC-36B2-4EF6-81B3-FF56730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43519EE6-2DD5-48FE-8028-EC40E46E618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9DF3D7C-2012-4482-86D3-CFB853384A1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58775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0CB3A235-36BA-4A89-8632-E343C5C8638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5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3C81E87E-86C2-441F-8BC2-56BC77F462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9465" y="47627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9B284DEE-FBF9-4B12-8CAC-08EA5237D53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8086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0C3B1F89-2B51-4803-AA81-E770D55BE1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82053" y="47555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CDD4FF4-10BE-4B8A-BB7D-A9E41E108E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4641" y="47663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A4833988-7703-4670-BBA7-955D2D02005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24416" y="47663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87D64EBA-46E7-416E-858E-9E600D31BD6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1363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922F2B85-8898-4229-AFDB-5B818CE0DAB3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203951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C6AE4C92-FE95-4268-8D5A-398BDF4B9FA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9123726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7200D26E-A515-49EB-BE84-EF1A30D3E1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280674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D8A8956B-591F-4412-A18F-677993039BD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79985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E0003D8B-21E2-43CC-B944-A41DF737B75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03951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CE6FCABE-4211-42FB-A6B4-AC8F654572A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03262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688685DE-A8C4-4EA1-AC89-C40A5D9BB78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23726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D6C0EC03-56B7-49CF-8D18-ABCE69A2EA8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23037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C9D8454D-4B42-4517-9698-F08282F418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56EEF4CE-6E53-4B83-90D8-5B225E39A77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31B07D2-7539-421E-8DFA-87C982A9F9A6}"/>
              </a:ext>
            </a:extLst>
          </p:cNvPr>
          <p:cNvCxnSpPr>
            <a:cxnSpLocks/>
          </p:cNvCxnSpPr>
          <p:nvPr userDrawn="1"/>
        </p:nvCxnSpPr>
        <p:spPr>
          <a:xfrm>
            <a:off x="358775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CF00363-8198-4B06-9AF1-262D568EA998}"/>
              </a:ext>
            </a:extLst>
          </p:cNvPr>
          <p:cNvCxnSpPr>
            <a:cxnSpLocks/>
          </p:cNvCxnSpPr>
          <p:nvPr userDrawn="1"/>
        </p:nvCxnSpPr>
        <p:spPr>
          <a:xfrm>
            <a:off x="3281363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DBDF40C-650F-4898-9269-00A4419543B7}"/>
              </a:ext>
            </a:extLst>
          </p:cNvPr>
          <p:cNvCxnSpPr>
            <a:cxnSpLocks/>
          </p:cNvCxnSpPr>
          <p:nvPr userDrawn="1"/>
        </p:nvCxnSpPr>
        <p:spPr>
          <a:xfrm>
            <a:off x="6202362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9BF1F72-4BBD-46EF-AD1F-AB34CB1AEBE0}"/>
              </a:ext>
            </a:extLst>
          </p:cNvPr>
          <p:cNvCxnSpPr>
            <a:cxnSpLocks/>
          </p:cNvCxnSpPr>
          <p:nvPr userDrawn="1"/>
        </p:nvCxnSpPr>
        <p:spPr>
          <a:xfrm>
            <a:off x="9124950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C6CB9A9-E63F-44D3-83DE-6C5CA4610EDB}"/>
              </a:ext>
            </a:extLst>
          </p:cNvPr>
          <p:cNvCxnSpPr>
            <a:cxnSpLocks/>
          </p:cNvCxnSpPr>
          <p:nvPr userDrawn="1"/>
        </p:nvCxnSpPr>
        <p:spPr>
          <a:xfrm>
            <a:off x="358775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26FA096-86F2-4CD8-8F8E-40898485B0ED}"/>
              </a:ext>
            </a:extLst>
          </p:cNvPr>
          <p:cNvCxnSpPr>
            <a:cxnSpLocks/>
          </p:cNvCxnSpPr>
          <p:nvPr userDrawn="1"/>
        </p:nvCxnSpPr>
        <p:spPr>
          <a:xfrm>
            <a:off x="3281363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20BE58D-ED5F-4824-88AB-64D4A5D7FDE4}"/>
              </a:ext>
            </a:extLst>
          </p:cNvPr>
          <p:cNvCxnSpPr>
            <a:cxnSpLocks/>
          </p:cNvCxnSpPr>
          <p:nvPr userDrawn="1"/>
        </p:nvCxnSpPr>
        <p:spPr>
          <a:xfrm>
            <a:off x="6202362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9F8E370-4DEB-4E82-8B09-75A08C2C01A2}"/>
              </a:ext>
            </a:extLst>
          </p:cNvPr>
          <p:cNvCxnSpPr>
            <a:cxnSpLocks/>
          </p:cNvCxnSpPr>
          <p:nvPr userDrawn="1"/>
        </p:nvCxnSpPr>
        <p:spPr>
          <a:xfrm>
            <a:off x="9124950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5942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B18E97-E055-4F98-9C60-8B7FFD3F8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06638" y="1450975"/>
            <a:ext cx="7577137" cy="2497138"/>
          </a:xfrm>
        </p:spPr>
        <p:txBody>
          <a:bodyPr/>
          <a:lstStyle>
            <a:lvl1pPr marL="0" indent="0" algn="ctr">
              <a:buNone/>
              <a:defRPr sz="4800"/>
            </a:lvl1pPr>
            <a:lvl2pPr marL="0" indent="0" algn="ctr">
              <a:buNone/>
              <a:defRPr sz="3200">
                <a:latin typeface="+mj-lt"/>
              </a:defRPr>
            </a:lvl2pPr>
            <a:lvl3pPr marL="0" indent="0" algn="ctr">
              <a:buNone/>
              <a:defRPr sz="2400">
                <a:latin typeface="+mj-lt"/>
              </a:defRPr>
            </a:lvl3pPr>
            <a:lvl4pPr marL="0" indent="0" algn="ctr">
              <a:buNone/>
              <a:defRPr sz="20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Add Quote</a:t>
            </a:r>
          </a:p>
        </p:txBody>
      </p:sp>
      <p:sp>
        <p:nvSpPr>
          <p:cNvPr id="8" name="Guides" hidden="1">
            <a:extLst>
              <a:ext uri="{FF2B5EF4-FFF2-40B4-BE49-F238E27FC236}">
                <a16:creationId xmlns:a16="http://schemas.microsoft.com/office/drawing/2014/main" id="{24862E2E-D3BD-4369-A62D-BC73AC80014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6000" y="4619567"/>
            <a:ext cx="3679999" cy="133112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ource</a:t>
            </a:r>
          </a:p>
          <a:p>
            <a:pPr lvl="1"/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813EA91-65AB-4D32-8B12-19D2BEE96493}"/>
              </a:ext>
            </a:extLst>
          </p:cNvPr>
          <p:cNvCxnSpPr>
            <a:cxnSpLocks/>
          </p:cNvCxnSpPr>
          <p:nvPr userDrawn="1"/>
        </p:nvCxnSpPr>
        <p:spPr>
          <a:xfrm>
            <a:off x="4256000" y="4326675"/>
            <a:ext cx="3679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3362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C4065C1A-9875-427F-A08A-6281CACC8C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06638" y="1450975"/>
            <a:ext cx="7577137" cy="2497138"/>
          </a:xfrm>
        </p:spPr>
        <p:txBody>
          <a:bodyPr/>
          <a:lstStyle>
            <a:lvl1pPr marL="0" indent="0" algn="ctr">
              <a:buNone/>
              <a:defRPr sz="4800"/>
            </a:lvl1pPr>
            <a:lvl2pPr marL="0" indent="0" algn="ctr">
              <a:buNone/>
              <a:defRPr sz="3200">
                <a:latin typeface="+mj-lt"/>
              </a:defRPr>
            </a:lvl2pPr>
            <a:lvl3pPr marL="0" indent="0" algn="ctr">
              <a:buNone/>
              <a:defRPr sz="2400">
                <a:latin typeface="+mj-lt"/>
              </a:defRPr>
            </a:lvl3pPr>
            <a:lvl4pPr marL="0" indent="0" algn="ctr">
              <a:buNone/>
              <a:defRPr sz="20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Add Quote</a:t>
            </a:r>
          </a:p>
        </p:txBody>
      </p:sp>
      <p:sp>
        <p:nvSpPr>
          <p:cNvPr id="8" name="Guides" hidden="1">
            <a:extLst>
              <a:ext uri="{FF2B5EF4-FFF2-40B4-BE49-F238E27FC236}">
                <a16:creationId xmlns:a16="http://schemas.microsoft.com/office/drawing/2014/main" id="{24862E2E-D3BD-4369-A62D-BC73AC80014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6000" y="4619567"/>
            <a:ext cx="3679999" cy="133112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ource</a:t>
            </a:r>
          </a:p>
          <a:p>
            <a:pPr lvl="1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7A59D94-1A4B-4ADA-9DA1-168B73BC0C09}"/>
              </a:ext>
            </a:extLst>
          </p:cNvPr>
          <p:cNvCxnSpPr>
            <a:cxnSpLocks/>
          </p:cNvCxnSpPr>
          <p:nvPr userDrawn="1"/>
        </p:nvCxnSpPr>
        <p:spPr>
          <a:xfrm>
            <a:off x="4256000" y="4326675"/>
            <a:ext cx="3679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7579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8C366B9-0297-413E-8878-727A0837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03E37F-1C65-4A6B-BC1A-06099BEA66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3028444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260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FD63CC-A978-4C2B-99A8-7C2D950AF9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1557339"/>
            <a:ext cx="11474450" cy="1871662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225C59A-8675-4B03-ACEC-03DF1D570DD4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1239585529" name="image" descr="{&quot;templafy&quot;:{&quot;id&quot;:&quot;0bee1537-c49e-4d05-a4fc-a897e888bfce&quot;}}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977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3" orient="horz" pos="981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B7B44933-F307-4411-8D48-0B57B30565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89ECC92-A128-4CDE-8B97-635C44BBB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1557338"/>
            <a:ext cx="11474450" cy="1728787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8C1E33-0E03-4092-A13C-B799FA398BC0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798353974" name="image" descr="{&quot;templafy&quot;:{&quot;id&quot;:&quot;35c3ff94-b226-4d01-b16b-a3160d29fa95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86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6"/>
            <a:ext cx="11474450" cy="1528762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B1CC8A8-179D-4E05-89A7-90C0DCAD90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560511325" name="image" descr="{&quot;templafy&quot;:{&quot;id&quot;:&quot;fa6f53c7-3aa5-4cd2-b994-7ea14f7e910e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79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AEC42528-88D8-420D-AABE-2B141DA6D0F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6"/>
            <a:ext cx="11474450" cy="1528762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1064153588" name="image" descr="{&quot;templafy&quot;:{&quot;id&quot;:&quot;8179d488-8a7e-45e3-b544-c94bae3d155b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476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E6D7EC9C-9C86-4A72-9CF4-9D1869172B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1058952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Express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1235D266-659B-40C3-8BD8-8A7B77EFFE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ACA73310-EDD7-4370-88AD-A94D36BEC3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7"/>
            <a:ext cx="11474450" cy="1528762"/>
          </a:xfrm>
        </p:spPr>
        <p:txBody>
          <a:bodyPr/>
          <a:lstStyle>
            <a:lvl1pPr marL="0" indent="0">
              <a:buNone/>
              <a:defRPr sz="88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DD4E985-E71F-463E-A5D2-7805115D9398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1249888944" name="image" descr="{&quot;templafy&quot;:{&quot;id&quot;:&quot;3ebab260-d43a-430c-af37-aa641f4c247f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680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Event/Sessio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20000" y="274721"/>
            <a:ext cx="7511638" cy="1477444"/>
          </a:xfrm>
        </p:spPr>
        <p:txBody>
          <a:bodyPr anchor="t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session/event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CC5257-9E4F-4CA0-9178-9F39848BB31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798638"/>
            <a:ext cx="12192000" cy="5059362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pic>
        <p:nvPicPr>
          <p:cNvPr id="1073321737" name="image" descr="{&quot;templafy&quot;:{&quot;id&quot;:&quot;df1443ad-b83b-4631-8178-2d95ae353adb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842" y="283850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84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Event/Session Dot Scree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7CCDCC5-8D49-4870-BD90-2BE867A06DCB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5561925" y="1"/>
            <a:ext cx="6630075" cy="6858000"/>
          </a:xfrm>
          <a:custGeom>
            <a:avLst/>
            <a:gdLst>
              <a:gd name="connsiteX0" fmla="*/ 629011 w 6616265"/>
              <a:gd name="connsiteY0" fmla="*/ 6807681 h 6843715"/>
              <a:gd name="connsiteX1" fmla="*/ 674414 w 6616265"/>
              <a:gd name="connsiteY1" fmla="*/ 6821955 h 6843715"/>
              <a:gd name="connsiteX2" fmla="*/ 692183 w 6616265"/>
              <a:gd name="connsiteY2" fmla="*/ 6843715 h 6843715"/>
              <a:gd name="connsiteX3" fmla="*/ 566186 w 6616265"/>
              <a:gd name="connsiteY3" fmla="*/ 6843715 h 6843715"/>
              <a:gd name="connsiteX4" fmla="*/ 583691 w 6616265"/>
              <a:gd name="connsiteY4" fmla="*/ 6821713 h 6843715"/>
              <a:gd name="connsiteX5" fmla="*/ 629011 w 6616265"/>
              <a:gd name="connsiteY5" fmla="*/ 6807681 h 6843715"/>
              <a:gd name="connsiteX6" fmla="*/ 1201250 w 6616265"/>
              <a:gd name="connsiteY6" fmla="*/ 6737360 h 6843715"/>
              <a:gd name="connsiteX7" fmla="*/ 1330440 w 6616265"/>
              <a:gd name="connsiteY7" fmla="*/ 6810301 h 6843715"/>
              <a:gd name="connsiteX8" fmla="*/ 1343433 w 6616265"/>
              <a:gd name="connsiteY8" fmla="*/ 6843715 h 6843715"/>
              <a:gd name="connsiteX9" fmla="*/ 1059118 w 6616265"/>
              <a:gd name="connsiteY9" fmla="*/ 6843715 h 6843715"/>
              <a:gd name="connsiteX10" fmla="*/ 1072333 w 6616265"/>
              <a:gd name="connsiteY10" fmla="*/ 6810029 h 6843715"/>
              <a:gd name="connsiteX11" fmla="*/ 1201250 w 6616265"/>
              <a:gd name="connsiteY11" fmla="*/ 6737360 h 6843715"/>
              <a:gd name="connsiteX12" fmla="*/ 56772 w 6616265"/>
              <a:gd name="connsiteY12" fmla="*/ 6273505 h 6843715"/>
              <a:gd name="connsiteX13" fmla="*/ 99350 w 6616265"/>
              <a:gd name="connsiteY13" fmla="*/ 6316084 h 6843715"/>
              <a:gd name="connsiteX14" fmla="*/ 56772 w 6616265"/>
              <a:gd name="connsiteY14" fmla="*/ 6358663 h 6843715"/>
              <a:gd name="connsiteX15" fmla="*/ 14192 w 6616265"/>
              <a:gd name="connsiteY15" fmla="*/ 6316084 h 6843715"/>
              <a:gd name="connsiteX16" fmla="*/ 56772 w 6616265"/>
              <a:gd name="connsiteY16" fmla="*/ 6273505 h 6843715"/>
              <a:gd name="connsiteX17" fmla="*/ 629011 w 6616265"/>
              <a:gd name="connsiteY17" fmla="*/ 6216087 h 6843715"/>
              <a:gd name="connsiteX18" fmla="*/ 729008 w 6616265"/>
              <a:gd name="connsiteY18" fmla="*/ 6316083 h 6843715"/>
              <a:gd name="connsiteX19" fmla="*/ 629011 w 6616265"/>
              <a:gd name="connsiteY19" fmla="*/ 6416081 h 6843715"/>
              <a:gd name="connsiteX20" fmla="*/ 529015 w 6616265"/>
              <a:gd name="connsiteY20" fmla="*/ 6316083 h 6843715"/>
              <a:gd name="connsiteX21" fmla="*/ 629011 w 6616265"/>
              <a:gd name="connsiteY21" fmla="*/ 6216087 h 6843715"/>
              <a:gd name="connsiteX22" fmla="*/ 1201251 w 6616265"/>
              <a:gd name="connsiteY22" fmla="*/ 6134800 h 6843715"/>
              <a:gd name="connsiteX23" fmla="*/ 1382536 w 6616265"/>
              <a:gd name="connsiteY23" fmla="*/ 6316084 h 6843715"/>
              <a:gd name="connsiteX24" fmla="*/ 1201251 w 6616265"/>
              <a:gd name="connsiteY24" fmla="*/ 6497368 h 6843715"/>
              <a:gd name="connsiteX25" fmla="*/ 1019967 w 6616265"/>
              <a:gd name="connsiteY25" fmla="*/ 6316084 h 6843715"/>
              <a:gd name="connsiteX26" fmla="*/ 1201251 w 6616265"/>
              <a:gd name="connsiteY26" fmla="*/ 6134800 h 6843715"/>
              <a:gd name="connsiteX27" fmla="*/ 56773 w 6616265"/>
              <a:gd name="connsiteY27" fmla="*/ 5692879 h 6843715"/>
              <a:gd name="connsiteX28" fmla="*/ 107738 w 6616265"/>
              <a:gd name="connsiteY28" fmla="*/ 5743845 h 6843715"/>
              <a:gd name="connsiteX29" fmla="*/ 56773 w 6616265"/>
              <a:gd name="connsiteY29" fmla="*/ 5794811 h 6843715"/>
              <a:gd name="connsiteX30" fmla="*/ 5806 w 6616265"/>
              <a:gd name="connsiteY30" fmla="*/ 5743845 h 6843715"/>
              <a:gd name="connsiteX31" fmla="*/ 56773 w 6616265"/>
              <a:gd name="connsiteY31" fmla="*/ 5692879 h 6843715"/>
              <a:gd name="connsiteX32" fmla="*/ 629011 w 6616265"/>
              <a:gd name="connsiteY32" fmla="*/ 5627719 h 6843715"/>
              <a:gd name="connsiteX33" fmla="*/ 744491 w 6616265"/>
              <a:gd name="connsiteY33" fmla="*/ 5743199 h 6843715"/>
              <a:gd name="connsiteX34" fmla="*/ 629011 w 6616265"/>
              <a:gd name="connsiteY34" fmla="*/ 5858679 h 6843715"/>
              <a:gd name="connsiteX35" fmla="*/ 513532 w 6616265"/>
              <a:gd name="connsiteY35" fmla="*/ 5743199 h 6843715"/>
              <a:gd name="connsiteX36" fmla="*/ 629011 w 6616265"/>
              <a:gd name="connsiteY36" fmla="*/ 5627719 h 6843715"/>
              <a:gd name="connsiteX37" fmla="*/ 1201250 w 6616265"/>
              <a:gd name="connsiteY37" fmla="*/ 5539980 h 6843715"/>
              <a:gd name="connsiteX38" fmla="*/ 1404470 w 6616265"/>
              <a:gd name="connsiteY38" fmla="*/ 5743199 h 6843715"/>
              <a:gd name="connsiteX39" fmla="*/ 1201250 w 6616265"/>
              <a:gd name="connsiteY39" fmla="*/ 5946419 h 6843715"/>
              <a:gd name="connsiteX40" fmla="*/ 998031 w 6616265"/>
              <a:gd name="connsiteY40" fmla="*/ 5743199 h 6843715"/>
              <a:gd name="connsiteX41" fmla="*/ 1201250 w 6616265"/>
              <a:gd name="connsiteY41" fmla="*/ 5539980 h 6843715"/>
              <a:gd name="connsiteX42" fmla="*/ 56772 w 6616265"/>
              <a:gd name="connsiteY42" fmla="*/ 5114188 h 6843715"/>
              <a:gd name="connsiteX43" fmla="*/ 113543 w 6616265"/>
              <a:gd name="connsiteY43" fmla="*/ 5170960 h 6843715"/>
              <a:gd name="connsiteX44" fmla="*/ 56772 w 6616265"/>
              <a:gd name="connsiteY44" fmla="*/ 5227732 h 6843715"/>
              <a:gd name="connsiteX45" fmla="*/ 0 w 6616265"/>
              <a:gd name="connsiteY45" fmla="*/ 5170960 h 6843715"/>
              <a:gd name="connsiteX46" fmla="*/ 56772 w 6616265"/>
              <a:gd name="connsiteY46" fmla="*/ 5114188 h 6843715"/>
              <a:gd name="connsiteX47" fmla="*/ 629011 w 6616265"/>
              <a:gd name="connsiteY47" fmla="*/ 5045803 h 6843715"/>
              <a:gd name="connsiteX48" fmla="*/ 754168 w 6616265"/>
              <a:gd name="connsiteY48" fmla="*/ 5170960 h 6843715"/>
              <a:gd name="connsiteX49" fmla="*/ 629011 w 6616265"/>
              <a:gd name="connsiteY49" fmla="*/ 5296117 h 6843715"/>
              <a:gd name="connsiteX50" fmla="*/ 503854 w 6616265"/>
              <a:gd name="connsiteY50" fmla="*/ 5170960 h 6843715"/>
              <a:gd name="connsiteX51" fmla="*/ 629011 w 6616265"/>
              <a:gd name="connsiteY51" fmla="*/ 5045803 h 6843715"/>
              <a:gd name="connsiteX52" fmla="*/ 1201250 w 6616265"/>
              <a:gd name="connsiteY52" fmla="*/ 4954192 h 6843715"/>
              <a:gd name="connsiteX53" fmla="*/ 1401022 w 6616265"/>
              <a:gd name="connsiteY53" fmla="*/ 5086466 h 6843715"/>
              <a:gd name="connsiteX54" fmla="*/ 1410074 w 6616265"/>
              <a:gd name="connsiteY54" fmla="*/ 5131470 h 6843715"/>
              <a:gd name="connsiteX55" fmla="*/ 1406404 w 6616265"/>
              <a:gd name="connsiteY55" fmla="*/ 5157374 h 6843715"/>
              <a:gd name="connsiteX56" fmla="*/ 1412511 w 6616265"/>
              <a:gd name="connsiteY56" fmla="*/ 5198249 h 6843715"/>
              <a:gd name="connsiteX57" fmla="*/ 1401022 w 6616265"/>
              <a:gd name="connsiteY57" fmla="*/ 5255180 h 6843715"/>
              <a:gd name="connsiteX58" fmla="*/ 1201250 w 6616265"/>
              <a:gd name="connsiteY58" fmla="*/ 5387727 h 6843715"/>
              <a:gd name="connsiteX59" fmla="*/ 984484 w 6616265"/>
              <a:gd name="connsiteY59" fmla="*/ 5170959 h 6843715"/>
              <a:gd name="connsiteX60" fmla="*/ 1201250 w 6616265"/>
              <a:gd name="connsiteY60" fmla="*/ 4954192 h 6843715"/>
              <a:gd name="connsiteX61" fmla="*/ 56772 w 6616265"/>
              <a:gd name="connsiteY61" fmla="*/ 4541948 h 6843715"/>
              <a:gd name="connsiteX62" fmla="*/ 113543 w 6616265"/>
              <a:gd name="connsiteY62" fmla="*/ 4598720 h 6843715"/>
              <a:gd name="connsiteX63" fmla="*/ 56772 w 6616265"/>
              <a:gd name="connsiteY63" fmla="*/ 4655492 h 6843715"/>
              <a:gd name="connsiteX64" fmla="*/ 0 w 6616265"/>
              <a:gd name="connsiteY64" fmla="*/ 4598720 h 6843715"/>
              <a:gd name="connsiteX65" fmla="*/ 56772 w 6616265"/>
              <a:gd name="connsiteY65" fmla="*/ 4541948 h 6843715"/>
              <a:gd name="connsiteX66" fmla="*/ 629011 w 6616265"/>
              <a:gd name="connsiteY66" fmla="*/ 4471628 h 6843715"/>
              <a:gd name="connsiteX67" fmla="*/ 756105 w 6616265"/>
              <a:gd name="connsiteY67" fmla="*/ 4598720 h 6843715"/>
              <a:gd name="connsiteX68" fmla="*/ 629011 w 6616265"/>
              <a:gd name="connsiteY68" fmla="*/ 4725814 h 6843715"/>
              <a:gd name="connsiteX69" fmla="*/ 501919 w 6616265"/>
              <a:gd name="connsiteY69" fmla="*/ 4598720 h 6843715"/>
              <a:gd name="connsiteX70" fmla="*/ 629011 w 6616265"/>
              <a:gd name="connsiteY70" fmla="*/ 4471628 h 6843715"/>
              <a:gd name="connsiteX71" fmla="*/ 1201250 w 6616265"/>
              <a:gd name="connsiteY71" fmla="*/ 4380018 h 6843715"/>
              <a:gd name="connsiteX72" fmla="*/ 1402746 w 6616265"/>
              <a:gd name="connsiteY72" fmla="*/ 4513653 h 6843715"/>
              <a:gd name="connsiteX73" fmla="*/ 1409763 w 6616265"/>
              <a:gd name="connsiteY73" fmla="*/ 4548338 h 6843715"/>
              <a:gd name="connsiteX74" fmla="*/ 1404469 w 6616265"/>
              <a:gd name="connsiteY74" fmla="*/ 4585134 h 6843715"/>
              <a:gd name="connsiteX75" fmla="*/ 1411993 w 6616265"/>
              <a:gd name="connsiteY75" fmla="*/ 4638076 h 6843715"/>
              <a:gd name="connsiteX76" fmla="*/ 1402746 w 6616265"/>
              <a:gd name="connsiteY76" fmla="*/ 4683789 h 6843715"/>
              <a:gd name="connsiteX77" fmla="*/ 1201250 w 6616265"/>
              <a:gd name="connsiteY77" fmla="*/ 4817424 h 6843715"/>
              <a:gd name="connsiteX78" fmla="*/ 982548 w 6616265"/>
              <a:gd name="connsiteY78" fmla="*/ 4598720 h 6843715"/>
              <a:gd name="connsiteX79" fmla="*/ 1201250 w 6616265"/>
              <a:gd name="connsiteY79" fmla="*/ 4380018 h 6843715"/>
              <a:gd name="connsiteX80" fmla="*/ 56772 w 6616265"/>
              <a:gd name="connsiteY80" fmla="*/ 3971645 h 6843715"/>
              <a:gd name="connsiteX81" fmla="*/ 111609 w 6616265"/>
              <a:gd name="connsiteY81" fmla="*/ 4026482 h 6843715"/>
              <a:gd name="connsiteX82" fmla="*/ 56772 w 6616265"/>
              <a:gd name="connsiteY82" fmla="*/ 4081319 h 6843715"/>
              <a:gd name="connsiteX83" fmla="*/ 1935 w 6616265"/>
              <a:gd name="connsiteY83" fmla="*/ 4026482 h 6843715"/>
              <a:gd name="connsiteX84" fmla="*/ 56772 w 6616265"/>
              <a:gd name="connsiteY84" fmla="*/ 3971645 h 6843715"/>
              <a:gd name="connsiteX85" fmla="*/ 629011 w 6616265"/>
              <a:gd name="connsiteY85" fmla="*/ 3905840 h 6843715"/>
              <a:gd name="connsiteX86" fmla="*/ 749008 w 6616265"/>
              <a:gd name="connsiteY86" fmla="*/ 4025836 h 6843715"/>
              <a:gd name="connsiteX87" fmla="*/ 629011 w 6616265"/>
              <a:gd name="connsiteY87" fmla="*/ 4145833 h 6843715"/>
              <a:gd name="connsiteX88" fmla="*/ 509015 w 6616265"/>
              <a:gd name="connsiteY88" fmla="*/ 4025836 h 6843715"/>
              <a:gd name="connsiteX89" fmla="*/ 629011 w 6616265"/>
              <a:gd name="connsiteY89" fmla="*/ 3905840 h 6843715"/>
              <a:gd name="connsiteX90" fmla="*/ 1203892 w 6616265"/>
              <a:gd name="connsiteY90" fmla="*/ 3814493 h 6843715"/>
              <a:gd name="connsiteX91" fmla="*/ 1409012 w 6616265"/>
              <a:gd name="connsiteY91" fmla="*/ 3986119 h 6843715"/>
              <a:gd name="connsiteX92" fmla="*/ 1410785 w 6616265"/>
              <a:gd name="connsiteY92" fmla="*/ 4005809 h 6843715"/>
              <a:gd name="connsiteX93" fmla="*/ 1410276 w 6616265"/>
              <a:gd name="connsiteY93" fmla="*/ 4012250 h 6843715"/>
              <a:gd name="connsiteX94" fmla="*/ 1412759 w 6616265"/>
              <a:gd name="connsiteY94" fmla="*/ 4029675 h 6843715"/>
              <a:gd name="connsiteX95" fmla="*/ 1408258 w 6616265"/>
              <a:gd name="connsiteY95" fmla="*/ 4070146 h 6843715"/>
              <a:gd name="connsiteX96" fmla="*/ 1241229 w 6616265"/>
              <a:gd name="connsiteY96" fmla="*/ 4233930 h 6843715"/>
              <a:gd name="connsiteX97" fmla="*/ 993420 w 6616265"/>
              <a:gd name="connsiteY97" fmla="*/ 4066148 h 6843715"/>
              <a:gd name="connsiteX98" fmla="*/ 1161200 w 6616265"/>
              <a:gd name="connsiteY98" fmla="*/ 3818336 h 6843715"/>
              <a:gd name="connsiteX99" fmla="*/ 1203892 w 6616265"/>
              <a:gd name="connsiteY99" fmla="*/ 3814493 h 6843715"/>
              <a:gd name="connsiteX100" fmla="*/ 56773 w 6616265"/>
              <a:gd name="connsiteY100" fmla="*/ 3404567 h 6843715"/>
              <a:gd name="connsiteX101" fmla="*/ 105802 w 6616265"/>
              <a:gd name="connsiteY101" fmla="*/ 3453598 h 6843715"/>
              <a:gd name="connsiteX102" fmla="*/ 56773 w 6616265"/>
              <a:gd name="connsiteY102" fmla="*/ 3502627 h 6843715"/>
              <a:gd name="connsiteX103" fmla="*/ 7742 w 6616265"/>
              <a:gd name="connsiteY103" fmla="*/ 3453598 h 6843715"/>
              <a:gd name="connsiteX104" fmla="*/ 56773 w 6616265"/>
              <a:gd name="connsiteY104" fmla="*/ 3404567 h 6843715"/>
              <a:gd name="connsiteX105" fmla="*/ 629011 w 6616265"/>
              <a:gd name="connsiteY105" fmla="*/ 3346504 h 6843715"/>
              <a:gd name="connsiteX106" fmla="*/ 736105 w 6616265"/>
              <a:gd name="connsiteY106" fmla="*/ 3453598 h 6843715"/>
              <a:gd name="connsiteX107" fmla="*/ 629011 w 6616265"/>
              <a:gd name="connsiteY107" fmla="*/ 3560691 h 6843715"/>
              <a:gd name="connsiteX108" fmla="*/ 521918 w 6616265"/>
              <a:gd name="connsiteY108" fmla="*/ 3453598 h 6843715"/>
              <a:gd name="connsiteX109" fmla="*/ 629011 w 6616265"/>
              <a:gd name="connsiteY109" fmla="*/ 3346504 h 6843715"/>
              <a:gd name="connsiteX110" fmla="*/ 1202686 w 6616265"/>
              <a:gd name="connsiteY110" fmla="*/ 3262070 h 6843715"/>
              <a:gd name="connsiteX111" fmla="*/ 1378371 w 6616265"/>
              <a:gd name="connsiteY111" fmla="*/ 3380400 h 6843715"/>
              <a:gd name="connsiteX112" fmla="*/ 1274673 w 6616265"/>
              <a:gd name="connsiteY112" fmla="*/ 3630753 h 6843715"/>
              <a:gd name="connsiteX113" fmla="*/ 1024320 w 6616265"/>
              <a:gd name="connsiteY113" fmla="*/ 3527055 h 6843715"/>
              <a:gd name="connsiteX114" fmla="*/ 1128017 w 6616265"/>
              <a:gd name="connsiteY114" fmla="*/ 3276702 h 6843715"/>
              <a:gd name="connsiteX115" fmla="*/ 1202686 w 6616265"/>
              <a:gd name="connsiteY115" fmla="*/ 3262070 h 6843715"/>
              <a:gd name="connsiteX116" fmla="*/ 56772 w 6616265"/>
              <a:gd name="connsiteY116" fmla="*/ 2842650 h 6843715"/>
              <a:gd name="connsiteX117" fmla="*/ 95481 w 6616265"/>
              <a:gd name="connsiteY117" fmla="*/ 2881358 h 6843715"/>
              <a:gd name="connsiteX118" fmla="*/ 56772 w 6616265"/>
              <a:gd name="connsiteY118" fmla="*/ 2920067 h 6843715"/>
              <a:gd name="connsiteX119" fmla="*/ 18064 w 6616265"/>
              <a:gd name="connsiteY119" fmla="*/ 2881358 h 6843715"/>
              <a:gd name="connsiteX120" fmla="*/ 56772 w 6616265"/>
              <a:gd name="connsiteY120" fmla="*/ 2842650 h 6843715"/>
              <a:gd name="connsiteX121" fmla="*/ 629011 w 6616265"/>
              <a:gd name="connsiteY121" fmla="*/ 2794264 h 6843715"/>
              <a:gd name="connsiteX122" fmla="*/ 716105 w 6616265"/>
              <a:gd name="connsiteY122" fmla="*/ 2881358 h 6843715"/>
              <a:gd name="connsiteX123" fmla="*/ 629011 w 6616265"/>
              <a:gd name="connsiteY123" fmla="*/ 2968451 h 6843715"/>
              <a:gd name="connsiteX124" fmla="*/ 541918 w 6616265"/>
              <a:gd name="connsiteY124" fmla="*/ 2881358 h 6843715"/>
              <a:gd name="connsiteX125" fmla="*/ 629011 w 6616265"/>
              <a:gd name="connsiteY125" fmla="*/ 2794264 h 6843715"/>
              <a:gd name="connsiteX126" fmla="*/ 1201251 w 6616265"/>
              <a:gd name="connsiteY126" fmla="*/ 2715556 h 6843715"/>
              <a:gd name="connsiteX127" fmla="*/ 1367053 w 6616265"/>
              <a:gd name="connsiteY127" fmla="*/ 2881358 h 6843715"/>
              <a:gd name="connsiteX128" fmla="*/ 1201251 w 6616265"/>
              <a:gd name="connsiteY128" fmla="*/ 3047159 h 6843715"/>
              <a:gd name="connsiteX129" fmla="*/ 1035450 w 6616265"/>
              <a:gd name="connsiteY129" fmla="*/ 2881358 h 6843715"/>
              <a:gd name="connsiteX130" fmla="*/ 1201251 w 6616265"/>
              <a:gd name="connsiteY130" fmla="*/ 2715556 h 6843715"/>
              <a:gd name="connsiteX131" fmla="*/ 629011 w 6616265"/>
              <a:gd name="connsiteY131" fmla="*/ 2240733 h 6843715"/>
              <a:gd name="connsiteX132" fmla="*/ 696752 w 6616265"/>
              <a:gd name="connsiteY132" fmla="*/ 2308473 h 6843715"/>
              <a:gd name="connsiteX133" fmla="*/ 629011 w 6616265"/>
              <a:gd name="connsiteY133" fmla="*/ 2376215 h 6843715"/>
              <a:gd name="connsiteX134" fmla="*/ 561272 w 6616265"/>
              <a:gd name="connsiteY134" fmla="*/ 2308473 h 6843715"/>
              <a:gd name="connsiteX135" fmla="*/ 629011 w 6616265"/>
              <a:gd name="connsiteY135" fmla="*/ 2240733 h 6843715"/>
              <a:gd name="connsiteX136" fmla="*/ 1201250 w 6616265"/>
              <a:gd name="connsiteY136" fmla="*/ 2176227 h 6843715"/>
              <a:gd name="connsiteX137" fmla="*/ 1333504 w 6616265"/>
              <a:gd name="connsiteY137" fmla="*/ 2308480 h 6843715"/>
              <a:gd name="connsiteX138" fmla="*/ 1201250 w 6616265"/>
              <a:gd name="connsiteY138" fmla="*/ 2440726 h 6843715"/>
              <a:gd name="connsiteX139" fmla="*/ 1068997 w 6616265"/>
              <a:gd name="connsiteY139" fmla="*/ 2308480 h 6843715"/>
              <a:gd name="connsiteX140" fmla="*/ 1201250 w 6616265"/>
              <a:gd name="connsiteY140" fmla="*/ 2176227 h 6843715"/>
              <a:gd name="connsiteX141" fmla="*/ 1773490 w 6616265"/>
              <a:gd name="connsiteY141" fmla="*/ 2088481 h 6843715"/>
              <a:gd name="connsiteX142" fmla="*/ 1976166 w 6616265"/>
              <a:gd name="connsiteY142" fmla="*/ 2222936 h 6843715"/>
              <a:gd name="connsiteX143" fmla="*/ 1987399 w 6616265"/>
              <a:gd name="connsiteY143" fmla="*/ 2278426 h 6843715"/>
              <a:gd name="connsiteX144" fmla="*/ 1985740 w 6616265"/>
              <a:gd name="connsiteY144" fmla="*/ 2294891 h 6843715"/>
              <a:gd name="connsiteX145" fmla="*/ 1989817 w 6616265"/>
              <a:gd name="connsiteY145" fmla="*/ 2326586 h 6843715"/>
              <a:gd name="connsiteX146" fmla="*/ 1976166 w 6616265"/>
              <a:gd name="connsiteY146" fmla="*/ 2394018 h 6843715"/>
              <a:gd name="connsiteX147" fmla="*/ 1773490 w 6616265"/>
              <a:gd name="connsiteY147" fmla="*/ 2528464 h 6843715"/>
              <a:gd name="connsiteX148" fmla="*/ 1553498 w 6616265"/>
              <a:gd name="connsiteY148" fmla="*/ 2308473 h 6843715"/>
              <a:gd name="connsiteX149" fmla="*/ 1773490 w 6616265"/>
              <a:gd name="connsiteY149" fmla="*/ 2088481 h 6843715"/>
              <a:gd name="connsiteX150" fmla="*/ 629011 w 6616265"/>
              <a:gd name="connsiteY150" fmla="*/ 1688493 h 6843715"/>
              <a:gd name="connsiteX151" fmla="*/ 676752 w 6616265"/>
              <a:gd name="connsiteY151" fmla="*/ 1736234 h 6843715"/>
              <a:gd name="connsiteX152" fmla="*/ 629011 w 6616265"/>
              <a:gd name="connsiteY152" fmla="*/ 1783975 h 6843715"/>
              <a:gd name="connsiteX153" fmla="*/ 581271 w 6616265"/>
              <a:gd name="connsiteY153" fmla="*/ 1736234 h 6843715"/>
              <a:gd name="connsiteX154" fmla="*/ 629011 w 6616265"/>
              <a:gd name="connsiteY154" fmla="*/ 1688493 h 6843715"/>
              <a:gd name="connsiteX155" fmla="*/ 1201250 w 6616265"/>
              <a:gd name="connsiteY155" fmla="*/ 1639465 h 6843715"/>
              <a:gd name="connsiteX156" fmla="*/ 1298022 w 6616265"/>
              <a:gd name="connsiteY156" fmla="*/ 1736237 h 6843715"/>
              <a:gd name="connsiteX157" fmla="*/ 1201250 w 6616265"/>
              <a:gd name="connsiteY157" fmla="*/ 1833008 h 6843715"/>
              <a:gd name="connsiteX158" fmla="*/ 1104480 w 6616265"/>
              <a:gd name="connsiteY158" fmla="*/ 1736237 h 6843715"/>
              <a:gd name="connsiteX159" fmla="*/ 1201250 w 6616265"/>
              <a:gd name="connsiteY159" fmla="*/ 1639465 h 6843715"/>
              <a:gd name="connsiteX160" fmla="*/ 1741933 w 6616265"/>
              <a:gd name="connsiteY160" fmla="*/ 1572389 h 6843715"/>
              <a:gd name="connsiteX161" fmla="*/ 1937614 w 6616265"/>
              <a:gd name="connsiteY161" fmla="*/ 1704875 h 6843715"/>
              <a:gd name="connsiteX162" fmla="*/ 1805127 w 6616265"/>
              <a:gd name="connsiteY162" fmla="*/ 1900555 h 6843715"/>
              <a:gd name="connsiteX163" fmla="*/ 1609447 w 6616265"/>
              <a:gd name="connsiteY163" fmla="*/ 1768068 h 6843715"/>
              <a:gd name="connsiteX164" fmla="*/ 1741933 w 6616265"/>
              <a:gd name="connsiteY164" fmla="*/ 1572389 h 6843715"/>
              <a:gd name="connsiteX165" fmla="*/ 1189474 w 6616265"/>
              <a:gd name="connsiteY165" fmla="*/ 1102707 h 6843715"/>
              <a:gd name="connsiteX166" fmla="*/ 1262761 w 6616265"/>
              <a:gd name="connsiteY166" fmla="*/ 1152327 h 6843715"/>
              <a:gd name="connsiteX167" fmla="*/ 1213141 w 6616265"/>
              <a:gd name="connsiteY167" fmla="*/ 1225613 h 6843715"/>
              <a:gd name="connsiteX168" fmla="*/ 1139856 w 6616265"/>
              <a:gd name="connsiteY168" fmla="*/ 1175994 h 6843715"/>
              <a:gd name="connsiteX169" fmla="*/ 1189474 w 6616265"/>
              <a:gd name="connsiteY169" fmla="*/ 1102707 h 6843715"/>
              <a:gd name="connsiteX170" fmla="*/ 1773490 w 6616265"/>
              <a:gd name="connsiteY170" fmla="*/ 1043355 h 6843715"/>
              <a:gd name="connsiteX171" fmla="*/ 1894132 w 6616265"/>
              <a:gd name="connsiteY171" fmla="*/ 1163996 h 6843715"/>
              <a:gd name="connsiteX172" fmla="*/ 1773490 w 6616265"/>
              <a:gd name="connsiteY172" fmla="*/ 1284638 h 6843715"/>
              <a:gd name="connsiteX173" fmla="*/ 1652849 w 6616265"/>
              <a:gd name="connsiteY173" fmla="*/ 1163996 h 6843715"/>
              <a:gd name="connsiteX174" fmla="*/ 1773490 w 6616265"/>
              <a:gd name="connsiteY174" fmla="*/ 1043355 h 6843715"/>
              <a:gd name="connsiteX175" fmla="*/ 2346375 w 6616265"/>
              <a:gd name="connsiteY175" fmla="*/ 973034 h 6843715"/>
              <a:gd name="connsiteX176" fmla="*/ 2537336 w 6616265"/>
              <a:gd name="connsiteY176" fmla="*/ 1163996 h 6843715"/>
              <a:gd name="connsiteX177" fmla="*/ 2346375 w 6616265"/>
              <a:gd name="connsiteY177" fmla="*/ 1354957 h 6843715"/>
              <a:gd name="connsiteX178" fmla="*/ 2155413 w 6616265"/>
              <a:gd name="connsiteY178" fmla="*/ 1163996 h 6843715"/>
              <a:gd name="connsiteX179" fmla="*/ 2346375 w 6616265"/>
              <a:gd name="connsiteY179" fmla="*/ 973034 h 6843715"/>
              <a:gd name="connsiteX180" fmla="*/ 1201251 w 6616265"/>
              <a:gd name="connsiteY180" fmla="*/ 554986 h 6843715"/>
              <a:gd name="connsiteX181" fmla="*/ 1238024 w 6616265"/>
              <a:gd name="connsiteY181" fmla="*/ 591758 h 6843715"/>
              <a:gd name="connsiteX182" fmla="*/ 1201251 w 6616265"/>
              <a:gd name="connsiteY182" fmla="*/ 628531 h 6843715"/>
              <a:gd name="connsiteX183" fmla="*/ 1164478 w 6616265"/>
              <a:gd name="connsiteY183" fmla="*/ 591758 h 6843715"/>
              <a:gd name="connsiteX184" fmla="*/ 1201251 w 6616265"/>
              <a:gd name="connsiteY184" fmla="*/ 554986 h 6843715"/>
              <a:gd name="connsiteX185" fmla="*/ 1773490 w 6616265"/>
              <a:gd name="connsiteY185" fmla="*/ 516275 h 6843715"/>
              <a:gd name="connsiteX186" fmla="*/ 1848972 w 6616265"/>
              <a:gd name="connsiteY186" fmla="*/ 591757 h 6843715"/>
              <a:gd name="connsiteX187" fmla="*/ 1773490 w 6616265"/>
              <a:gd name="connsiteY187" fmla="*/ 667238 h 6843715"/>
              <a:gd name="connsiteX188" fmla="*/ 1698009 w 6616265"/>
              <a:gd name="connsiteY188" fmla="*/ 591757 h 6843715"/>
              <a:gd name="connsiteX189" fmla="*/ 1773490 w 6616265"/>
              <a:gd name="connsiteY189" fmla="*/ 516275 h 6843715"/>
              <a:gd name="connsiteX190" fmla="*/ 2346375 w 6616265"/>
              <a:gd name="connsiteY190" fmla="*/ 462084 h 6843715"/>
              <a:gd name="connsiteX191" fmla="*/ 2476048 w 6616265"/>
              <a:gd name="connsiteY191" fmla="*/ 591757 h 6843715"/>
              <a:gd name="connsiteX192" fmla="*/ 2346375 w 6616265"/>
              <a:gd name="connsiteY192" fmla="*/ 721429 h 6843715"/>
              <a:gd name="connsiteX193" fmla="*/ 2216701 w 6616265"/>
              <a:gd name="connsiteY193" fmla="*/ 591757 h 6843715"/>
              <a:gd name="connsiteX194" fmla="*/ 2346375 w 6616265"/>
              <a:gd name="connsiteY194" fmla="*/ 462084 h 6843715"/>
              <a:gd name="connsiteX195" fmla="*/ 2918615 w 6616265"/>
              <a:gd name="connsiteY195" fmla="*/ 395638 h 6843715"/>
              <a:gd name="connsiteX196" fmla="*/ 3114093 w 6616265"/>
              <a:gd name="connsiteY196" fmla="*/ 591115 h 6843715"/>
              <a:gd name="connsiteX197" fmla="*/ 2918615 w 6616265"/>
              <a:gd name="connsiteY197" fmla="*/ 786593 h 6843715"/>
              <a:gd name="connsiteX198" fmla="*/ 2723138 w 6616265"/>
              <a:gd name="connsiteY198" fmla="*/ 591115 h 6843715"/>
              <a:gd name="connsiteX199" fmla="*/ 2918615 w 6616265"/>
              <a:gd name="connsiteY199" fmla="*/ 395638 h 6843715"/>
              <a:gd name="connsiteX200" fmla="*/ 4310583 w 6616265"/>
              <a:gd name="connsiteY200" fmla="*/ 0 h 6843715"/>
              <a:gd name="connsiteX201" fmla="*/ 6616265 w 6616265"/>
              <a:gd name="connsiteY201" fmla="*/ 0 h 6843715"/>
              <a:gd name="connsiteX202" fmla="*/ 6616265 w 6616265"/>
              <a:gd name="connsiteY202" fmla="*/ 6843715 h 6843715"/>
              <a:gd name="connsiteX203" fmla="*/ 1487341 w 6616265"/>
              <a:gd name="connsiteY203" fmla="*/ 6843715 h 6843715"/>
              <a:gd name="connsiteX204" fmla="*/ 1496539 w 6616265"/>
              <a:gd name="connsiteY204" fmla="*/ 6801672 h 6843715"/>
              <a:gd name="connsiteX205" fmla="*/ 1727039 w 6616265"/>
              <a:gd name="connsiteY205" fmla="*/ 6632808 h 6843715"/>
              <a:gd name="connsiteX206" fmla="*/ 1965741 w 6616265"/>
              <a:gd name="connsiteY206" fmla="*/ 6834092 h 6843715"/>
              <a:gd name="connsiteX207" fmla="*/ 2090255 w 6616265"/>
              <a:gd name="connsiteY207" fmla="*/ 6611519 h 6843715"/>
              <a:gd name="connsiteX208" fmla="*/ 1960580 w 6616265"/>
              <a:gd name="connsiteY208" fmla="*/ 6459266 h 6843715"/>
              <a:gd name="connsiteX209" fmla="*/ 1727039 w 6616265"/>
              <a:gd name="connsiteY209" fmla="*/ 6583778 h 6843715"/>
              <a:gd name="connsiteX210" fmla="*/ 1445758 w 6616265"/>
              <a:gd name="connsiteY210" fmla="*/ 6302497 h 6843715"/>
              <a:gd name="connsiteX211" fmla="*/ 1658654 w 6616265"/>
              <a:gd name="connsiteY211" fmla="*/ 6029603 h 6843715"/>
              <a:gd name="connsiteX212" fmla="*/ 1419307 w 6616265"/>
              <a:gd name="connsiteY212" fmla="*/ 5729612 h 6843715"/>
              <a:gd name="connsiteX213" fmla="*/ 1598012 w 6616265"/>
              <a:gd name="connsiteY213" fmla="*/ 5450912 h 6843715"/>
              <a:gd name="connsiteX214" fmla="*/ 1420467 w 6616265"/>
              <a:gd name="connsiteY214" fmla="*/ 5251503 h 6843715"/>
              <a:gd name="connsiteX215" fmla="*/ 1412511 w 6616265"/>
              <a:gd name="connsiteY215" fmla="*/ 5198249 h 6843715"/>
              <a:gd name="connsiteX216" fmla="*/ 1418018 w 6616265"/>
              <a:gd name="connsiteY216" fmla="*/ 5170959 h 6843715"/>
              <a:gd name="connsiteX217" fmla="*/ 1410074 w 6616265"/>
              <a:gd name="connsiteY217" fmla="*/ 5131470 h 6843715"/>
              <a:gd name="connsiteX218" fmla="*/ 1419106 w 6616265"/>
              <a:gd name="connsiteY218" fmla="*/ 5067729 h 6843715"/>
              <a:gd name="connsiteX219" fmla="*/ 1580592 w 6616265"/>
              <a:gd name="connsiteY219" fmla="*/ 4872221 h 6843715"/>
              <a:gd name="connsiteX220" fmla="*/ 1417291 w 6616265"/>
              <a:gd name="connsiteY220" fmla="*/ 4675353 h 6843715"/>
              <a:gd name="connsiteX221" fmla="*/ 1411993 w 6616265"/>
              <a:gd name="connsiteY221" fmla="*/ 4638076 h 6843715"/>
              <a:gd name="connsiteX222" fmla="*/ 1419954 w 6616265"/>
              <a:gd name="connsiteY222" fmla="*/ 4598720 h 6843715"/>
              <a:gd name="connsiteX223" fmla="*/ 1409763 w 6616265"/>
              <a:gd name="connsiteY223" fmla="*/ 4548338 h 6843715"/>
              <a:gd name="connsiteX224" fmla="*/ 1417623 w 6616265"/>
              <a:gd name="connsiteY224" fmla="*/ 4493696 h 6843715"/>
              <a:gd name="connsiteX225" fmla="*/ 1584463 w 6616265"/>
              <a:gd name="connsiteY225" fmla="*/ 4295466 h 6843715"/>
              <a:gd name="connsiteX226" fmla="*/ 1422978 w 6616265"/>
              <a:gd name="connsiteY226" fmla="*/ 4101409 h 6843715"/>
              <a:gd name="connsiteX227" fmla="*/ 1412759 w 6616265"/>
              <a:gd name="connsiteY227" fmla="*/ 4029675 h 6843715"/>
              <a:gd name="connsiteX228" fmla="*/ 1412855 w 6616265"/>
              <a:gd name="connsiteY228" fmla="*/ 4028809 h 6843715"/>
              <a:gd name="connsiteX229" fmla="*/ 1410785 w 6616265"/>
              <a:gd name="connsiteY229" fmla="*/ 4005809 h 6843715"/>
              <a:gd name="connsiteX230" fmla="*/ 1414258 w 6616265"/>
              <a:gd name="connsiteY230" fmla="*/ 3961788 h 6843715"/>
              <a:gd name="connsiteX231" fmla="*/ 1619945 w 6616265"/>
              <a:gd name="connsiteY231" fmla="*/ 3714195 h 6843715"/>
              <a:gd name="connsiteX232" fmla="*/ 1432210 w 6616265"/>
              <a:gd name="connsiteY232" fmla="*/ 3440010 h 6843715"/>
              <a:gd name="connsiteX233" fmla="*/ 1727039 w 6616265"/>
              <a:gd name="connsiteY233" fmla="*/ 3145181 h 6843715"/>
              <a:gd name="connsiteX234" fmla="*/ 1959290 w 6616265"/>
              <a:gd name="connsiteY234" fmla="*/ 3259371 h 6843715"/>
              <a:gd name="connsiteX235" fmla="*/ 2066382 w 6616265"/>
              <a:gd name="connsiteY235" fmla="*/ 3133569 h 6843715"/>
              <a:gd name="connsiteX236" fmla="*/ 1963805 w 6616265"/>
              <a:gd name="connsiteY236" fmla="*/ 2980026 h 6843715"/>
              <a:gd name="connsiteX237" fmla="*/ 1726393 w 6616265"/>
              <a:gd name="connsiteY237" fmla="*/ 3129697 h 6843715"/>
              <a:gd name="connsiteX238" fmla="*/ 1463822 w 6616265"/>
              <a:gd name="connsiteY238" fmla="*/ 2867126 h 6843715"/>
              <a:gd name="connsiteX239" fmla="*/ 1726393 w 6616265"/>
              <a:gd name="connsiteY239" fmla="*/ 2604554 h 6843715"/>
              <a:gd name="connsiteX240" fmla="*/ 1963805 w 6616265"/>
              <a:gd name="connsiteY240" fmla="*/ 2754227 h 6843715"/>
              <a:gd name="connsiteX241" fmla="*/ 2128316 w 6616265"/>
              <a:gd name="connsiteY241" fmla="*/ 2557458 h 6843715"/>
              <a:gd name="connsiteX242" fmla="*/ 1995952 w 6616265"/>
              <a:gd name="connsiteY242" fmla="*/ 2374289 h 6843715"/>
              <a:gd name="connsiteX243" fmla="*/ 1989817 w 6616265"/>
              <a:gd name="connsiteY243" fmla="*/ 2326586 h 6843715"/>
              <a:gd name="connsiteX244" fmla="*/ 1993483 w 6616265"/>
              <a:gd name="connsiteY244" fmla="*/ 2308473 h 6843715"/>
              <a:gd name="connsiteX245" fmla="*/ 1987399 w 6616265"/>
              <a:gd name="connsiteY245" fmla="*/ 2278426 h 6843715"/>
              <a:gd name="connsiteX246" fmla="*/ 1992121 w 6616265"/>
              <a:gd name="connsiteY246" fmla="*/ 2231592 h 6843715"/>
              <a:gd name="connsiteX247" fmla="*/ 2299279 w 6616265"/>
              <a:gd name="connsiteY247" fmla="*/ 1981352 h 6843715"/>
              <a:gd name="connsiteX248" fmla="*/ 2538627 w 6616265"/>
              <a:gd name="connsiteY248" fmla="*/ 2092962 h 6843715"/>
              <a:gd name="connsiteX249" fmla="*/ 2647655 w 6616265"/>
              <a:gd name="connsiteY249" fmla="*/ 1976190 h 6843715"/>
              <a:gd name="connsiteX250" fmla="*/ 2542497 w 6616265"/>
              <a:gd name="connsiteY250" fmla="*/ 1803293 h 6843715"/>
              <a:gd name="connsiteX251" fmla="*/ 2298633 w 6616265"/>
              <a:gd name="connsiteY251" fmla="*/ 1979417 h 6843715"/>
              <a:gd name="connsiteX252" fmla="*/ 2041223 w 6616265"/>
              <a:gd name="connsiteY252" fmla="*/ 1722003 h 6843715"/>
              <a:gd name="connsiteX253" fmla="*/ 2298633 w 6616265"/>
              <a:gd name="connsiteY253" fmla="*/ 1464593 h 6843715"/>
              <a:gd name="connsiteX254" fmla="*/ 2542497 w 6616265"/>
              <a:gd name="connsiteY254" fmla="*/ 1640718 h 6843715"/>
              <a:gd name="connsiteX255" fmla="*/ 2760555 w 6616265"/>
              <a:gd name="connsiteY255" fmla="*/ 1402016 h 6843715"/>
              <a:gd name="connsiteX256" fmla="*/ 2595400 w 6616265"/>
              <a:gd name="connsiteY256" fmla="*/ 1149118 h 6843715"/>
              <a:gd name="connsiteX257" fmla="*/ 2871517 w 6616265"/>
              <a:gd name="connsiteY257" fmla="*/ 872997 h 6843715"/>
              <a:gd name="connsiteX258" fmla="*/ 3123123 w 6616265"/>
              <a:gd name="connsiteY258" fmla="*/ 1035574 h 6843715"/>
              <a:gd name="connsiteX259" fmla="*/ 3348277 w 6616265"/>
              <a:gd name="connsiteY259" fmla="*/ 822035 h 6843715"/>
              <a:gd name="connsiteX260" fmla="*/ 3179895 w 6616265"/>
              <a:gd name="connsiteY260" fmla="*/ 576235 h 6843715"/>
              <a:gd name="connsiteX261" fmla="*/ 3443757 w 6616265"/>
              <a:gd name="connsiteY261" fmla="*/ 312373 h 6843715"/>
              <a:gd name="connsiteX262" fmla="*/ 3699877 w 6616265"/>
              <a:gd name="connsiteY262" fmla="*/ 514303 h 6843715"/>
              <a:gd name="connsiteX263" fmla="*/ 4015997 w 6616265"/>
              <a:gd name="connsiteY263" fmla="*/ 254311 h 6843715"/>
              <a:gd name="connsiteX264" fmla="*/ 4275343 w 6616265"/>
              <a:gd name="connsiteY264" fmla="*/ 385274 h 6843715"/>
              <a:gd name="connsiteX265" fmla="*/ 4441789 w 6616265"/>
              <a:gd name="connsiteY265" fmla="*/ 240118 h 6843715"/>
              <a:gd name="connsiteX266" fmla="*/ 4310179 w 6616265"/>
              <a:gd name="connsiteY266" fmla="*/ 3997 h 6843715"/>
              <a:gd name="connsiteX267" fmla="*/ 3836709 w 6616265"/>
              <a:gd name="connsiteY267" fmla="*/ 0 h 6843715"/>
              <a:gd name="connsiteX268" fmla="*/ 4290765 w 6616265"/>
              <a:gd name="connsiteY268" fmla="*/ 0 h 6843715"/>
              <a:gd name="connsiteX269" fmla="*/ 4294697 w 6616265"/>
              <a:gd name="connsiteY269" fmla="*/ 19521 h 6843715"/>
              <a:gd name="connsiteX270" fmla="*/ 4063739 w 6616265"/>
              <a:gd name="connsiteY270" fmla="*/ 250481 h 6843715"/>
              <a:gd name="connsiteX271" fmla="*/ 3832777 w 6616265"/>
              <a:gd name="connsiteY271" fmla="*/ 19521 h 6843715"/>
              <a:gd name="connsiteX272" fmla="*/ 3315961 w 6616265"/>
              <a:gd name="connsiteY272" fmla="*/ 0 h 6843715"/>
              <a:gd name="connsiteX273" fmla="*/ 3665747 w 6616265"/>
              <a:gd name="connsiteY273" fmla="*/ 0 h 6843715"/>
              <a:gd name="connsiteX274" fmla="*/ 3669557 w 6616265"/>
              <a:gd name="connsiteY274" fmla="*/ 18877 h 6843715"/>
              <a:gd name="connsiteX275" fmla="*/ 3490853 w 6616265"/>
              <a:gd name="connsiteY275" fmla="*/ 197580 h 6843715"/>
              <a:gd name="connsiteX276" fmla="*/ 3312149 w 6616265"/>
              <a:gd name="connsiteY276" fmla="*/ 18877 h 6843715"/>
              <a:gd name="connsiteX277" fmla="*/ 2797407 w 6616265"/>
              <a:gd name="connsiteY277" fmla="*/ 0 h 6843715"/>
              <a:gd name="connsiteX278" fmla="*/ 3039823 w 6616265"/>
              <a:gd name="connsiteY278" fmla="*/ 0 h 6843715"/>
              <a:gd name="connsiteX279" fmla="*/ 3043771 w 6616265"/>
              <a:gd name="connsiteY279" fmla="*/ 19521 h 6843715"/>
              <a:gd name="connsiteX280" fmla="*/ 2918615 w 6616265"/>
              <a:gd name="connsiteY280" fmla="*/ 144678 h 6843715"/>
              <a:gd name="connsiteX281" fmla="*/ 2793457 w 6616265"/>
              <a:gd name="connsiteY281" fmla="*/ 19521 h 6843715"/>
              <a:gd name="connsiteX282" fmla="*/ 2274893 w 6616265"/>
              <a:gd name="connsiteY282" fmla="*/ 0 h 6843715"/>
              <a:gd name="connsiteX283" fmla="*/ 2417855 w 6616265"/>
              <a:gd name="connsiteY283" fmla="*/ 0 h 6843715"/>
              <a:gd name="connsiteX284" fmla="*/ 2421856 w 6616265"/>
              <a:gd name="connsiteY284" fmla="*/ 19518 h 6843715"/>
              <a:gd name="connsiteX285" fmla="*/ 2346375 w 6616265"/>
              <a:gd name="connsiteY285" fmla="*/ 94999 h 6843715"/>
              <a:gd name="connsiteX286" fmla="*/ 2270893 w 6616265"/>
              <a:gd name="connsiteY286" fmla="*/ 19518 h 6843715"/>
              <a:gd name="connsiteX287" fmla="*/ 1740884 w 6616265"/>
              <a:gd name="connsiteY287" fmla="*/ 0 h 6843715"/>
              <a:gd name="connsiteX288" fmla="*/ 1806098 w 6616265"/>
              <a:gd name="connsiteY288" fmla="*/ 0 h 6843715"/>
              <a:gd name="connsiteX289" fmla="*/ 1814136 w 6616265"/>
              <a:gd name="connsiteY289" fmla="*/ 19519 h 6843715"/>
              <a:gd name="connsiteX290" fmla="*/ 1773490 w 6616265"/>
              <a:gd name="connsiteY290" fmla="*/ 60163 h 6843715"/>
              <a:gd name="connsiteX291" fmla="*/ 1732847 w 6616265"/>
              <a:gd name="connsiteY291" fmla="*/ 19519 h 684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</a:cxnLst>
            <a:rect l="l" t="t" r="r" b="b"/>
            <a:pathLst>
              <a:path w="6616265" h="6843715">
                <a:moveTo>
                  <a:pt x="629011" y="6807681"/>
                </a:moveTo>
                <a:cubicBezTo>
                  <a:pt x="645785" y="6807681"/>
                  <a:pt x="661430" y="6813003"/>
                  <a:pt x="674414" y="6821955"/>
                </a:cubicBezTo>
                <a:lnTo>
                  <a:pt x="692183" y="6843715"/>
                </a:lnTo>
                <a:lnTo>
                  <a:pt x="566186" y="6843715"/>
                </a:lnTo>
                <a:lnTo>
                  <a:pt x="583691" y="6821713"/>
                </a:lnTo>
                <a:cubicBezTo>
                  <a:pt x="596593" y="6812842"/>
                  <a:pt x="612238" y="6807681"/>
                  <a:pt x="629011" y="6807681"/>
                </a:cubicBezTo>
                <a:close/>
                <a:moveTo>
                  <a:pt x="1201250" y="6737360"/>
                </a:moveTo>
                <a:cubicBezTo>
                  <a:pt x="1255926" y="6737360"/>
                  <a:pt x="1304070" y="6766754"/>
                  <a:pt x="1330440" y="6810301"/>
                </a:cubicBezTo>
                <a:lnTo>
                  <a:pt x="1343433" y="6843715"/>
                </a:lnTo>
                <a:lnTo>
                  <a:pt x="1059118" y="6843715"/>
                </a:lnTo>
                <a:lnTo>
                  <a:pt x="1072333" y="6810029"/>
                </a:lnTo>
                <a:cubicBezTo>
                  <a:pt x="1098794" y="6766391"/>
                  <a:pt x="1146575" y="6737360"/>
                  <a:pt x="1201250" y="6737360"/>
                </a:cubicBezTo>
                <a:close/>
                <a:moveTo>
                  <a:pt x="56772" y="6273505"/>
                </a:moveTo>
                <a:cubicBezTo>
                  <a:pt x="79998" y="6273505"/>
                  <a:pt x="99350" y="6292215"/>
                  <a:pt x="99350" y="6316084"/>
                </a:cubicBezTo>
                <a:cubicBezTo>
                  <a:pt x="99350" y="6339309"/>
                  <a:pt x="80642" y="6358663"/>
                  <a:pt x="56772" y="6358663"/>
                </a:cubicBezTo>
                <a:cubicBezTo>
                  <a:pt x="33547" y="6358663"/>
                  <a:pt x="14192" y="6339955"/>
                  <a:pt x="14192" y="6316084"/>
                </a:cubicBezTo>
                <a:cubicBezTo>
                  <a:pt x="14192" y="6292860"/>
                  <a:pt x="32902" y="6273505"/>
                  <a:pt x="56772" y="6273505"/>
                </a:cubicBezTo>
                <a:close/>
                <a:moveTo>
                  <a:pt x="629011" y="6216087"/>
                </a:moveTo>
                <a:cubicBezTo>
                  <a:pt x="684494" y="6216087"/>
                  <a:pt x="729008" y="6260601"/>
                  <a:pt x="729008" y="6316083"/>
                </a:cubicBezTo>
                <a:cubicBezTo>
                  <a:pt x="729008" y="6371565"/>
                  <a:pt x="684494" y="6416081"/>
                  <a:pt x="629011" y="6416081"/>
                </a:cubicBezTo>
                <a:cubicBezTo>
                  <a:pt x="573530" y="6416081"/>
                  <a:pt x="529015" y="6371565"/>
                  <a:pt x="529015" y="6316083"/>
                </a:cubicBezTo>
                <a:cubicBezTo>
                  <a:pt x="529015" y="6260601"/>
                  <a:pt x="573530" y="6216087"/>
                  <a:pt x="629011" y="6216087"/>
                </a:cubicBezTo>
                <a:close/>
                <a:moveTo>
                  <a:pt x="1201251" y="6134800"/>
                </a:moveTo>
                <a:cubicBezTo>
                  <a:pt x="1301248" y="6134800"/>
                  <a:pt x="1382536" y="6216087"/>
                  <a:pt x="1382536" y="6316084"/>
                </a:cubicBezTo>
                <a:cubicBezTo>
                  <a:pt x="1382536" y="6416081"/>
                  <a:pt x="1301248" y="6497368"/>
                  <a:pt x="1201251" y="6497368"/>
                </a:cubicBezTo>
                <a:cubicBezTo>
                  <a:pt x="1101255" y="6497368"/>
                  <a:pt x="1019967" y="6416081"/>
                  <a:pt x="1019967" y="6316084"/>
                </a:cubicBezTo>
                <a:cubicBezTo>
                  <a:pt x="1019967" y="6216087"/>
                  <a:pt x="1101255" y="6134800"/>
                  <a:pt x="1201251" y="6134800"/>
                </a:cubicBezTo>
                <a:close/>
                <a:moveTo>
                  <a:pt x="56773" y="5692879"/>
                </a:moveTo>
                <a:cubicBezTo>
                  <a:pt x="84514" y="5692879"/>
                  <a:pt x="107093" y="5715458"/>
                  <a:pt x="107738" y="5743845"/>
                </a:cubicBezTo>
                <a:cubicBezTo>
                  <a:pt x="107738" y="5772232"/>
                  <a:pt x="85159" y="5794811"/>
                  <a:pt x="56773" y="5794811"/>
                </a:cubicBezTo>
                <a:cubicBezTo>
                  <a:pt x="28385" y="5794811"/>
                  <a:pt x="5806" y="5772232"/>
                  <a:pt x="5806" y="5743845"/>
                </a:cubicBezTo>
                <a:cubicBezTo>
                  <a:pt x="5806" y="5715458"/>
                  <a:pt x="28385" y="5692879"/>
                  <a:pt x="56773" y="5692879"/>
                </a:cubicBezTo>
                <a:close/>
                <a:moveTo>
                  <a:pt x="629011" y="5627719"/>
                </a:moveTo>
                <a:cubicBezTo>
                  <a:pt x="692881" y="5627719"/>
                  <a:pt x="744491" y="5679331"/>
                  <a:pt x="744491" y="5743199"/>
                </a:cubicBezTo>
                <a:cubicBezTo>
                  <a:pt x="744491" y="5807068"/>
                  <a:pt x="692881" y="5858679"/>
                  <a:pt x="629011" y="5858679"/>
                </a:cubicBezTo>
                <a:cubicBezTo>
                  <a:pt x="565143" y="5858679"/>
                  <a:pt x="513532" y="5807068"/>
                  <a:pt x="513532" y="5743199"/>
                </a:cubicBezTo>
                <a:cubicBezTo>
                  <a:pt x="513532" y="5679331"/>
                  <a:pt x="565143" y="5627719"/>
                  <a:pt x="629011" y="5627719"/>
                </a:cubicBezTo>
                <a:close/>
                <a:moveTo>
                  <a:pt x="1201250" y="5539980"/>
                </a:moveTo>
                <a:cubicBezTo>
                  <a:pt x="1313506" y="5539980"/>
                  <a:pt x="1404470" y="5630945"/>
                  <a:pt x="1404470" y="5743199"/>
                </a:cubicBezTo>
                <a:cubicBezTo>
                  <a:pt x="1404470" y="5855453"/>
                  <a:pt x="1313506" y="5946419"/>
                  <a:pt x="1201250" y="5946419"/>
                </a:cubicBezTo>
                <a:cubicBezTo>
                  <a:pt x="1088996" y="5946419"/>
                  <a:pt x="998031" y="5855453"/>
                  <a:pt x="998031" y="5743199"/>
                </a:cubicBezTo>
                <a:cubicBezTo>
                  <a:pt x="998031" y="5630945"/>
                  <a:pt x="1088996" y="5539980"/>
                  <a:pt x="1201250" y="5539980"/>
                </a:cubicBezTo>
                <a:close/>
                <a:moveTo>
                  <a:pt x="56772" y="5114188"/>
                </a:moveTo>
                <a:cubicBezTo>
                  <a:pt x="87739" y="5114188"/>
                  <a:pt x="113543" y="5139348"/>
                  <a:pt x="113543" y="5170960"/>
                </a:cubicBezTo>
                <a:cubicBezTo>
                  <a:pt x="113543" y="5201927"/>
                  <a:pt x="88383" y="5227732"/>
                  <a:pt x="56772" y="5227732"/>
                </a:cubicBezTo>
                <a:cubicBezTo>
                  <a:pt x="25805" y="5227732"/>
                  <a:pt x="0" y="5202572"/>
                  <a:pt x="0" y="5170960"/>
                </a:cubicBezTo>
                <a:cubicBezTo>
                  <a:pt x="0" y="5139993"/>
                  <a:pt x="25160" y="5114188"/>
                  <a:pt x="56772" y="5114188"/>
                </a:cubicBezTo>
                <a:close/>
                <a:moveTo>
                  <a:pt x="629011" y="5045803"/>
                </a:moveTo>
                <a:cubicBezTo>
                  <a:pt x="698041" y="5045803"/>
                  <a:pt x="754168" y="5101931"/>
                  <a:pt x="754168" y="5170960"/>
                </a:cubicBezTo>
                <a:cubicBezTo>
                  <a:pt x="754168" y="5239990"/>
                  <a:pt x="698041" y="5296117"/>
                  <a:pt x="629011" y="5296117"/>
                </a:cubicBezTo>
                <a:cubicBezTo>
                  <a:pt x="559981" y="5296117"/>
                  <a:pt x="503854" y="5239990"/>
                  <a:pt x="503854" y="5170960"/>
                </a:cubicBezTo>
                <a:cubicBezTo>
                  <a:pt x="503854" y="5101931"/>
                  <a:pt x="559981" y="5045803"/>
                  <a:pt x="629011" y="5045803"/>
                </a:cubicBezTo>
                <a:close/>
                <a:moveTo>
                  <a:pt x="1201250" y="4954192"/>
                </a:moveTo>
                <a:cubicBezTo>
                  <a:pt x="1291247" y="4954192"/>
                  <a:pt x="1368181" y="5008627"/>
                  <a:pt x="1401022" y="5086466"/>
                </a:cubicBezTo>
                <a:lnTo>
                  <a:pt x="1410074" y="5131470"/>
                </a:lnTo>
                <a:lnTo>
                  <a:pt x="1406404" y="5157374"/>
                </a:lnTo>
                <a:lnTo>
                  <a:pt x="1412511" y="5198249"/>
                </a:lnTo>
                <a:lnTo>
                  <a:pt x="1401022" y="5255180"/>
                </a:lnTo>
                <a:cubicBezTo>
                  <a:pt x="1368181" y="5332931"/>
                  <a:pt x="1291247" y="5387727"/>
                  <a:pt x="1201250" y="5387727"/>
                </a:cubicBezTo>
                <a:cubicBezTo>
                  <a:pt x="1081899" y="5387727"/>
                  <a:pt x="984484" y="5290955"/>
                  <a:pt x="984484" y="5170959"/>
                </a:cubicBezTo>
                <a:cubicBezTo>
                  <a:pt x="984484" y="5051608"/>
                  <a:pt x="1081254" y="4954192"/>
                  <a:pt x="1201250" y="4954192"/>
                </a:cubicBezTo>
                <a:close/>
                <a:moveTo>
                  <a:pt x="56772" y="4541948"/>
                </a:moveTo>
                <a:cubicBezTo>
                  <a:pt x="87739" y="4541948"/>
                  <a:pt x="113543" y="4567108"/>
                  <a:pt x="113543" y="4598720"/>
                </a:cubicBezTo>
                <a:cubicBezTo>
                  <a:pt x="113543" y="4629687"/>
                  <a:pt x="88383" y="4655492"/>
                  <a:pt x="56772" y="4655492"/>
                </a:cubicBezTo>
                <a:cubicBezTo>
                  <a:pt x="25805" y="4655492"/>
                  <a:pt x="0" y="4630332"/>
                  <a:pt x="0" y="4598720"/>
                </a:cubicBezTo>
                <a:cubicBezTo>
                  <a:pt x="0" y="4567753"/>
                  <a:pt x="25160" y="4541948"/>
                  <a:pt x="56772" y="4541948"/>
                </a:cubicBezTo>
                <a:close/>
                <a:moveTo>
                  <a:pt x="629011" y="4471628"/>
                </a:moveTo>
                <a:cubicBezTo>
                  <a:pt x="698687" y="4471628"/>
                  <a:pt x="755461" y="4528400"/>
                  <a:pt x="756105" y="4598720"/>
                </a:cubicBezTo>
                <a:cubicBezTo>
                  <a:pt x="756105" y="4669042"/>
                  <a:pt x="699333" y="4725814"/>
                  <a:pt x="629011" y="4725814"/>
                </a:cubicBezTo>
                <a:cubicBezTo>
                  <a:pt x="558691" y="4725814"/>
                  <a:pt x="501919" y="4669042"/>
                  <a:pt x="501919" y="4598720"/>
                </a:cubicBezTo>
                <a:cubicBezTo>
                  <a:pt x="501919" y="4528400"/>
                  <a:pt x="558691" y="4471628"/>
                  <a:pt x="629011" y="4471628"/>
                </a:cubicBezTo>
                <a:close/>
                <a:moveTo>
                  <a:pt x="1201250" y="4380018"/>
                </a:moveTo>
                <a:cubicBezTo>
                  <a:pt x="1291731" y="4380018"/>
                  <a:pt x="1369511" y="4435178"/>
                  <a:pt x="1402746" y="4513653"/>
                </a:cubicBezTo>
                <a:lnTo>
                  <a:pt x="1409763" y="4548338"/>
                </a:lnTo>
                <a:lnTo>
                  <a:pt x="1404469" y="4585134"/>
                </a:lnTo>
                <a:lnTo>
                  <a:pt x="1411993" y="4638076"/>
                </a:lnTo>
                <a:lnTo>
                  <a:pt x="1402746" y="4683789"/>
                </a:lnTo>
                <a:cubicBezTo>
                  <a:pt x="1369511" y="4762264"/>
                  <a:pt x="1291731" y="4817424"/>
                  <a:pt x="1201250" y="4817424"/>
                </a:cubicBezTo>
                <a:cubicBezTo>
                  <a:pt x="1080609" y="4817424"/>
                  <a:pt x="982548" y="4719362"/>
                  <a:pt x="982548" y="4598720"/>
                </a:cubicBezTo>
                <a:cubicBezTo>
                  <a:pt x="982548" y="4478079"/>
                  <a:pt x="1080609" y="4380018"/>
                  <a:pt x="1201250" y="4380018"/>
                </a:cubicBezTo>
                <a:close/>
                <a:moveTo>
                  <a:pt x="56772" y="3971645"/>
                </a:moveTo>
                <a:cubicBezTo>
                  <a:pt x="87093" y="3971645"/>
                  <a:pt x="111609" y="3996160"/>
                  <a:pt x="111609" y="4026482"/>
                </a:cubicBezTo>
                <a:cubicBezTo>
                  <a:pt x="111609" y="4056803"/>
                  <a:pt x="87093" y="4081319"/>
                  <a:pt x="56772" y="4081319"/>
                </a:cubicBezTo>
                <a:cubicBezTo>
                  <a:pt x="26450" y="4081319"/>
                  <a:pt x="1935" y="4056803"/>
                  <a:pt x="1935" y="4026482"/>
                </a:cubicBezTo>
                <a:cubicBezTo>
                  <a:pt x="1935" y="3996160"/>
                  <a:pt x="26450" y="3971645"/>
                  <a:pt x="56772" y="3971645"/>
                </a:cubicBezTo>
                <a:close/>
                <a:moveTo>
                  <a:pt x="629011" y="3905840"/>
                </a:moveTo>
                <a:cubicBezTo>
                  <a:pt x="695461" y="3905840"/>
                  <a:pt x="749008" y="3959386"/>
                  <a:pt x="749008" y="4025836"/>
                </a:cubicBezTo>
                <a:cubicBezTo>
                  <a:pt x="749008" y="4092286"/>
                  <a:pt x="695461" y="4145833"/>
                  <a:pt x="629011" y="4145833"/>
                </a:cubicBezTo>
                <a:cubicBezTo>
                  <a:pt x="562561" y="4145833"/>
                  <a:pt x="509015" y="4092286"/>
                  <a:pt x="509015" y="4025836"/>
                </a:cubicBezTo>
                <a:cubicBezTo>
                  <a:pt x="509015" y="3959386"/>
                  <a:pt x="562561" y="3905840"/>
                  <a:pt x="629011" y="3905840"/>
                </a:cubicBezTo>
                <a:close/>
                <a:moveTo>
                  <a:pt x="1203892" y="3814493"/>
                </a:moveTo>
                <a:cubicBezTo>
                  <a:pt x="1302314" y="3815635"/>
                  <a:pt x="1389676" y="3885701"/>
                  <a:pt x="1409012" y="3986119"/>
                </a:cubicBezTo>
                <a:lnTo>
                  <a:pt x="1410785" y="4005809"/>
                </a:lnTo>
                <a:lnTo>
                  <a:pt x="1410276" y="4012250"/>
                </a:lnTo>
                <a:lnTo>
                  <a:pt x="1412759" y="4029675"/>
                </a:lnTo>
                <a:lnTo>
                  <a:pt x="1408258" y="4070146"/>
                </a:lnTo>
                <a:cubicBezTo>
                  <a:pt x="1391074" y="4150802"/>
                  <a:pt x="1327302" y="4217356"/>
                  <a:pt x="1241229" y="4233930"/>
                </a:cubicBezTo>
                <a:cubicBezTo>
                  <a:pt x="1126467" y="4256030"/>
                  <a:pt x="1015518" y="4180911"/>
                  <a:pt x="993420" y="4066148"/>
                </a:cubicBezTo>
                <a:cubicBezTo>
                  <a:pt x="971319" y="3951384"/>
                  <a:pt x="1046437" y="3840435"/>
                  <a:pt x="1161200" y="3818336"/>
                </a:cubicBezTo>
                <a:cubicBezTo>
                  <a:pt x="1175546" y="3815574"/>
                  <a:pt x="1189832" y="3814330"/>
                  <a:pt x="1203892" y="3814493"/>
                </a:cubicBezTo>
                <a:close/>
                <a:moveTo>
                  <a:pt x="56773" y="3404567"/>
                </a:moveTo>
                <a:cubicBezTo>
                  <a:pt x="83868" y="3404567"/>
                  <a:pt x="105802" y="3426502"/>
                  <a:pt x="105802" y="3453598"/>
                </a:cubicBezTo>
                <a:cubicBezTo>
                  <a:pt x="105802" y="3480693"/>
                  <a:pt x="83868" y="3502627"/>
                  <a:pt x="56773" y="3502627"/>
                </a:cubicBezTo>
                <a:cubicBezTo>
                  <a:pt x="29677" y="3502627"/>
                  <a:pt x="7742" y="3480693"/>
                  <a:pt x="7742" y="3453598"/>
                </a:cubicBezTo>
                <a:cubicBezTo>
                  <a:pt x="7742" y="3426502"/>
                  <a:pt x="29677" y="3404567"/>
                  <a:pt x="56773" y="3404567"/>
                </a:cubicBezTo>
                <a:close/>
                <a:moveTo>
                  <a:pt x="629011" y="3346504"/>
                </a:moveTo>
                <a:cubicBezTo>
                  <a:pt x="688364" y="3346504"/>
                  <a:pt x="736105" y="3394245"/>
                  <a:pt x="736105" y="3453598"/>
                </a:cubicBezTo>
                <a:cubicBezTo>
                  <a:pt x="736105" y="3512951"/>
                  <a:pt x="688364" y="3560691"/>
                  <a:pt x="629011" y="3560691"/>
                </a:cubicBezTo>
                <a:cubicBezTo>
                  <a:pt x="569658" y="3560691"/>
                  <a:pt x="521918" y="3512951"/>
                  <a:pt x="521918" y="3453598"/>
                </a:cubicBezTo>
                <a:cubicBezTo>
                  <a:pt x="521918" y="3394245"/>
                  <a:pt x="569658" y="3346504"/>
                  <a:pt x="629011" y="3346504"/>
                </a:cubicBezTo>
                <a:close/>
                <a:moveTo>
                  <a:pt x="1202686" y="3262070"/>
                </a:moveTo>
                <a:cubicBezTo>
                  <a:pt x="1277355" y="3262626"/>
                  <a:pt x="1347997" y="3307073"/>
                  <a:pt x="1378371" y="3380400"/>
                </a:cubicBezTo>
                <a:cubicBezTo>
                  <a:pt x="1418869" y="3478168"/>
                  <a:pt x="1372441" y="3590255"/>
                  <a:pt x="1274673" y="3630753"/>
                </a:cubicBezTo>
                <a:cubicBezTo>
                  <a:pt x="1176904" y="3671251"/>
                  <a:pt x="1064816" y="3624824"/>
                  <a:pt x="1024320" y="3527055"/>
                </a:cubicBezTo>
                <a:cubicBezTo>
                  <a:pt x="983821" y="3429287"/>
                  <a:pt x="1030249" y="3317199"/>
                  <a:pt x="1128017" y="3276702"/>
                </a:cubicBezTo>
                <a:cubicBezTo>
                  <a:pt x="1152459" y="3266578"/>
                  <a:pt x="1177796" y="3261886"/>
                  <a:pt x="1202686" y="3262070"/>
                </a:cubicBezTo>
                <a:close/>
                <a:moveTo>
                  <a:pt x="56772" y="2842650"/>
                </a:moveTo>
                <a:cubicBezTo>
                  <a:pt x="78062" y="2842650"/>
                  <a:pt x="95481" y="2860069"/>
                  <a:pt x="95481" y="2881358"/>
                </a:cubicBezTo>
                <a:cubicBezTo>
                  <a:pt x="95481" y="2902648"/>
                  <a:pt x="78062" y="2920067"/>
                  <a:pt x="56772" y="2920067"/>
                </a:cubicBezTo>
                <a:cubicBezTo>
                  <a:pt x="34837" y="2920067"/>
                  <a:pt x="18064" y="2902648"/>
                  <a:pt x="18064" y="2881358"/>
                </a:cubicBezTo>
                <a:cubicBezTo>
                  <a:pt x="18064" y="2860069"/>
                  <a:pt x="35482" y="2842650"/>
                  <a:pt x="56772" y="2842650"/>
                </a:cubicBezTo>
                <a:close/>
                <a:moveTo>
                  <a:pt x="629011" y="2794264"/>
                </a:moveTo>
                <a:cubicBezTo>
                  <a:pt x="676752" y="2794264"/>
                  <a:pt x="716105" y="2832972"/>
                  <a:pt x="716105" y="2881358"/>
                </a:cubicBezTo>
                <a:cubicBezTo>
                  <a:pt x="716105" y="2929098"/>
                  <a:pt x="677397" y="2968451"/>
                  <a:pt x="629011" y="2968451"/>
                </a:cubicBezTo>
                <a:cubicBezTo>
                  <a:pt x="580626" y="2968451"/>
                  <a:pt x="541273" y="2929744"/>
                  <a:pt x="541918" y="2881358"/>
                </a:cubicBezTo>
                <a:cubicBezTo>
                  <a:pt x="541918" y="2833617"/>
                  <a:pt x="580626" y="2794264"/>
                  <a:pt x="629011" y="2794264"/>
                </a:cubicBezTo>
                <a:close/>
                <a:moveTo>
                  <a:pt x="1201251" y="2715556"/>
                </a:moveTo>
                <a:cubicBezTo>
                  <a:pt x="1292862" y="2715556"/>
                  <a:pt x="1367053" y="2789748"/>
                  <a:pt x="1367053" y="2881358"/>
                </a:cubicBezTo>
                <a:cubicBezTo>
                  <a:pt x="1367053" y="2972968"/>
                  <a:pt x="1292862" y="3047159"/>
                  <a:pt x="1201251" y="3047159"/>
                </a:cubicBezTo>
                <a:cubicBezTo>
                  <a:pt x="1109641" y="3047159"/>
                  <a:pt x="1035450" y="2972968"/>
                  <a:pt x="1035450" y="2881358"/>
                </a:cubicBezTo>
                <a:cubicBezTo>
                  <a:pt x="1035450" y="2789748"/>
                  <a:pt x="1109641" y="2715556"/>
                  <a:pt x="1201251" y="2715556"/>
                </a:cubicBezTo>
                <a:close/>
                <a:moveTo>
                  <a:pt x="629011" y="2240733"/>
                </a:moveTo>
                <a:cubicBezTo>
                  <a:pt x="666430" y="2240733"/>
                  <a:pt x="696752" y="2271056"/>
                  <a:pt x="696752" y="2308473"/>
                </a:cubicBezTo>
                <a:cubicBezTo>
                  <a:pt x="696752" y="2345890"/>
                  <a:pt x="666430" y="2376215"/>
                  <a:pt x="629011" y="2376215"/>
                </a:cubicBezTo>
                <a:cubicBezTo>
                  <a:pt x="591594" y="2376215"/>
                  <a:pt x="561272" y="2345890"/>
                  <a:pt x="561272" y="2308473"/>
                </a:cubicBezTo>
                <a:cubicBezTo>
                  <a:pt x="561272" y="2271056"/>
                  <a:pt x="591594" y="2240733"/>
                  <a:pt x="629011" y="2240733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7"/>
                  <a:pt x="1333504" y="2308480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3"/>
                  <a:pt x="1068997" y="2308480"/>
                </a:cubicBezTo>
                <a:cubicBezTo>
                  <a:pt x="1068997" y="2235577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6"/>
                </a:cubicBezTo>
                <a:lnTo>
                  <a:pt x="1987399" y="2278426"/>
                </a:lnTo>
                <a:lnTo>
                  <a:pt x="1985740" y="2294891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6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6" y="1058530"/>
                  <a:pt x="2537336" y="1163996"/>
                </a:cubicBezTo>
                <a:cubicBezTo>
                  <a:pt x="2537336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5" y="395638"/>
                </a:moveTo>
                <a:cubicBezTo>
                  <a:pt x="3026353" y="395638"/>
                  <a:pt x="3114093" y="483377"/>
                  <a:pt x="3114093" y="591115"/>
                </a:cubicBezTo>
                <a:cubicBezTo>
                  <a:pt x="3114093" y="698853"/>
                  <a:pt x="3026353" y="786593"/>
                  <a:pt x="2918615" y="786593"/>
                </a:cubicBezTo>
                <a:cubicBezTo>
                  <a:pt x="2810876" y="786593"/>
                  <a:pt x="2723138" y="699498"/>
                  <a:pt x="2723138" y="591115"/>
                </a:cubicBezTo>
                <a:cubicBezTo>
                  <a:pt x="2723138" y="483377"/>
                  <a:pt x="2810876" y="395638"/>
                  <a:pt x="2918615" y="395638"/>
                </a:cubicBezTo>
                <a:close/>
                <a:moveTo>
                  <a:pt x="4310583" y="0"/>
                </a:moveTo>
                <a:lnTo>
                  <a:pt x="6616265" y="0"/>
                </a:lnTo>
                <a:lnTo>
                  <a:pt x="6616265" y="6843715"/>
                </a:lnTo>
                <a:lnTo>
                  <a:pt x="1487341" y="6843715"/>
                </a:lnTo>
                <a:lnTo>
                  <a:pt x="1496539" y="6801672"/>
                </a:lnTo>
                <a:cubicBezTo>
                  <a:pt x="1527560" y="6703935"/>
                  <a:pt x="1618657" y="6632808"/>
                  <a:pt x="1727039" y="6632808"/>
                </a:cubicBezTo>
                <a:cubicBezTo>
                  <a:pt x="1847035" y="6632808"/>
                  <a:pt x="1946387" y="6719902"/>
                  <a:pt x="1965741" y="6834092"/>
                </a:cubicBezTo>
                <a:cubicBezTo>
                  <a:pt x="1976709" y="6743773"/>
                  <a:pt x="2023158" y="6665065"/>
                  <a:pt x="2090255" y="6611519"/>
                </a:cubicBezTo>
                <a:cubicBezTo>
                  <a:pt x="2034126" y="6573455"/>
                  <a:pt x="1988966" y="6521200"/>
                  <a:pt x="1960580" y="6459266"/>
                </a:cubicBezTo>
                <a:cubicBezTo>
                  <a:pt x="1910259" y="6534102"/>
                  <a:pt x="1824455" y="6583778"/>
                  <a:pt x="1727039" y="6583778"/>
                </a:cubicBezTo>
                <a:cubicBezTo>
                  <a:pt x="1571560" y="6583778"/>
                  <a:pt x="1445758" y="6457976"/>
                  <a:pt x="1445758" y="6302497"/>
                </a:cubicBezTo>
                <a:cubicBezTo>
                  <a:pt x="1445758" y="6170244"/>
                  <a:pt x="1536078" y="6059924"/>
                  <a:pt x="1658654" y="6029603"/>
                </a:cubicBezTo>
                <a:cubicBezTo>
                  <a:pt x="1521884" y="5997991"/>
                  <a:pt x="1419307" y="5876060"/>
                  <a:pt x="1419307" y="5729612"/>
                </a:cubicBezTo>
                <a:cubicBezTo>
                  <a:pt x="1419307" y="5606391"/>
                  <a:pt x="1492853" y="5499943"/>
                  <a:pt x="1598012" y="5450912"/>
                </a:cubicBezTo>
                <a:cubicBezTo>
                  <a:pt x="1513337" y="5413655"/>
                  <a:pt x="1447894" y="5340835"/>
                  <a:pt x="1420467" y="5251503"/>
                </a:cubicBezTo>
                <a:lnTo>
                  <a:pt x="1412511" y="5198249"/>
                </a:lnTo>
                <a:lnTo>
                  <a:pt x="1418018" y="5170959"/>
                </a:lnTo>
                <a:lnTo>
                  <a:pt x="1410074" y="5131470"/>
                </a:lnTo>
                <a:lnTo>
                  <a:pt x="1419106" y="5067729"/>
                </a:lnTo>
                <a:cubicBezTo>
                  <a:pt x="1443902" y="4982420"/>
                  <a:pt x="1503175" y="4911898"/>
                  <a:pt x="1580592" y="4872221"/>
                </a:cubicBezTo>
                <a:cubicBezTo>
                  <a:pt x="1502208" y="4832546"/>
                  <a:pt x="1442330" y="4761298"/>
                  <a:pt x="1417291" y="4675353"/>
                </a:cubicBezTo>
                <a:lnTo>
                  <a:pt x="1411993" y="4638076"/>
                </a:lnTo>
                <a:lnTo>
                  <a:pt x="1419954" y="4598720"/>
                </a:lnTo>
                <a:lnTo>
                  <a:pt x="1409763" y="4548338"/>
                </a:lnTo>
                <a:lnTo>
                  <a:pt x="1417623" y="4493696"/>
                </a:lnTo>
                <a:cubicBezTo>
                  <a:pt x="1443297" y="4406753"/>
                  <a:pt x="1504626" y="4335143"/>
                  <a:pt x="1584463" y="4295466"/>
                </a:cubicBezTo>
                <a:cubicBezTo>
                  <a:pt x="1507047" y="4256273"/>
                  <a:pt x="1447775" y="4186235"/>
                  <a:pt x="1422978" y="4101409"/>
                </a:cubicBezTo>
                <a:lnTo>
                  <a:pt x="1412759" y="4029675"/>
                </a:lnTo>
                <a:lnTo>
                  <a:pt x="1412855" y="4028809"/>
                </a:lnTo>
                <a:lnTo>
                  <a:pt x="1410785" y="4005809"/>
                </a:lnTo>
                <a:lnTo>
                  <a:pt x="1414258" y="3961788"/>
                </a:lnTo>
                <a:cubicBezTo>
                  <a:pt x="1432604" y="3846780"/>
                  <a:pt x="1512692" y="3752580"/>
                  <a:pt x="1619945" y="3714195"/>
                </a:cubicBezTo>
                <a:cubicBezTo>
                  <a:pt x="1510272" y="3670971"/>
                  <a:pt x="1432210" y="3564522"/>
                  <a:pt x="1432210" y="3440010"/>
                </a:cubicBezTo>
                <a:cubicBezTo>
                  <a:pt x="1432210" y="3276790"/>
                  <a:pt x="1564463" y="3145181"/>
                  <a:pt x="1727039" y="3145181"/>
                </a:cubicBezTo>
                <a:cubicBezTo>
                  <a:pt x="1821230" y="3145181"/>
                  <a:pt x="1905097" y="3189695"/>
                  <a:pt x="1959290" y="3259371"/>
                </a:cubicBezTo>
                <a:cubicBezTo>
                  <a:pt x="1985740" y="3210340"/>
                  <a:pt x="2022513" y="3167116"/>
                  <a:pt x="2066382" y="3133569"/>
                </a:cubicBezTo>
                <a:cubicBezTo>
                  <a:pt x="2019932" y="3092925"/>
                  <a:pt x="1983805" y="3040023"/>
                  <a:pt x="1963805" y="2980026"/>
                </a:cubicBezTo>
                <a:cubicBezTo>
                  <a:pt x="1921226" y="3068409"/>
                  <a:pt x="1830907" y="3129697"/>
                  <a:pt x="1726393" y="3129697"/>
                </a:cubicBezTo>
                <a:cubicBezTo>
                  <a:pt x="1581237" y="3129697"/>
                  <a:pt x="1463822" y="3012282"/>
                  <a:pt x="1463822" y="2867126"/>
                </a:cubicBezTo>
                <a:cubicBezTo>
                  <a:pt x="1463822" y="2721969"/>
                  <a:pt x="1581237" y="2604554"/>
                  <a:pt x="1726393" y="2604554"/>
                </a:cubicBezTo>
                <a:cubicBezTo>
                  <a:pt x="1831551" y="2604554"/>
                  <a:pt x="1921871" y="2665843"/>
                  <a:pt x="1963805" y="2754227"/>
                </a:cubicBezTo>
                <a:cubicBezTo>
                  <a:pt x="1992191" y="2670358"/>
                  <a:pt x="2051544" y="2600038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8" y="2024578"/>
                  <a:pt x="2538627" y="2092962"/>
                </a:cubicBezTo>
                <a:cubicBezTo>
                  <a:pt x="2566368" y="2047155"/>
                  <a:pt x="2603785" y="2007158"/>
                  <a:pt x="2647655" y="1976190"/>
                </a:cubicBezTo>
                <a:cubicBezTo>
                  <a:pt x="2596689" y="1931031"/>
                  <a:pt x="2559270" y="1871032"/>
                  <a:pt x="2542497" y="1803293"/>
                </a:cubicBezTo>
                <a:cubicBezTo>
                  <a:pt x="2508305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5" y="1538784"/>
                  <a:pt x="2542497" y="1640718"/>
                </a:cubicBezTo>
                <a:cubicBezTo>
                  <a:pt x="2570240" y="1529109"/>
                  <a:pt x="2652816" y="1439433"/>
                  <a:pt x="2760555" y="1402016"/>
                </a:cubicBezTo>
                <a:cubicBezTo>
                  <a:pt x="2663138" y="1358789"/>
                  <a:pt x="2595400" y="1262019"/>
                  <a:pt x="2595400" y="1149118"/>
                </a:cubicBezTo>
                <a:cubicBezTo>
                  <a:pt x="2595400" y="996221"/>
                  <a:pt x="2719265" y="872997"/>
                  <a:pt x="2871517" y="872997"/>
                </a:cubicBezTo>
                <a:cubicBezTo>
                  <a:pt x="2983773" y="872997"/>
                  <a:pt x="3079897" y="939449"/>
                  <a:pt x="3123123" y="1035574"/>
                </a:cubicBezTo>
                <a:cubicBezTo>
                  <a:pt x="3159251" y="932997"/>
                  <a:pt x="3243119" y="853000"/>
                  <a:pt x="3348277" y="822035"/>
                </a:cubicBezTo>
                <a:cubicBezTo>
                  <a:pt x="3249571" y="783327"/>
                  <a:pt x="3179895" y="688491"/>
                  <a:pt x="3179895" y="576235"/>
                </a:cubicBezTo>
                <a:cubicBezTo>
                  <a:pt x="3179895" y="430434"/>
                  <a:pt x="3297955" y="312373"/>
                  <a:pt x="3443757" y="312373"/>
                </a:cubicBezTo>
                <a:cubicBezTo>
                  <a:pt x="3567623" y="312373"/>
                  <a:pt x="3672137" y="398822"/>
                  <a:pt x="3699877" y="514303"/>
                </a:cubicBezTo>
                <a:cubicBezTo>
                  <a:pt x="3728909" y="365921"/>
                  <a:pt x="3859227" y="254311"/>
                  <a:pt x="4015997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9" y="240118"/>
                </a:cubicBezTo>
                <a:cubicBezTo>
                  <a:pt x="4363083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6" y="250481"/>
                  <a:pt x="4063739" y="250481"/>
                </a:cubicBezTo>
                <a:cubicBezTo>
                  <a:pt x="3935999" y="250481"/>
                  <a:pt x="3832133" y="146614"/>
                  <a:pt x="3832777" y="19521"/>
                </a:cubicBezTo>
                <a:close/>
                <a:moveTo>
                  <a:pt x="3315961" y="0"/>
                </a:moveTo>
                <a:lnTo>
                  <a:pt x="3665747" y="0"/>
                </a:lnTo>
                <a:lnTo>
                  <a:pt x="3669557" y="18877"/>
                </a:lnTo>
                <a:cubicBezTo>
                  <a:pt x="3669557" y="117572"/>
                  <a:pt x="3589549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7" y="0"/>
                </a:moveTo>
                <a:lnTo>
                  <a:pt x="3039823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5" y="144678"/>
                </a:cubicBezTo>
                <a:cubicBezTo>
                  <a:pt x="2849583" y="144678"/>
                  <a:pt x="2793457" y="88551"/>
                  <a:pt x="2793457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04A15FC-D2AD-44A4-AC62-1D8C94F6F7A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5627689" cy="2173288"/>
          </a:xfrm>
        </p:spPr>
        <p:txBody>
          <a:bodyPr anchor="t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session/event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DBC2EDC-359D-4273-A170-21DF97254F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392000"/>
            <a:ext cx="562768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451110160" name="image" descr="{&quot;templafy&quot;:{&quot;id&quot;:&quot;f416d1a3-24e7-4ef3-ac64-f349e327e57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842" y="283850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934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77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" descr="{&quot;templafy&quot;:{&quot;id&quot;:&quot;c9b75d39-677b-4aaa-9c07-c146c29c800b&quot;}}">
            <a:extLst>
              <a:ext uri="{FF2B5EF4-FFF2-40B4-BE49-F238E27FC236}">
                <a16:creationId xmlns:a16="http://schemas.microsoft.com/office/drawing/2014/main" id="{FA4679FD-5216-4BBB-B254-B4078B0A3E0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 bwMode="ltGray">
          <a:xfrm>
            <a:off x="551941" y="269875"/>
            <a:ext cx="2253600" cy="773055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4308038"/>
            <a:ext cx="753160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3726005"/>
            <a:ext cx="753160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1912866"/>
            <a:ext cx="7531609" cy="123110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9823706-F646-467B-9395-98491DCB3BF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12191365 w 12192000"/>
              <a:gd name="connsiteY0" fmla="*/ 0 h 6858000"/>
              <a:gd name="connsiteX1" fmla="*/ 12191365 w 12192000"/>
              <a:gd name="connsiteY1" fmla="*/ 6852285 h 6858000"/>
              <a:gd name="connsiteX2" fmla="*/ 0 w 12192000"/>
              <a:gd name="connsiteY2" fmla="*/ 6852285 h 6858000"/>
              <a:gd name="connsiteX3" fmla="*/ 0 w 12192000"/>
              <a:gd name="connsiteY3" fmla="*/ 6858000 h 6858000"/>
              <a:gd name="connsiteX4" fmla="*/ 12192000 w 12192000"/>
              <a:gd name="connsiteY4" fmla="*/ 6858000 h 6858000"/>
              <a:gd name="connsiteX5" fmla="*/ 12192000 w 1219200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1365" y="0"/>
                </a:moveTo>
                <a:lnTo>
                  <a:pt x="12191365" y="6852285"/>
                </a:lnTo>
                <a:lnTo>
                  <a:pt x="0" y="6852285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noFill/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grpSp>
        <p:nvGrpSpPr>
          <p:cNvPr id="226" name="Group 225">
            <a:extLst>
              <a:ext uri="{FF2B5EF4-FFF2-40B4-BE49-F238E27FC236}">
                <a16:creationId xmlns:a16="http://schemas.microsoft.com/office/drawing/2014/main" id="{8175B128-10A9-41B9-8F78-558EAD819DF4}"/>
              </a:ext>
            </a:extLst>
          </p:cNvPr>
          <p:cNvGrpSpPr/>
          <p:nvPr userDrawn="1"/>
        </p:nvGrpSpPr>
        <p:grpSpPr bwMode="ltGray">
          <a:xfrm>
            <a:off x="81914" y="35560"/>
            <a:ext cx="12060555" cy="6785609"/>
            <a:chOff x="81914" y="35560"/>
            <a:chExt cx="12060555" cy="6785609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6A6D58C-9FAE-47F0-A85C-BC1826764B02}"/>
                </a:ext>
              </a:extLst>
            </p:cNvPr>
            <p:cNvSpPr/>
            <p:nvPr/>
          </p:nvSpPr>
          <p:spPr bwMode="ltGray">
            <a:xfrm>
              <a:off x="11607800" y="2728595"/>
              <a:ext cx="53340" cy="53339"/>
            </a:xfrm>
            <a:custGeom>
              <a:avLst/>
              <a:gdLst>
                <a:gd name="connsiteX0" fmla="*/ 53340 w 53340"/>
                <a:gd name="connsiteY0" fmla="*/ 26670 h 53339"/>
                <a:gd name="connsiteX1" fmla="*/ 26670 w 53340"/>
                <a:gd name="connsiteY1" fmla="*/ 53340 h 53339"/>
                <a:gd name="connsiteX2" fmla="*/ 1 w 53340"/>
                <a:gd name="connsiteY2" fmla="*/ 26670 h 53339"/>
                <a:gd name="connsiteX3" fmla="*/ 26670 w 53340"/>
                <a:gd name="connsiteY3" fmla="*/ 0 h 53339"/>
                <a:gd name="connsiteX4" fmla="*/ 53340 w 53340"/>
                <a:gd name="connsiteY4" fmla="*/ 26670 h 53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340" h="53339">
                  <a:moveTo>
                    <a:pt x="53340" y="26670"/>
                  </a:moveTo>
                  <a:cubicBezTo>
                    <a:pt x="53340" y="41399"/>
                    <a:pt x="41400" y="53340"/>
                    <a:pt x="26670" y="53340"/>
                  </a:cubicBezTo>
                  <a:cubicBezTo>
                    <a:pt x="11941" y="53340"/>
                    <a:pt x="1" y="41399"/>
                    <a:pt x="1" y="26670"/>
                  </a:cubicBezTo>
                  <a:cubicBezTo>
                    <a:pt x="1" y="11940"/>
                    <a:pt x="11941" y="0"/>
                    <a:pt x="26670" y="0"/>
                  </a:cubicBezTo>
                  <a:cubicBezTo>
                    <a:pt x="41400" y="0"/>
                    <a:pt x="53340" y="11940"/>
                    <a:pt x="53340" y="2667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CB9C6D0-EFFD-4A20-856A-2924D836E51F}"/>
                </a:ext>
              </a:extLst>
            </p:cNvPr>
            <p:cNvSpPr/>
            <p:nvPr/>
          </p:nvSpPr>
          <p:spPr bwMode="ltGray">
            <a:xfrm>
              <a:off x="11236960" y="2723515"/>
              <a:ext cx="63500" cy="63500"/>
            </a:xfrm>
            <a:custGeom>
              <a:avLst/>
              <a:gdLst>
                <a:gd name="connsiteX0" fmla="*/ 63500 w 63500"/>
                <a:gd name="connsiteY0" fmla="*/ 31750 h 63500"/>
                <a:gd name="connsiteX1" fmla="*/ 31750 w 63500"/>
                <a:gd name="connsiteY1" fmla="*/ 63500 h 63500"/>
                <a:gd name="connsiteX2" fmla="*/ 0 w 63500"/>
                <a:gd name="connsiteY2" fmla="*/ 31750 h 63500"/>
                <a:gd name="connsiteX3" fmla="*/ 31750 w 63500"/>
                <a:gd name="connsiteY3" fmla="*/ 0 h 63500"/>
                <a:gd name="connsiteX4" fmla="*/ 63500 w 63500"/>
                <a:gd name="connsiteY4" fmla="*/ 317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63500">
                  <a:moveTo>
                    <a:pt x="63500" y="31750"/>
                  </a:moveTo>
                  <a:cubicBezTo>
                    <a:pt x="63500" y="49285"/>
                    <a:pt x="49285" y="63500"/>
                    <a:pt x="31750" y="63500"/>
                  </a:cubicBezTo>
                  <a:cubicBezTo>
                    <a:pt x="14214" y="63500"/>
                    <a:pt x="0" y="49285"/>
                    <a:pt x="0" y="31750"/>
                  </a:cubicBezTo>
                  <a:cubicBezTo>
                    <a:pt x="0" y="14215"/>
                    <a:pt x="14214" y="0"/>
                    <a:pt x="31750" y="0"/>
                  </a:cubicBezTo>
                  <a:cubicBezTo>
                    <a:pt x="49285" y="0"/>
                    <a:pt x="63500" y="14215"/>
                    <a:pt x="63500" y="3175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82B9C40-F4FB-4DFD-A517-DE8602EEA33C}"/>
                </a:ext>
              </a:extLst>
            </p:cNvPr>
            <p:cNvSpPr/>
            <p:nvPr/>
          </p:nvSpPr>
          <p:spPr bwMode="ltGray">
            <a:xfrm>
              <a:off x="10868660" y="2720975"/>
              <a:ext cx="68580" cy="68579"/>
            </a:xfrm>
            <a:custGeom>
              <a:avLst/>
              <a:gdLst>
                <a:gd name="connsiteX0" fmla="*/ 68580 w 68580"/>
                <a:gd name="connsiteY0" fmla="*/ 34290 h 68579"/>
                <a:gd name="connsiteX1" fmla="*/ 34290 w 68580"/>
                <a:gd name="connsiteY1" fmla="*/ 68580 h 68579"/>
                <a:gd name="connsiteX2" fmla="*/ 0 w 68580"/>
                <a:gd name="connsiteY2" fmla="*/ 34290 h 68579"/>
                <a:gd name="connsiteX3" fmla="*/ 34290 w 68580"/>
                <a:gd name="connsiteY3" fmla="*/ 0 h 68579"/>
                <a:gd name="connsiteX4" fmla="*/ 68580 w 68580"/>
                <a:gd name="connsiteY4" fmla="*/ 34290 h 68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80" h="68579">
                  <a:moveTo>
                    <a:pt x="68580" y="34290"/>
                  </a:moveTo>
                  <a:cubicBezTo>
                    <a:pt x="68580" y="53228"/>
                    <a:pt x="53228" y="68580"/>
                    <a:pt x="34290" y="68580"/>
                  </a:cubicBezTo>
                  <a:cubicBezTo>
                    <a:pt x="15352" y="68580"/>
                    <a:pt x="0" y="53228"/>
                    <a:pt x="0" y="34290"/>
                  </a:cubicBezTo>
                  <a:cubicBezTo>
                    <a:pt x="0" y="15352"/>
                    <a:pt x="15352" y="0"/>
                    <a:pt x="34290" y="0"/>
                  </a:cubicBezTo>
                  <a:cubicBezTo>
                    <a:pt x="53228" y="0"/>
                    <a:pt x="68580" y="15352"/>
                    <a:pt x="68580" y="3429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A0B1B91-5094-4635-97BE-2C49CFFE66CA}"/>
                </a:ext>
              </a:extLst>
            </p:cNvPr>
            <p:cNvSpPr/>
            <p:nvPr/>
          </p:nvSpPr>
          <p:spPr bwMode="ltGray">
            <a:xfrm>
              <a:off x="10504169" y="2722245"/>
              <a:ext cx="66040" cy="66039"/>
            </a:xfrm>
            <a:custGeom>
              <a:avLst/>
              <a:gdLst>
                <a:gd name="connsiteX0" fmla="*/ 66040 w 66040"/>
                <a:gd name="connsiteY0" fmla="*/ 33020 h 66039"/>
                <a:gd name="connsiteX1" fmla="*/ 33020 w 66040"/>
                <a:gd name="connsiteY1" fmla="*/ 0 h 66039"/>
                <a:gd name="connsiteX2" fmla="*/ 0 w 66040"/>
                <a:gd name="connsiteY2" fmla="*/ 33020 h 66039"/>
                <a:gd name="connsiteX3" fmla="*/ 33020 w 66040"/>
                <a:gd name="connsiteY3" fmla="*/ 66040 h 66039"/>
                <a:gd name="connsiteX4" fmla="*/ 66040 w 66040"/>
                <a:gd name="connsiteY4" fmla="*/ 33020 h 66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040" h="66039">
                  <a:moveTo>
                    <a:pt x="66040" y="33020"/>
                  </a:moveTo>
                  <a:cubicBezTo>
                    <a:pt x="66040" y="14605"/>
                    <a:pt x="51436" y="0"/>
                    <a:pt x="33020" y="0"/>
                  </a:cubicBezTo>
                  <a:cubicBezTo>
                    <a:pt x="14605" y="0"/>
                    <a:pt x="0" y="14605"/>
                    <a:pt x="0" y="33020"/>
                  </a:cubicBezTo>
                  <a:cubicBezTo>
                    <a:pt x="0" y="51435"/>
                    <a:pt x="14605" y="66040"/>
                    <a:pt x="33020" y="66040"/>
                  </a:cubicBezTo>
                  <a:cubicBezTo>
                    <a:pt x="51436" y="66040"/>
                    <a:pt x="66040" y="51435"/>
                    <a:pt x="66040" y="3302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CBDDCEC-E583-4DAF-9ABC-15808C741EE8}"/>
                </a:ext>
              </a:extLst>
            </p:cNvPr>
            <p:cNvSpPr/>
            <p:nvPr/>
          </p:nvSpPr>
          <p:spPr bwMode="ltGray">
            <a:xfrm>
              <a:off x="10141584" y="2726054"/>
              <a:ext cx="58442" cy="58420"/>
            </a:xfrm>
            <a:custGeom>
              <a:avLst/>
              <a:gdLst>
                <a:gd name="connsiteX0" fmla="*/ 29210 w 58442"/>
                <a:gd name="connsiteY0" fmla="*/ 0 h 58420"/>
                <a:gd name="connsiteX1" fmla="*/ 0 w 58442"/>
                <a:gd name="connsiteY1" fmla="*/ 29210 h 58420"/>
                <a:gd name="connsiteX2" fmla="*/ 29210 w 58442"/>
                <a:gd name="connsiteY2" fmla="*/ 58420 h 58420"/>
                <a:gd name="connsiteX3" fmla="*/ 58420 w 58442"/>
                <a:gd name="connsiteY3" fmla="*/ 29210 h 58420"/>
                <a:gd name="connsiteX4" fmla="*/ 29210 w 58442"/>
                <a:gd name="connsiteY4" fmla="*/ 0 h 58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442" h="58420">
                  <a:moveTo>
                    <a:pt x="29210" y="0"/>
                  </a:moveTo>
                  <a:cubicBezTo>
                    <a:pt x="12700" y="0"/>
                    <a:pt x="0" y="13335"/>
                    <a:pt x="0" y="29210"/>
                  </a:cubicBezTo>
                  <a:cubicBezTo>
                    <a:pt x="0" y="45720"/>
                    <a:pt x="13335" y="58420"/>
                    <a:pt x="29210" y="58420"/>
                  </a:cubicBezTo>
                  <a:cubicBezTo>
                    <a:pt x="45720" y="58420"/>
                    <a:pt x="58420" y="45085"/>
                    <a:pt x="58420" y="29210"/>
                  </a:cubicBezTo>
                  <a:cubicBezTo>
                    <a:pt x="59055" y="13335"/>
                    <a:pt x="45720" y="0"/>
                    <a:pt x="2921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D9EBBBF-77CC-4B7E-809B-C83DF53BFE23}"/>
                </a:ext>
              </a:extLst>
            </p:cNvPr>
            <p:cNvSpPr/>
            <p:nvPr/>
          </p:nvSpPr>
          <p:spPr bwMode="ltGray">
            <a:xfrm>
              <a:off x="9781540" y="2731770"/>
              <a:ext cx="46990" cy="46989"/>
            </a:xfrm>
            <a:custGeom>
              <a:avLst/>
              <a:gdLst>
                <a:gd name="connsiteX0" fmla="*/ 46990 w 46990"/>
                <a:gd name="connsiteY0" fmla="*/ 23495 h 46989"/>
                <a:gd name="connsiteX1" fmla="*/ 23495 w 46990"/>
                <a:gd name="connsiteY1" fmla="*/ 0 h 46989"/>
                <a:gd name="connsiteX2" fmla="*/ 0 w 46990"/>
                <a:gd name="connsiteY2" fmla="*/ 23495 h 46989"/>
                <a:gd name="connsiteX3" fmla="*/ 23495 w 46990"/>
                <a:gd name="connsiteY3" fmla="*/ 46990 h 46989"/>
                <a:gd name="connsiteX4" fmla="*/ 46990 w 46990"/>
                <a:gd name="connsiteY4" fmla="*/ 23495 h 46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990" h="46989">
                  <a:moveTo>
                    <a:pt x="46990" y="23495"/>
                  </a:moveTo>
                  <a:cubicBezTo>
                    <a:pt x="46990" y="10795"/>
                    <a:pt x="36830" y="0"/>
                    <a:pt x="23495" y="0"/>
                  </a:cubicBezTo>
                  <a:cubicBezTo>
                    <a:pt x="10795" y="0"/>
                    <a:pt x="0" y="10160"/>
                    <a:pt x="0" y="23495"/>
                  </a:cubicBezTo>
                  <a:cubicBezTo>
                    <a:pt x="0" y="36195"/>
                    <a:pt x="10160" y="46990"/>
                    <a:pt x="23495" y="46990"/>
                  </a:cubicBezTo>
                  <a:cubicBezTo>
                    <a:pt x="36195" y="46990"/>
                    <a:pt x="46990" y="36830"/>
                    <a:pt x="46990" y="2349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353A2FB-2842-4DA9-9824-923898EC66CA}"/>
                </a:ext>
              </a:extLst>
            </p:cNvPr>
            <p:cNvSpPr/>
            <p:nvPr/>
          </p:nvSpPr>
          <p:spPr bwMode="ltGray">
            <a:xfrm>
              <a:off x="11961494" y="2350135"/>
              <a:ext cx="78740" cy="78739"/>
            </a:xfrm>
            <a:custGeom>
              <a:avLst/>
              <a:gdLst>
                <a:gd name="connsiteX0" fmla="*/ 39370 w 78740"/>
                <a:gd name="connsiteY0" fmla="*/ 0 h 78739"/>
                <a:gd name="connsiteX1" fmla="*/ 0 w 78740"/>
                <a:gd name="connsiteY1" fmla="*/ 39370 h 78739"/>
                <a:gd name="connsiteX2" fmla="*/ 39370 w 78740"/>
                <a:gd name="connsiteY2" fmla="*/ 78740 h 78739"/>
                <a:gd name="connsiteX3" fmla="*/ 78740 w 78740"/>
                <a:gd name="connsiteY3" fmla="*/ 39370 h 78739"/>
                <a:gd name="connsiteX4" fmla="*/ 39370 w 78740"/>
                <a:gd name="connsiteY4" fmla="*/ 0 h 78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740" h="78739">
                  <a:moveTo>
                    <a:pt x="39370" y="0"/>
                  </a:moveTo>
                  <a:cubicBezTo>
                    <a:pt x="17780" y="0"/>
                    <a:pt x="0" y="17780"/>
                    <a:pt x="0" y="39370"/>
                  </a:cubicBezTo>
                  <a:cubicBezTo>
                    <a:pt x="0" y="60960"/>
                    <a:pt x="17780" y="78740"/>
                    <a:pt x="39370" y="78740"/>
                  </a:cubicBezTo>
                  <a:cubicBezTo>
                    <a:pt x="60961" y="78740"/>
                    <a:pt x="78740" y="60960"/>
                    <a:pt x="78740" y="39370"/>
                  </a:cubicBezTo>
                  <a:cubicBezTo>
                    <a:pt x="78740" y="17780"/>
                    <a:pt x="60961" y="0"/>
                    <a:pt x="3937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836F706-8181-499C-B36F-045ACEF12EA6}"/>
                </a:ext>
              </a:extLst>
            </p:cNvPr>
            <p:cNvSpPr/>
            <p:nvPr/>
          </p:nvSpPr>
          <p:spPr bwMode="ltGray">
            <a:xfrm>
              <a:off x="11584305" y="2339339"/>
              <a:ext cx="100342" cy="100330"/>
            </a:xfrm>
            <a:custGeom>
              <a:avLst/>
              <a:gdLst>
                <a:gd name="connsiteX0" fmla="*/ 50164 w 100342"/>
                <a:gd name="connsiteY0" fmla="*/ 0 h 100330"/>
                <a:gd name="connsiteX1" fmla="*/ 0 w 100342"/>
                <a:gd name="connsiteY1" fmla="*/ 50165 h 100330"/>
                <a:gd name="connsiteX2" fmla="*/ 50164 w 100342"/>
                <a:gd name="connsiteY2" fmla="*/ 100330 h 100330"/>
                <a:gd name="connsiteX3" fmla="*/ 100330 w 100342"/>
                <a:gd name="connsiteY3" fmla="*/ 50165 h 100330"/>
                <a:gd name="connsiteX4" fmla="*/ 50164 w 100342"/>
                <a:gd name="connsiteY4" fmla="*/ 0 h 100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342" h="100330">
                  <a:moveTo>
                    <a:pt x="50164" y="0"/>
                  </a:moveTo>
                  <a:cubicBezTo>
                    <a:pt x="22225" y="0"/>
                    <a:pt x="0" y="22225"/>
                    <a:pt x="0" y="50165"/>
                  </a:cubicBezTo>
                  <a:cubicBezTo>
                    <a:pt x="0" y="78105"/>
                    <a:pt x="22225" y="100330"/>
                    <a:pt x="50164" y="100330"/>
                  </a:cubicBezTo>
                  <a:cubicBezTo>
                    <a:pt x="78105" y="100330"/>
                    <a:pt x="100330" y="78105"/>
                    <a:pt x="100330" y="50165"/>
                  </a:cubicBezTo>
                  <a:cubicBezTo>
                    <a:pt x="100964" y="22225"/>
                    <a:pt x="78105" y="0"/>
                    <a:pt x="50164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26EAF12-6F30-46C4-A66A-6BFE62876738}"/>
                </a:ext>
              </a:extLst>
            </p:cNvPr>
            <p:cNvSpPr/>
            <p:nvPr/>
          </p:nvSpPr>
          <p:spPr bwMode="ltGray">
            <a:xfrm>
              <a:off x="11210290" y="2331085"/>
              <a:ext cx="116840" cy="116839"/>
            </a:xfrm>
            <a:custGeom>
              <a:avLst/>
              <a:gdLst>
                <a:gd name="connsiteX0" fmla="*/ 58420 w 116840"/>
                <a:gd name="connsiteY0" fmla="*/ 0 h 116839"/>
                <a:gd name="connsiteX1" fmla="*/ 0 w 116840"/>
                <a:gd name="connsiteY1" fmla="*/ 58420 h 116839"/>
                <a:gd name="connsiteX2" fmla="*/ 58420 w 116840"/>
                <a:gd name="connsiteY2" fmla="*/ 116840 h 116839"/>
                <a:gd name="connsiteX3" fmla="*/ 116840 w 116840"/>
                <a:gd name="connsiteY3" fmla="*/ 58420 h 116839"/>
                <a:gd name="connsiteX4" fmla="*/ 58420 w 116840"/>
                <a:gd name="connsiteY4" fmla="*/ 0 h 116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840" h="116839">
                  <a:moveTo>
                    <a:pt x="58420" y="0"/>
                  </a:moveTo>
                  <a:cubicBezTo>
                    <a:pt x="26035" y="0"/>
                    <a:pt x="0" y="26035"/>
                    <a:pt x="0" y="58420"/>
                  </a:cubicBezTo>
                  <a:cubicBezTo>
                    <a:pt x="0" y="90805"/>
                    <a:pt x="26035" y="116840"/>
                    <a:pt x="58420" y="116840"/>
                  </a:cubicBezTo>
                  <a:cubicBezTo>
                    <a:pt x="90805" y="116840"/>
                    <a:pt x="116840" y="90805"/>
                    <a:pt x="116840" y="58420"/>
                  </a:cubicBezTo>
                  <a:cubicBezTo>
                    <a:pt x="116840" y="26035"/>
                    <a:pt x="90805" y="0"/>
                    <a:pt x="5842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BD543B1-3543-4716-B455-2CC715104023}"/>
                </a:ext>
              </a:extLst>
            </p:cNvPr>
            <p:cNvSpPr/>
            <p:nvPr/>
          </p:nvSpPr>
          <p:spPr bwMode="ltGray">
            <a:xfrm>
              <a:off x="10840084" y="2326639"/>
              <a:ext cx="125730" cy="125730"/>
            </a:xfrm>
            <a:custGeom>
              <a:avLst/>
              <a:gdLst>
                <a:gd name="connsiteX0" fmla="*/ 125730 w 125730"/>
                <a:gd name="connsiteY0" fmla="*/ 62865 h 125730"/>
                <a:gd name="connsiteX1" fmla="*/ 62865 w 125730"/>
                <a:gd name="connsiteY1" fmla="*/ 0 h 125730"/>
                <a:gd name="connsiteX2" fmla="*/ 0 w 125730"/>
                <a:gd name="connsiteY2" fmla="*/ 62865 h 125730"/>
                <a:gd name="connsiteX3" fmla="*/ 62865 w 125730"/>
                <a:gd name="connsiteY3" fmla="*/ 125730 h 125730"/>
                <a:gd name="connsiteX4" fmla="*/ 125730 w 125730"/>
                <a:gd name="connsiteY4" fmla="*/ 62865 h 125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730" h="125730">
                  <a:moveTo>
                    <a:pt x="125730" y="62865"/>
                  </a:moveTo>
                  <a:cubicBezTo>
                    <a:pt x="125730" y="27940"/>
                    <a:pt x="97790" y="0"/>
                    <a:pt x="62865" y="0"/>
                  </a:cubicBezTo>
                  <a:cubicBezTo>
                    <a:pt x="27940" y="0"/>
                    <a:pt x="0" y="27940"/>
                    <a:pt x="0" y="62865"/>
                  </a:cubicBezTo>
                  <a:cubicBezTo>
                    <a:pt x="0" y="97790"/>
                    <a:pt x="27940" y="125730"/>
                    <a:pt x="62865" y="125730"/>
                  </a:cubicBezTo>
                  <a:cubicBezTo>
                    <a:pt x="97790" y="125730"/>
                    <a:pt x="125730" y="97790"/>
                    <a:pt x="125730" y="6286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8E65A02-1DED-45D3-844F-B417A6D732E8}"/>
                </a:ext>
              </a:extLst>
            </p:cNvPr>
            <p:cNvSpPr/>
            <p:nvPr/>
          </p:nvSpPr>
          <p:spPr bwMode="ltGray">
            <a:xfrm>
              <a:off x="10476230" y="2328545"/>
              <a:ext cx="121919" cy="121920"/>
            </a:xfrm>
            <a:custGeom>
              <a:avLst/>
              <a:gdLst>
                <a:gd name="connsiteX0" fmla="*/ 121920 w 121919"/>
                <a:gd name="connsiteY0" fmla="*/ 60960 h 121920"/>
                <a:gd name="connsiteX1" fmla="*/ 60960 w 121919"/>
                <a:gd name="connsiteY1" fmla="*/ 121920 h 121920"/>
                <a:gd name="connsiteX2" fmla="*/ 0 w 121919"/>
                <a:gd name="connsiteY2" fmla="*/ 60960 h 121920"/>
                <a:gd name="connsiteX3" fmla="*/ 60960 w 121919"/>
                <a:gd name="connsiteY3" fmla="*/ 0 h 121920"/>
                <a:gd name="connsiteX4" fmla="*/ 121920 w 121919"/>
                <a:gd name="connsiteY4" fmla="*/ 60960 h 12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919" h="121920">
                  <a:moveTo>
                    <a:pt x="121920" y="60960"/>
                  </a:moveTo>
                  <a:cubicBezTo>
                    <a:pt x="121920" y="94627"/>
                    <a:pt x="94627" y="121920"/>
                    <a:pt x="60960" y="121920"/>
                  </a:cubicBezTo>
                  <a:cubicBezTo>
                    <a:pt x="27293" y="121920"/>
                    <a:pt x="0" y="94627"/>
                    <a:pt x="0" y="60960"/>
                  </a:cubicBezTo>
                  <a:cubicBezTo>
                    <a:pt x="0" y="27293"/>
                    <a:pt x="27293" y="0"/>
                    <a:pt x="60960" y="0"/>
                  </a:cubicBezTo>
                  <a:cubicBezTo>
                    <a:pt x="94627" y="0"/>
                    <a:pt x="121920" y="27293"/>
                    <a:pt x="121920" y="6096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B5F07E2-578A-4CD3-9D4D-01CA6147B2BC}"/>
                </a:ext>
              </a:extLst>
            </p:cNvPr>
            <p:cNvSpPr/>
            <p:nvPr/>
          </p:nvSpPr>
          <p:spPr bwMode="ltGray">
            <a:xfrm>
              <a:off x="10115550" y="2334260"/>
              <a:ext cx="110490" cy="110489"/>
            </a:xfrm>
            <a:custGeom>
              <a:avLst/>
              <a:gdLst>
                <a:gd name="connsiteX0" fmla="*/ 110490 w 110490"/>
                <a:gd name="connsiteY0" fmla="*/ 55245 h 110489"/>
                <a:gd name="connsiteX1" fmla="*/ 55245 w 110490"/>
                <a:gd name="connsiteY1" fmla="*/ 0 h 110489"/>
                <a:gd name="connsiteX2" fmla="*/ 0 w 110490"/>
                <a:gd name="connsiteY2" fmla="*/ 55245 h 110489"/>
                <a:gd name="connsiteX3" fmla="*/ 55245 w 110490"/>
                <a:gd name="connsiteY3" fmla="*/ 110490 h 110489"/>
                <a:gd name="connsiteX4" fmla="*/ 110490 w 110490"/>
                <a:gd name="connsiteY4" fmla="*/ 55245 h 110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490" h="110489">
                  <a:moveTo>
                    <a:pt x="110490" y="55245"/>
                  </a:moveTo>
                  <a:cubicBezTo>
                    <a:pt x="110490" y="24765"/>
                    <a:pt x="85725" y="0"/>
                    <a:pt x="55245" y="0"/>
                  </a:cubicBezTo>
                  <a:cubicBezTo>
                    <a:pt x="24765" y="0"/>
                    <a:pt x="0" y="24765"/>
                    <a:pt x="0" y="55245"/>
                  </a:cubicBezTo>
                  <a:cubicBezTo>
                    <a:pt x="0" y="85725"/>
                    <a:pt x="24765" y="110490"/>
                    <a:pt x="55245" y="110490"/>
                  </a:cubicBezTo>
                  <a:cubicBezTo>
                    <a:pt x="86360" y="110490"/>
                    <a:pt x="110490" y="85725"/>
                    <a:pt x="110490" y="5524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151BB24-B503-4303-B150-25373EFF6257}"/>
                </a:ext>
              </a:extLst>
            </p:cNvPr>
            <p:cNvSpPr/>
            <p:nvPr/>
          </p:nvSpPr>
          <p:spPr bwMode="ltGray">
            <a:xfrm>
              <a:off x="9759950" y="2344420"/>
              <a:ext cx="90169" cy="90169"/>
            </a:xfrm>
            <a:custGeom>
              <a:avLst/>
              <a:gdLst>
                <a:gd name="connsiteX0" fmla="*/ 90170 w 90169"/>
                <a:gd name="connsiteY0" fmla="*/ 45085 h 90169"/>
                <a:gd name="connsiteX1" fmla="*/ 45085 w 90169"/>
                <a:gd name="connsiteY1" fmla="*/ 0 h 90169"/>
                <a:gd name="connsiteX2" fmla="*/ 0 w 90169"/>
                <a:gd name="connsiteY2" fmla="*/ 45085 h 90169"/>
                <a:gd name="connsiteX3" fmla="*/ 45085 w 90169"/>
                <a:gd name="connsiteY3" fmla="*/ 90170 h 90169"/>
                <a:gd name="connsiteX4" fmla="*/ 90170 w 90169"/>
                <a:gd name="connsiteY4" fmla="*/ 45085 h 9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169" h="90169">
                  <a:moveTo>
                    <a:pt x="90170" y="45085"/>
                  </a:moveTo>
                  <a:cubicBezTo>
                    <a:pt x="90170" y="20320"/>
                    <a:pt x="69850" y="0"/>
                    <a:pt x="45085" y="0"/>
                  </a:cubicBezTo>
                  <a:cubicBezTo>
                    <a:pt x="20320" y="0"/>
                    <a:pt x="0" y="20320"/>
                    <a:pt x="0" y="45085"/>
                  </a:cubicBezTo>
                  <a:cubicBezTo>
                    <a:pt x="0" y="69850"/>
                    <a:pt x="20320" y="90170"/>
                    <a:pt x="45085" y="90170"/>
                  </a:cubicBezTo>
                  <a:cubicBezTo>
                    <a:pt x="69850" y="90170"/>
                    <a:pt x="90170" y="69850"/>
                    <a:pt x="90170" y="4508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6ECB825-259E-48FE-A9F8-39DD762F8454}"/>
                </a:ext>
              </a:extLst>
            </p:cNvPr>
            <p:cNvSpPr/>
            <p:nvPr/>
          </p:nvSpPr>
          <p:spPr bwMode="ltGray">
            <a:xfrm>
              <a:off x="9406890" y="2357120"/>
              <a:ext cx="64769" cy="64769"/>
            </a:xfrm>
            <a:custGeom>
              <a:avLst/>
              <a:gdLst>
                <a:gd name="connsiteX0" fmla="*/ 64770 w 64769"/>
                <a:gd name="connsiteY0" fmla="*/ 32385 h 64769"/>
                <a:gd name="connsiteX1" fmla="*/ 32385 w 64769"/>
                <a:gd name="connsiteY1" fmla="*/ 0 h 64769"/>
                <a:gd name="connsiteX2" fmla="*/ 0 w 64769"/>
                <a:gd name="connsiteY2" fmla="*/ 32385 h 64769"/>
                <a:gd name="connsiteX3" fmla="*/ 32385 w 64769"/>
                <a:gd name="connsiteY3" fmla="*/ 64770 h 64769"/>
                <a:gd name="connsiteX4" fmla="*/ 64770 w 64769"/>
                <a:gd name="connsiteY4" fmla="*/ 32385 h 64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769" h="64769">
                  <a:moveTo>
                    <a:pt x="64770" y="32385"/>
                  </a:moveTo>
                  <a:cubicBezTo>
                    <a:pt x="64770" y="14605"/>
                    <a:pt x="50165" y="0"/>
                    <a:pt x="32385" y="0"/>
                  </a:cubicBezTo>
                  <a:cubicBezTo>
                    <a:pt x="14605" y="0"/>
                    <a:pt x="0" y="14605"/>
                    <a:pt x="0" y="32385"/>
                  </a:cubicBezTo>
                  <a:cubicBezTo>
                    <a:pt x="0" y="50165"/>
                    <a:pt x="14605" y="64770"/>
                    <a:pt x="32385" y="64770"/>
                  </a:cubicBezTo>
                  <a:cubicBezTo>
                    <a:pt x="50165" y="64770"/>
                    <a:pt x="64770" y="50800"/>
                    <a:pt x="64770" y="3238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41D8B98-95DD-46AD-9EF8-F77092126302}"/>
                </a:ext>
              </a:extLst>
            </p:cNvPr>
            <p:cNvSpPr/>
            <p:nvPr/>
          </p:nvSpPr>
          <p:spPr bwMode="ltGray">
            <a:xfrm>
              <a:off x="9052559" y="2368550"/>
              <a:ext cx="41909" cy="41910"/>
            </a:xfrm>
            <a:custGeom>
              <a:avLst/>
              <a:gdLst>
                <a:gd name="connsiteX0" fmla="*/ 20955 w 41909"/>
                <a:gd name="connsiteY0" fmla="*/ 41910 h 41910"/>
                <a:gd name="connsiteX1" fmla="*/ 41910 w 41909"/>
                <a:gd name="connsiteY1" fmla="*/ 20955 h 41910"/>
                <a:gd name="connsiteX2" fmla="*/ 20955 w 41909"/>
                <a:gd name="connsiteY2" fmla="*/ 0 h 41910"/>
                <a:gd name="connsiteX3" fmla="*/ 0 w 41909"/>
                <a:gd name="connsiteY3" fmla="*/ 20955 h 41910"/>
                <a:gd name="connsiteX4" fmla="*/ 20955 w 41909"/>
                <a:gd name="connsiteY4" fmla="*/ 41910 h 41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09" h="41910">
                  <a:moveTo>
                    <a:pt x="20955" y="41910"/>
                  </a:moveTo>
                  <a:cubicBezTo>
                    <a:pt x="32385" y="41910"/>
                    <a:pt x="41910" y="32385"/>
                    <a:pt x="41910" y="20955"/>
                  </a:cubicBezTo>
                  <a:cubicBezTo>
                    <a:pt x="41910" y="9525"/>
                    <a:pt x="32385" y="0"/>
                    <a:pt x="20955" y="0"/>
                  </a:cubicBezTo>
                  <a:cubicBezTo>
                    <a:pt x="9525" y="0"/>
                    <a:pt x="0" y="9525"/>
                    <a:pt x="0" y="20955"/>
                  </a:cubicBezTo>
                  <a:cubicBezTo>
                    <a:pt x="0" y="32385"/>
                    <a:pt x="9525" y="41910"/>
                    <a:pt x="20955" y="4191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D3F334F-6727-41B6-86C4-272F8E32994D}"/>
                </a:ext>
              </a:extLst>
            </p:cNvPr>
            <p:cNvSpPr/>
            <p:nvPr/>
          </p:nvSpPr>
          <p:spPr bwMode="ltGray">
            <a:xfrm>
              <a:off x="11935459" y="1958339"/>
              <a:ext cx="130809" cy="130810"/>
            </a:xfrm>
            <a:custGeom>
              <a:avLst/>
              <a:gdLst>
                <a:gd name="connsiteX0" fmla="*/ 65405 w 130809"/>
                <a:gd name="connsiteY0" fmla="*/ 0 h 130810"/>
                <a:gd name="connsiteX1" fmla="*/ 0 w 130809"/>
                <a:gd name="connsiteY1" fmla="*/ 65405 h 130810"/>
                <a:gd name="connsiteX2" fmla="*/ 65405 w 130809"/>
                <a:gd name="connsiteY2" fmla="*/ 130810 h 130810"/>
                <a:gd name="connsiteX3" fmla="*/ 130810 w 130809"/>
                <a:gd name="connsiteY3" fmla="*/ 65405 h 130810"/>
                <a:gd name="connsiteX4" fmla="*/ 65405 w 130809"/>
                <a:gd name="connsiteY4" fmla="*/ 0 h 130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809" h="130810">
                  <a:moveTo>
                    <a:pt x="65405" y="0"/>
                  </a:moveTo>
                  <a:cubicBezTo>
                    <a:pt x="29210" y="0"/>
                    <a:pt x="0" y="29210"/>
                    <a:pt x="0" y="65405"/>
                  </a:cubicBezTo>
                  <a:cubicBezTo>
                    <a:pt x="0" y="101600"/>
                    <a:pt x="29210" y="130810"/>
                    <a:pt x="65405" y="130810"/>
                  </a:cubicBezTo>
                  <a:cubicBezTo>
                    <a:pt x="101600" y="130810"/>
                    <a:pt x="130810" y="101600"/>
                    <a:pt x="130810" y="65405"/>
                  </a:cubicBezTo>
                  <a:cubicBezTo>
                    <a:pt x="130175" y="29210"/>
                    <a:pt x="100965" y="0"/>
                    <a:pt x="6540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54F7261-D778-41D3-84FF-8CEDEF00D2A9}"/>
                </a:ext>
              </a:extLst>
            </p:cNvPr>
            <p:cNvSpPr/>
            <p:nvPr/>
          </p:nvSpPr>
          <p:spPr bwMode="ltGray">
            <a:xfrm>
              <a:off x="11553825" y="1943100"/>
              <a:ext cx="161290" cy="161289"/>
            </a:xfrm>
            <a:custGeom>
              <a:avLst/>
              <a:gdLst>
                <a:gd name="connsiteX0" fmla="*/ 80645 w 161290"/>
                <a:gd name="connsiteY0" fmla="*/ 0 h 161289"/>
                <a:gd name="connsiteX1" fmla="*/ 0 w 161290"/>
                <a:gd name="connsiteY1" fmla="*/ 80645 h 161289"/>
                <a:gd name="connsiteX2" fmla="*/ 80645 w 161290"/>
                <a:gd name="connsiteY2" fmla="*/ 161290 h 161289"/>
                <a:gd name="connsiteX3" fmla="*/ 161290 w 161290"/>
                <a:gd name="connsiteY3" fmla="*/ 80645 h 161289"/>
                <a:gd name="connsiteX4" fmla="*/ 80645 w 161290"/>
                <a:gd name="connsiteY4" fmla="*/ 0 h 161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290" h="161289">
                  <a:moveTo>
                    <a:pt x="80645" y="0"/>
                  </a:moveTo>
                  <a:cubicBezTo>
                    <a:pt x="36195" y="0"/>
                    <a:pt x="0" y="36195"/>
                    <a:pt x="0" y="80645"/>
                  </a:cubicBezTo>
                  <a:cubicBezTo>
                    <a:pt x="0" y="125095"/>
                    <a:pt x="36195" y="161290"/>
                    <a:pt x="80645" y="161290"/>
                  </a:cubicBezTo>
                  <a:cubicBezTo>
                    <a:pt x="125095" y="161290"/>
                    <a:pt x="161290" y="125095"/>
                    <a:pt x="161290" y="80645"/>
                  </a:cubicBezTo>
                  <a:cubicBezTo>
                    <a:pt x="161290" y="36195"/>
                    <a:pt x="125095" y="0"/>
                    <a:pt x="8064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7E43617-6057-4197-8548-09C2DBFC421D}"/>
                </a:ext>
              </a:extLst>
            </p:cNvPr>
            <p:cNvSpPr/>
            <p:nvPr/>
          </p:nvSpPr>
          <p:spPr bwMode="ltGray">
            <a:xfrm>
              <a:off x="11177905" y="1932939"/>
              <a:ext cx="181617" cy="181610"/>
            </a:xfrm>
            <a:custGeom>
              <a:avLst/>
              <a:gdLst>
                <a:gd name="connsiteX0" fmla="*/ 90805 w 181617"/>
                <a:gd name="connsiteY0" fmla="*/ 0 h 181610"/>
                <a:gd name="connsiteX1" fmla="*/ 0 w 181617"/>
                <a:gd name="connsiteY1" fmla="*/ 90805 h 181610"/>
                <a:gd name="connsiteX2" fmla="*/ 90805 w 181617"/>
                <a:gd name="connsiteY2" fmla="*/ 181610 h 181610"/>
                <a:gd name="connsiteX3" fmla="*/ 181610 w 181617"/>
                <a:gd name="connsiteY3" fmla="*/ 90805 h 181610"/>
                <a:gd name="connsiteX4" fmla="*/ 90805 w 181617"/>
                <a:gd name="connsiteY4" fmla="*/ 0 h 181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617" h="181610">
                  <a:moveTo>
                    <a:pt x="90805" y="0"/>
                  </a:moveTo>
                  <a:cubicBezTo>
                    <a:pt x="40639" y="0"/>
                    <a:pt x="0" y="40640"/>
                    <a:pt x="0" y="90805"/>
                  </a:cubicBezTo>
                  <a:cubicBezTo>
                    <a:pt x="0" y="140970"/>
                    <a:pt x="40639" y="181610"/>
                    <a:pt x="90805" y="181610"/>
                  </a:cubicBezTo>
                  <a:cubicBezTo>
                    <a:pt x="140970" y="181610"/>
                    <a:pt x="181610" y="140970"/>
                    <a:pt x="181610" y="90805"/>
                  </a:cubicBezTo>
                  <a:cubicBezTo>
                    <a:pt x="182245" y="40640"/>
                    <a:pt x="140970" y="0"/>
                    <a:pt x="9080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BFB6ED0-3B36-47BB-9346-73E1AA150CD1}"/>
                </a:ext>
              </a:extLst>
            </p:cNvPr>
            <p:cNvSpPr/>
            <p:nvPr/>
          </p:nvSpPr>
          <p:spPr bwMode="ltGray">
            <a:xfrm>
              <a:off x="10807065" y="1927860"/>
              <a:ext cx="191769" cy="191769"/>
            </a:xfrm>
            <a:custGeom>
              <a:avLst/>
              <a:gdLst>
                <a:gd name="connsiteX0" fmla="*/ 95885 w 191769"/>
                <a:gd name="connsiteY0" fmla="*/ 0 h 191769"/>
                <a:gd name="connsiteX1" fmla="*/ 0 w 191769"/>
                <a:gd name="connsiteY1" fmla="*/ 95885 h 191769"/>
                <a:gd name="connsiteX2" fmla="*/ 95885 w 191769"/>
                <a:gd name="connsiteY2" fmla="*/ 191770 h 191769"/>
                <a:gd name="connsiteX3" fmla="*/ 191770 w 191769"/>
                <a:gd name="connsiteY3" fmla="*/ 95885 h 191769"/>
                <a:gd name="connsiteX4" fmla="*/ 95885 w 191769"/>
                <a:gd name="connsiteY4" fmla="*/ 0 h 191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1769" h="191769">
                  <a:moveTo>
                    <a:pt x="95885" y="0"/>
                  </a:moveTo>
                  <a:cubicBezTo>
                    <a:pt x="42545" y="0"/>
                    <a:pt x="0" y="43180"/>
                    <a:pt x="0" y="95885"/>
                  </a:cubicBezTo>
                  <a:cubicBezTo>
                    <a:pt x="0" y="148590"/>
                    <a:pt x="43180" y="191770"/>
                    <a:pt x="95885" y="191770"/>
                  </a:cubicBezTo>
                  <a:cubicBezTo>
                    <a:pt x="148590" y="191770"/>
                    <a:pt x="191770" y="148590"/>
                    <a:pt x="191770" y="95885"/>
                  </a:cubicBezTo>
                  <a:cubicBezTo>
                    <a:pt x="191770" y="43180"/>
                    <a:pt x="148590" y="0"/>
                    <a:pt x="9588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AA268116-912F-4F29-AD35-A41A8C319385}"/>
                </a:ext>
              </a:extLst>
            </p:cNvPr>
            <p:cNvSpPr/>
            <p:nvPr/>
          </p:nvSpPr>
          <p:spPr bwMode="ltGray">
            <a:xfrm>
              <a:off x="10443209" y="1929764"/>
              <a:ext cx="187959" cy="187960"/>
            </a:xfrm>
            <a:custGeom>
              <a:avLst/>
              <a:gdLst>
                <a:gd name="connsiteX0" fmla="*/ 187960 w 187959"/>
                <a:gd name="connsiteY0" fmla="*/ 93980 h 187960"/>
                <a:gd name="connsiteX1" fmla="*/ 93980 w 187959"/>
                <a:gd name="connsiteY1" fmla="*/ 0 h 187960"/>
                <a:gd name="connsiteX2" fmla="*/ 0 w 187959"/>
                <a:gd name="connsiteY2" fmla="*/ 93980 h 187960"/>
                <a:gd name="connsiteX3" fmla="*/ 93980 w 187959"/>
                <a:gd name="connsiteY3" fmla="*/ 187960 h 187960"/>
                <a:gd name="connsiteX4" fmla="*/ 187960 w 187959"/>
                <a:gd name="connsiteY4" fmla="*/ 93980 h 187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959" h="187960">
                  <a:moveTo>
                    <a:pt x="187960" y="93980"/>
                  </a:moveTo>
                  <a:cubicBezTo>
                    <a:pt x="187960" y="41910"/>
                    <a:pt x="146050" y="0"/>
                    <a:pt x="93980" y="0"/>
                  </a:cubicBezTo>
                  <a:cubicBezTo>
                    <a:pt x="41910" y="0"/>
                    <a:pt x="0" y="41910"/>
                    <a:pt x="0" y="93980"/>
                  </a:cubicBezTo>
                  <a:cubicBezTo>
                    <a:pt x="0" y="146050"/>
                    <a:pt x="41910" y="187960"/>
                    <a:pt x="93980" y="187960"/>
                  </a:cubicBezTo>
                  <a:cubicBezTo>
                    <a:pt x="146050" y="187960"/>
                    <a:pt x="187960" y="146050"/>
                    <a:pt x="187960" y="9398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9402848C-831D-418E-9AE5-6928954DF2F2}"/>
                </a:ext>
              </a:extLst>
            </p:cNvPr>
            <p:cNvSpPr/>
            <p:nvPr/>
          </p:nvSpPr>
          <p:spPr bwMode="ltGray">
            <a:xfrm>
              <a:off x="10085069" y="1937385"/>
              <a:ext cx="172720" cy="172719"/>
            </a:xfrm>
            <a:custGeom>
              <a:avLst/>
              <a:gdLst>
                <a:gd name="connsiteX0" fmla="*/ 172720 w 172720"/>
                <a:gd name="connsiteY0" fmla="*/ 86360 h 172719"/>
                <a:gd name="connsiteX1" fmla="*/ 86361 w 172720"/>
                <a:gd name="connsiteY1" fmla="*/ 0 h 172719"/>
                <a:gd name="connsiteX2" fmla="*/ 0 w 172720"/>
                <a:gd name="connsiteY2" fmla="*/ 86360 h 172719"/>
                <a:gd name="connsiteX3" fmla="*/ 86361 w 172720"/>
                <a:gd name="connsiteY3" fmla="*/ 172720 h 172719"/>
                <a:gd name="connsiteX4" fmla="*/ 172720 w 172720"/>
                <a:gd name="connsiteY4" fmla="*/ 86360 h 17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720" h="172719">
                  <a:moveTo>
                    <a:pt x="172720" y="86360"/>
                  </a:moveTo>
                  <a:cubicBezTo>
                    <a:pt x="172720" y="38735"/>
                    <a:pt x="133986" y="0"/>
                    <a:pt x="86361" y="0"/>
                  </a:cubicBezTo>
                  <a:cubicBezTo>
                    <a:pt x="38736" y="0"/>
                    <a:pt x="0" y="38735"/>
                    <a:pt x="0" y="86360"/>
                  </a:cubicBezTo>
                  <a:cubicBezTo>
                    <a:pt x="0" y="133985"/>
                    <a:pt x="38736" y="172720"/>
                    <a:pt x="86361" y="172720"/>
                  </a:cubicBezTo>
                  <a:cubicBezTo>
                    <a:pt x="133986" y="172720"/>
                    <a:pt x="172720" y="133985"/>
                    <a:pt x="172720" y="8636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3515E12-DDD6-4738-9614-2B325598B8D3}"/>
                </a:ext>
              </a:extLst>
            </p:cNvPr>
            <p:cNvSpPr/>
            <p:nvPr/>
          </p:nvSpPr>
          <p:spPr bwMode="ltGray">
            <a:xfrm>
              <a:off x="9731375" y="1950085"/>
              <a:ext cx="147319" cy="147319"/>
            </a:xfrm>
            <a:custGeom>
              <a:avLst/>
              <a:gdLst>
                <a:gd name="connsiteX0" fmla="*/ 147320 w 147319"/>
                <a:gd name="connsiteY0" fmla="*/ 73660 h 147319"/>
                <a:gd name="connsiteX1" fmla="*/ 73660 w 147319"/>
                <a:gd name="connsiteY1" fmla="*/ 0 h 147319"/>
                <a:gd name="connsiteX2" fmla="*/ 0 w 147319"/>
                <a:gd name="connsiteY2" fmla="*/ 73660 h 147319"/>
                <a:gd name="connsiteX3" fmla="*/ 73660 w 147319"/>
                <a:gd name="connsiteY3" fmla="*/ 147320 h 147319"/>
                <a:gd name="connsiteX4" fmla="*/ 147320 w 147319"/>
                <a:gd name="connsiteY4" fmla="*/ 73660 h 147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319" h="147319">
                  <a:moveTo>
                    <a:pt x="147320" y="73660"/>
                  </a:moveTo>
                  <a:cubicBezTo>
                    <a:pt x="147320" y="33020"/>
                    <a:pt x="114300" y="0"/>
                    <a:pt x="73660" y="0"/>
                  </a:cubicBezTo>
                  <a:cubicBezTo>
                    <a:pt x="33020" y="0"/>
                    <a:pt x="0" y="33020"/>
                    <a:pt x="0" y="73660"/>
                  </a:cubicBezTo>
                  <a:cubicBezTo>
                    <a:pt x="0" y="114300"/>
                    <a:pt x="33020" y="147320"/>
                    <a:pt x="73660" y="147320"/>
                  </a:cubicBezTo>
                  <a:cubicBezTo>
                    <a:pt x="114300" y="147320"/>
                    <a:pt x="147320" y="114300"/>
                    <a:pt x="147320" y="7366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A3D00E8D-F817-479D-A7B9-0520869865F6}"/>
                </a:ext>
              </a:extLst>
            </p:cNvPr>
            <p:cNvSpPr/>
            <p:nvPr/>
          </p:nvSpPr>
          <p:spPr bwMode="ltGray">
            <a:xfrm>
              <a:off x="9383394" y="1967864"/>
              <a:ext cx="111760" cy="111760"/>
            </a:xfrm>
            <a:custGeom>
              <a:avLst/>
              <a:gdLst>
                <a:gd name="connsiteX0" fmla="*/ 111761 w 111760"/>
                <a:gd name="connsiteY0" fmla="*/ 55880 h 111760"/>
                <a:gd name="connsiteX1" fmla="*/ 55880 w 111760"/>
                <a:gd name="connsiteY1" fmla="*/ 0 h 111760"/>
                <a:gd name="connsiteX2" fmla="*/ 0 w 111760"/>
                <a:gd name="connsiteY2" fmla="*/ 55880 h 111760"/>
                <a:gd name="connsiteX3" fmla="*/ 55880 w 111760"/>
                <a:gd name="connsiteY3" fmla="*/ 111760 h 111760"/>
                <a:gd name="connsiteX4" fmla="*/ 111761 w 111760"/>
                <a:gd name="connsiteY4" fmla="*/ 55880 h 111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760" h="111760">
                  <a:moveTo>
                    <a:pt x="111761" y="55880"/>
                  </a:moveTo>
                  <a:cubicBezTo>
                    <a:pt x="111761" y="24765"/>
                    <a:pt x="86995" y="0"/>
                    <a:pt x="55880" y="0"/>
                  </a:cubicBezTo>
                  <a:cubicBezTo>
                    <a:pt x="24765" y="0"/>
                    <a:pt x="0" y="24765"/>
                    <a:pt x="0" y="55880"/>
                  </a:cubicBezTo>
                  <a:cubicBezTo>
                    <a:pt x="0" y="86995"/>
                    <a:pt x="24765" y="111760"/>
                    <a:pt x="55880" y="111760"/>
                  </a:cubicBezTo>
                  <a:cubicBezTo>
                    <a:pt x="86995" y="111760"/>
                    <a:pt x="111761" y="86360"/>
                    <a:pt x="111761" y="5588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D5F475BB-844D-48D8-913B-58F0ECF5ECB4}"/>
                </a:ext>
              </a:extLst>
            </p:cNvPr>
            <p:cNvSpPr/>
            <p:nvPr/>
          </p:nvSpPr>
          <p:spPr bwMode="ltGray">
            <a:xfrm>
              <a:off x="9035415" y="1985645"/>
              <a:ext cx="76200" cy="76200"/>
            </a:xfrm>
            <a:custGeom>
              <a:avLst/>
              <a:gdLst>
                <a:gd name="connsiteX0" fmla="*/ 38100 w 76200"/>
                <a:gd name="connsiteY0" fmla="*/ 0 h 76200"/>
                <a:gd name="connsiteX1" fmla="*/ 0 w 76200"/>
                <a:gd name="connsiteY1" fmla="*/ 38100 h 76200"/>
                <a:gd name="connsiteX2" fmla="*/ 38100 w 76200"/>
                <a:gd name="connsiteY2" fmla="*/ 76200 h 76200"/>
                <a:gd name="connsiteX3" fmla="*/ 76200 w 76200"/>
                <a:gd name="connsiteY3" fmla="*/ 38100 h 76200"/>
                <a:gd name="connsiteX4" fmla="*/ 38100 w 76200"/>
                <a:gd name="connsiteY4" fmla="*/ 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38100" y="0"/>
                  </a:moveTo>
                  <a:cubicBezTo>
                    <a:pt x="17145" y="0"/>
                    <a:pt x="0" y="17145"/>
                    <a:pt x="0" y="38100"/>
                  </a:cubicBezTo>
                  <a:cubicBezTo>
                    <a:pt x="0" y="59055"/>
                    <a:pt x="17145" y="76200"/>
                    <a:pt x="38100" y="76200"/>
                  </a:cubicBezTo>
                  <a:cubicBezTo>
                    <a:pt x="59055" y="76200"/>
                    <a:pt x="76200" y="59055"/>
                    <a:pt x="76200" y="38100"/>
                  </a:cubicBezTo>
                  <a:cubicBezTo>
                    <a:pt x="76200" y="17145"/>
                    <a:pt x="59055" y="0"/>
                    <a:pt x="3810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6F98A02-B9E0-4B37-A1ED-D64F65824689}"/>
                </a:ext>
              </a:extLst>
            </p:cNvPr>
            <p:cNvSpPr/>
            <p:nvPr/>
          </p:nvSpPr>
          <p:spPr bwMode="ltGray">
            <a:xfrm>
              <a:off x="8684894" y="2001520"/>
              <a:ext cx="44450" cy="44450"/>
            </a:xfrm>
            <a:custGeom>
              <a:avLst/>
              <a:gdLst>
                <a:gd name="connsiteX0" fmla="*/ 44450 w 44450"/>
                <a:gd name="connsiteY0" fmla="*/ 22225 h 44450"/>
                <a:gd name="connsiteX1" fmla="*/ 22225 w 44450"/>
                <a:gd name="connsiteY1" fmla="*/ 0 h 44450"/>
                <a:gd name="connsiteX2" fmla="*/ 0 w 44450"/>
                <a:gd name="connsiteY2" fmla="*/ 22225 h 44450"/>
                <a:gd name="connsiteX3" fmla="*/ 22225 w 44450"/>
                <a:gd name="connsiteY3" fmla="*/ 44450 h 44450"/>
                <a:gd name="connsiteX4" fmla="*/ 44450 w 44450"/>
                <a:gd name="connsiteY4" fmla="*/ 22225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44450">
                  <a:moveTo>
                    <a:pt x="44450" y="22225"/>
                  </a:moveTo>
                  <a:cubicBezTo>
                    <a:pt x="44450" y="10160"/>
                    <a:pt x="34925" y="0"/>
                    <a:pt x="22225" y="0"/>
                  </a:cubicBezTo>
                  <a:cubicBezTo>
                    <a:pt x="9525" y="0"/>
                    <a:pt x="0" y="9525"/>
                    <a:pt x="0" y="22225"/>
                  </a:cubicBezTo>
                  <a:cubicBezTo>
                    <a:pt x="0" y="34290"/>
                    <a:pt x="9525" y="44450"/>
                    <a:pt x="22225" y="44450"/>
                  </a:cubicBezTo>
                  <a:cubicBezTo>
                    <a:pt x="34925" y="44450"/>
                    <a:pt x="44450" y="34290"/>
                    <a:pt x="44450" y="2222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C53E61D-DD12-48FD-A6D3-A98D823421C6}"/>
                </a:ext>
              </a:extLst>
            </p:cNvPr>
            <p:cNvSpPr/>
            <p:nvPr/>
          </p:nvSpPr>
          <p:spPr bwMode="ltGray">
            <a:xfrm>
              <a:off x="11908790" y="1565275"/>
              <a:ext cx="184150" cy="184150"/>
            </a:xfrm>
            <a:custGeom>
              <a:avLst/>
              <a:gdLst>
                <a:gd name="connsiteX0" fmla="*/ 92075 w 184150"/>
                <a:gd name="connsiteY0" fmla="*/ 0 h 184150"/>
                <a:gd name="connsiteX1" fmla="*/ 0 w 184150"/>
                <a:gd name="connsiteY1" fmla="*/ 92075 h 184150"/>
                <a:gd name="connsiteX2" fmla="*/ 92075 w 184150"/>
                <a:gd name="connsiteY2" fmla="*/ 184150 h 184150"/>
                <a:gd name="connsiteX3" fmla="*/ 184150 w 184150"/>
                <a:gd name="connsiteY3" fmla="*/ 92075 h 184150"/>
                <a:gd name="connsiteX4" fmla="*/ 92075 w 184150"/>
                <a:gd name="connsiteY4" fmla="*/ 0 h 1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150" h="184150">
                  <a:moveTo>
                    <a:pt x="92075" y="0"/>
                  </a:moveTo>
                  <a:cubicBezTo>
                    <a:pt x="41275" y="0"/>
                    <a:pt x="0" y="41275"/>
                    <a:pt x="0" y="92075"/>
                  </a:cubicBezTo>
                  <a:cubicBezTo>
                    <a:pt x="0" y="142875"/>
                    <a:pt x="41275" y="184150"/>
                    <a:pt x="92075" y="184150"/>
                  </a:cubicBezTo>
                  <a:cubicBezTo>
                    <a:pt x="142875" y="184150"/>
                    <a:pt x="184150" y="142875"/>
                    <a:pt x="184150" y="92075"/>
                  </a:cubicBezTo>
                  <a:cubicBezTo>
                    <a:pt x="184150" y="41275"/>
                    <a:pt x="142875" y="0"/>
                    <a:pt x="9207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A6464F5-E098-430D-B663-863EB2FB1059}"/>
                </a:ext>
              </a:extLst>
            </p:cNvPr>
            <p:cNvSpPr/>
            <p:nvPr/>
          </p:nvSpPr>
          <p:spPr bwMode="ltGray">
            <a:xfrm>
              <a:off x="11525250" y="1548764"/>
              <a:ext cx="218440" cy="218439"/>
            </a:xfrm>
            <a:custGeom>
              <a:avLst/>
              <a:gdLst>
                <a:gd name="connsiteX0" fmla="*/ 109220 w 218440"/>
                <a:gd name="connsiteY0" fmla="*/ 0 h 218439"/>
                <a:gd name="connsiteX1" fmla="*/ 0 w 218440"/>
                <a:gd name="connsiteY1" fmla="*/ 109220 h 218439"/>
                <a:gd name="connsiteX2" fmla="*/ 109220 w 218440"/>
                <a:gd name="connsiteY2" fmla="*/ 218440 h 218439"/>
                <a:gd name="connsiteX3" fmla="*/ 218440 w 218440"/>
                <a:gd name="connsiteY3" fmla="*/ 109220 h 218439"/>
                <a:gd name="connsiteX4" fmla="*/ 109220 w 218440"/>
                <a:gd name="connsiteY4" fmla="*/ 0 h 21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440" h="218439">
                  <a:moveTo>
                    <a:pt x="109220" y="0"/>
                  </a:moveTo>
                  <a:cubicBezTo>
                    <a:pt x="48895" y="0"/>
                    <a:pt x="0" y="48895"/>
                    <a:pt x="0" y="109220"/>
                  </a:cubicBezTo>
                  <a:cubicBezTo>
                    <a:pt x="0" y="169545"/>
                    <a:pt x="48895" y="218440"/>
                    <a:pt x="109220" y="218440"/>
                  </a:cubicBezTo>
                  <a:cubicBezTo>
                    <a:pt x="169545" y="218440"/>
                    <a:pt x="218440" y="169545"/>
                    <a:pt x="218440" y="109220"/>
                  </a:cubicBezTo>
                  <a:cubicBezTo>
                    <a:pt x="218440" y="48895"/>
                    <a:pt x="169545" y="0"/>
                    <a:pt x="10922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D39A478D-29D7-4F8F-A12B-493B444493B6}"/>
                </a:ext>
              </a:extLst>
            </p:cNvPr>
            <p:cNvSpPr/>
            <p:nvPr/>
          </p:nvSpPr>
          <p:spPr bwMode="ltGray">
            <a:xfrm>
              <a:off x="11148694" y="1537969"/>
              <a:ext cx="240030" cy="240030"/>
            </a:xfrm>
            <a:custGeom>
              <a:avLst/>
              <a:gdLst>
                <a:gd name="connsiteX0" fmla="*/ 120015 w 240030"/>
                <a:gd name="connsiteY0" fmla="*/ 0 h 240030"/>
                <a:gd name="connsiteX1" fmla="*/ 0 w 240030"/>
                <a:gd name="connsiteY1" fmla="*/ 120015 h 240030"/>
                <a:gd name="connsiteX2" fmla="*/ 120015 w 240030"/>
                <a:gd name="connsiteY2" fmla="*/ 240030 h 240030"/>
                <a:gd name="connsiteX3" fmla="*/ 240030 w 240030"/>
                <a:gd name="connsiteY3" fmla="*/ 120015 h 240030"/>
                <a:gd name="connsiteX4" fmla="*/ 120015 w 240030"/>
                <a:gd name="connsiteY4" fmla="*/ 0 h 240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030" h="240030">
                  <a:moveTo>
                    <a:pt x="120015" y="0"/>
                  </a:moveTo>
                  <a:cubicBezTo>
                    <a:pt x="53975" y="0"/>
                    <a:pt x="0" y="53975"/>
                    <a:pt x="0" y="120015"/>
                  </a:cubicBezTo>
                  <a:cubicBezTo>
                    <a:pt x="0" y="186055"/>
                    <a:pt x="53975" y="240030"/>
                    <a:pt x="120015" y="240030"/>
                  </a:cubicBezTo>
                  <a:cubicBezTo>
                    <a:pt x="186055" y="240030"/>
                    <a:pt x="240030" y="186055"/>
                    <a:pt x="240030" y="120015"/>
                  </a:cubicBezTo>
                  <a:cubicBezTo>
                    <a:pt x="240030" y="53340"/>
                    <a:pt x="186055" y="0"/>
                    <a:pt x="12001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7A224174-291E-4ED4-8D0A-A19EA301E167}"/>
                </a:ext>
              </a:extLst>
            </p:cNvPr>
            <p:cNvSpPr/>
            <p:nvPr/>
          </p:nvSpPr>
          <p:spPr bwMode="ltGray">
            <a:xfrm>
              <a:off x="10778490" y="1533525"/>
              <a:ext cx="248919" cy="248920"/>
            </a:xfrm>
            <a:custGeom>
              <a:avLst/>
              <a:gdLst>
                <a:gd name="connsiteX0" fmla="*/ 248920 w 248919"/>
                <a:gd name="connsiteY0" fmla="*/ 124460 h 248920"/>
                <a:gd name="connsiteX1" fmla="*/ 124460 w 248919"/>
                <a:gd name="connsiteY1" fmla="*/ 248920 h 248920"/>
                <a:gd name="connsiteX2" fmla="*/ 0 w 248919"/>
                <a:gd name="connsiteY2" fmla="*/ 124460 h 248920"/>
                <a:gd name="connsiteX3" fmla="*/ 124460 w 248919"/>
                <a:gd name="connsiteY3" fmla="*/ 0 h 248920"/>
                <a:gd name="connsiteX4" fmla="*/ 248920 w 248919"/>
                <a:gd name="connsiteY4" fmla="*/ 124460 h 248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919" h="248920">
                  <a:moveTo>
                    <a:pt x="248920" y="124460"/>
                  </a:moveTo>
                  <a:cubicBezTo>
                    <a:pt x="248920" y="193197"/>
                    <a:pt x="193197" y="248920"/>
                    <a:pt x="124460" y="248920"/>
                  </a:cubicBezTo>
                  <a:cubicBezTo>
                    <a:pt x="55722" y="248920"/>
                    <a:pt x="0" y="193198"/>
                    <a:pt x="0" y="124460"/>
                  </a:cubicBezTo>
                  <a:cubicBezTo>
                    <a:pt x="0" y="55723"/>
                    <a:pt x="55723" y="0"/>
                    <a:pt x="124460" y="0"/>
                  </a:cubicBezTo>
                  <a:cubicBezTo>
                    <a:pt x="193198" y="0"/>
                    <a:pt x="248920" y="55723"/>
                    <a:pt x="248920" y="12446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8023EEE-0ADA-46C3-A3F6-98B5E8D74F41}"/>
                </a:ext>
              </a:extLst>
            </p:cNvPr>
            <p:cNvSpPr/>
            <p:nvPr/>
          </p:nvSpPr>
          <p:spPr bwMode="ltGray">
            <a:xfrm>
              <a:off x="10414000" y="1534795"/>
              <a:ext cx="246380" cy="246379"/>
            </a:xfrm>
            <a:custGeom>
              <a:avLst/>
              <a:gdLst>
                <a:gd name="connsiteX0" fmla="*/ 246380 w 246380"/>
                <a:gd name="connsiteY0" fmla="*/ 123190 h 246379"/>
                <a:gd name="connsiteX1" fmla="*/ 123190 w 246380"/>
                <a:gd name="connsiteY1" fmla="*/ 246380 h 246379"/>
                <a:gd name="connsiteX2" fmla="*/ 0 w 246380"/>
                <a:gd name="connsiteY2" fmla="*/ 123190 h 246379"/>
                <a:gd name="connsiteX3" fmla="*/ 123190 w 246380"/>
                <a:gd name="connsiteY3" fmla="*/ 0 h 246379"/>
                <a:gd name="connsiteX4" fmla="*/ 246380 w 246380"/>
                <a:gd name="connsiteY4" fmla="*/ 123190 h 246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6380" h="246379">
                  <a:moveTo>
                    <a:pt x="246380" y="123190"/>
                  </a:moveTo>
                  <a:cubicBezTo>
                    <a:pt x="246380" y="191226"/>
                    <a:pt x="191226" y="246380"/>
                    <a:pt x="123190" y="246380"/>
                  </a:cubicBezTo>
                  <a:cubicBezTo>
                    <a:pt x="55154" y="246380"/>
                    <a:pt x="0" y="191226"/>
                    <a:pt x="0" y="123190"/>
                  </a:cubicBezTo>
                  <a:cubicBezTo>
                    <a:pt x="0" y="55154"/>
                    <a:pt x="55154" y="0"/>
                    <a:pt x="123190" y="0"/>
                  </a:cubicBezTo>
                  <a:cubicBezTo>
                    <a:pt x="191226" y="0"/>
                    <a:pt x="246380" y="55154"/>
                    <a:pt x="246380" y="12319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4AC5B724-75FB-40BB-847F-E66654CB8BF0}"/>
                </a:ext>
              </a:extLst>
            </p:cNvPr>
            <p:cNvSpPr/>
            <p:nvPr/>
          </p:nvSpPr>
          <p:spPr bwMode="ltGray">
            <a:xfrm>
              <a:off x="10055859" y="1543050"/>
              <a:ext cx="229870" cy="229870"/>
            </a:xfrm>
            <a:custGeom>
              <a:avLst/>
              <a:gdLst>
                <a:gd name="connsiteX0" fmla="*/ 114935 w 229870"/>
                <a:gd name="connsiteY0" fmla="*/ 0 h 229870"/>
                <a:gd name="connsiteX1" fmla="*/ 0 w 229870"/>
                <a:gd name="connsiteY1" fmla="*/ 114935 h 229870"/>
                <a:gd name="connsiteX2" fmla="*/ 114935 w 229870"/>
                <a:gd name="connsiteY2" fmla="*/ 229870 h 229870"/>
                <a:gd name="connsiteX3" fmla="*/ 229870 w 229870"/>
                <a:gd name="connsiteY3" fmla="*/ 114935 h 229870"/>
                <a:gd name="connsiteX4" fmla="*/ 114935 w 229870"/>
                <a:gd name="connsiteY4" fmla="*/ 0 h 229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9870" h="229870">
                  <a:moveTo>
                    <a:pt x="114935" y="0"/>
                  </a:moveTo>
                  <a:cubicBezTo>
                    <a:pt x="51435" y="0"/>
                    <a:pt x="0" y="51435"/>
                    <a:pt x="0" y="114935"/>
                  </a:cubicBezTo>
                  <a:cubicBezTo>
                    <a:pt x="0" y="178435"/>
                    <a:pt x="51435" y="229870"/>
                    <a:pt x="114935" y="229870"/>
                  </a:cubicBezTo>
                  <a:cubicBezTo>
                    <a:pt x="178435" y="229870"/>
                    <a:pt x="229870" y="178435"/>
                    <a:pt x="229870" y="114935"/>
                  </a:cubicBezTo>
                  <a:cubicBezTo>
                    <a:pt x="229870" y="51435"/>
                    <a:pt x="178435" y="0"/>
                    <a:pt x="11493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9D86DA6B-46E5-4C85-878A-007845B39C9E}"/>
                </a:ext>
              </a:extLst>
            </p:cNvPr>
            <p:cNvSpPr/>
            <p:nvPr/>
          </p:nvSpPr>
          <p:spPr bwMode="ltGray">
            <a:xfrm>
              <a:off x="9705340" y="1557655"/>
              <a:ext cx="199390" cy="199390"/>
            </a:xfrm>
            <a:custGeom>
              <a:avLst/>
              <a:gdLst>
                <a:gd name="connsiteX0" fmla="*/ 99695 w 199390"/>
                <a:gd name="connsiteY0" fmla="*/ 0 h 199390"/>
                <a:gd name="connsiteX1" fmla="*/ 0 w 199390"/>
                <a:gd name="connsiteY1" fmla="*/ 99695 h 199390"/>
                <a:gd name="connsiteX2" fmla="*/ 99695 w 199390"/>
                <a:gd name="connsiteY2" fmla="*/ 199390 h 199390"/>
                <a:gd name="connsiteX3" fmla="*/ 199390 w 199390"/>
                <a:gd name="connsiteY3" fmla="*/ 99695 h 199390"/>
                <a:gd name="connsiteX4" fmla="*/ 99695 w 199390"/>
                <a:gd name="connsiteY4" fmla="*/ 0 h 199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9390" h="199390">
                  <a:moveTo>
                    <a:pt x="99695" y="0"/>
                  </a:moveTo>
                  <a:cubicBezTo>
                    <a:pt x="44450" y="0"/>
                    <a:pt x="0" y="44450"/>
                    <a:pt x="0" y="99695"/>
                  </a:cubicBezTo>
                  <a:cubicBezTo>
                    <a:pt x="0" y="154940"/>
                    <a:pt x="44450" y="199390"/>
                    <a:pt x="99695" y="199390"/>
                  </a:cubicBezTo>
                  <a:cubicBezTo>
                    <a:pt x="154940" y="199390"/>
                    <a:pt x="199390" y="154940"/>
                    <a:pt x="199390" y="99695"/>
                  </a:cubicBezTo>
                  <a:cubicBezTo>
                    <a:pt x="199390" y="44450"/>
                    <a:pt x="154940" y="0"/>
                    <a:pt x="9969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47FD085-4CFF-4E0F-99AE-63E2CB269C3C}"/>
                </a:ext>
              </a:extLst>
            </p:cNvPr>
            <p:cNvSpPr/>
            <p:nvPr/>
          </p:nvSpPr>
          <p:spPr bwMode="ltGray">
            <a:xfrm>
              <a:off x="9358630" y="1577339"/>
              <a:ext cx="161289" cy="161289"/>
            </a:xfrm>
            <a:custGeom>
              <a:avLst/>
              <a:gdLst>
                <a:gd name="connsiteX0" fmla="*/ 161289 w 161289"/>
                <a:gd name="connsiteY0" fmla="*/ 80645 h 161289"/>
                <a:gd name="connsiteX1" fmla="*/ 80645 w 161289"/>
                <a:gd name="connsiteY1" fmla="*/ 0 h 161289"/>
                <a:gd name="connsiteX2" fmla="*/ 0 w 161289"/>
                <a:gd name="connsiteY2" fmla="*/ 80645 h 161289"/>
                <a:gd name="connsiteX3" fmla="*/ 80645 w 161289"/>
                <a:gd name="connsiteY3" fmla="*/ 161290 h 161289"/>
                <a:gd name="connsiteX4" fmla="*/ 161289 w 161289"/>
                <a:gd name="connsiteY4" fmla="*/ 80645 h 161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289" h="161289">
                  <a:moveTo>
                    <a:pt x="161289" y="80645"/>
                  </a:moveTo>
                  <a:cubicBezTo>
                    <a:pt x="161289" y="36195"/>
                    <a:pt x="125095" y="0"/>
                    <a:pt x="80645" y="0"/>
                  </a:cubicBezTo>
                  <a:cubicBezTo>
                    <a:pt x="36195" y="0"/>
                    <a:pt x="0" y="36195"/>
                    <a:pt x="0" y="80645"/>
                  </a:cubicBezTo>
                  <a:cubicBezTo>
                    <a:pt x="0" y="125095"/>
                    <a:pt x="36195" y="161290"/>
                    <a:pt x="80645" y="161290"/>
                  </a:cubicBezTo>
                  <a:cubicBezTo>
                    <a:pt x="125095" y="160655"/>
                    <a:pt x="161289" y="125095"/>
                    <a:pt x="161289" y="8064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F708F0EA-E897-4113-9D30-57078230777B}"/>
                </a:ext>
              </a:extLst>
            </p:cNvPr>
            <p:cNvSpPr/>
            <p:nvPr/>
          </p:nvSpPr>
          <p:spPr bwMode="ltGray">
            <a:xfrm>
              <a:off x="9015730" y="1600200"/>
              <a:ext cx="115569" cy="115570"/>
            </a:xfrm>
            <a:custGeom>
              <a:avLst/>
              <a:gdLst>
                <a:gd name="connsiteX0" fmla="*/ 115570 w 115569"/>
                <a:gd name="connsiteY0" fmla="*/ 57785 h 115570"/>
                <a:gd name="connsiteX1" fmla="*/ 57785 w 115569"/>
                <a:gd name="connsiteY1" fmla="*/ 0 h 115570"/>
                <a:gd name="connsiteX2" fmla="*/ 0 w 115569"/>
                <a:gd name="connsiteY2" fmla="*/ 57785 h 115570"/>
                <a:gd name="connsiteX3" fmla="*/ 57785 w 115569"/>
                <a:gd name="connsiteY3" fmla="*/ 115570 h 115570"/>
                <a:gd name="connsiteX4" fmla="*/ 115570 w 115569"/>
                <a:gd name="connsiteY4" fmla="*/ 57785 h 115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569" h="115570">
                  <a:moveTo>
                    <a:pt x="115570" y="57785"/>
                  </a:moveTo>
                  <a:cubicBezTo>
                    <a:pt x="115570" y="26035"/>
                    <a:pt x="89535" y="0"/>
                    <a:pt x="57785" y="0"/>
                  </a:cubicBezTo>
                  <a:cubicBezTo>
                    <a:pt x="26035" y="0"/>
                    <a:pt x="0" y="26035"/>
                    <a:pt x="0" y="57785"/>
                  </a:cubicBezTo>
                  <a:cubicBezTo>
                    <a:pt x="0" y="89535"/>
                    <a:pt x="26035" y="115570"/>
                    <a:pt x="57785" y="115570"/>
                  </a:cubicBezTo>
                  <a:cubicBezTo>
                    <a:pt x="89535" y="115570"/>
                    <a:pt x="115570" y="89535"/>
                    <a:pt x="115570" y="5778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C4193818-9A4F-49EE-86AE-8B50D5444870}"/>
                </a:ext>
              </a:extLst>
            </p:cNvPr>
            <p:cNvSpPr/>
            <p:nvPr/>
          </p:nvSpPr>
          <p:spPr bwMode="ltGray">
            <a:xfrm>
              <a:off x="8672195" y="1622425"/>
              <a:ext cx="71119" cy="71120"/>
            </a:xfrm>
            <a:custGeom>
              <a:avLst/>
              <a:gdLst>
                <a:gd name="connsiteX0" fmla="*/ 71120 w 71119"/>
                <a:gd name="connsiteY0" fmla="*/ 35560 h 71120"/>
                <a:gd name="connsiteX1" fmla="*/ 35560 w 71119"/>
                <a:gd name="connsiteY1" fmla="*/ 71120 h 71120"/>
                <a:gd name="connsiteX2" fmla="*/ 0 w 71119"/>
                <a:gd name="connsiteY2" fmla="*/ 35560 h 71120"/>
                <a:gd name="connsiteX3" fmla="*/ 35560 w 71119"/>
                <a:gd name="connsiteY3" fmla="*/ 0 h 71120"/>
                <a:gd name="connsiteX4" fmla="*/ 71120 w 71119"/>
                <a:gd name="connsiteY4" fmla="*/ 35560 h 7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119" h="71120">
                  <a:moveTo>
                    <a:pt x="71120" y="35560"/>
                  </a:moveTo>
                  <a:cubicBezTo>
                    <a:pt x="71120" y="55199"/>
                    <a:pt x="55199" y="71120"/>
                    <a:pt x="35560" y="71120"/>
                  </a:cubicBezTo>
                  <a:cubicBezTo>
                    <a:pt x="15921" y="71120"/>
                    <a:pt x="0" y="55199"/>
                    <a:pt x="0" y="35560"/>
                  </a:cubicBezTo>
                  <a:cubicBezTo>
                    <a:pt x="0" y="15921"/>
                    <a:pt x="15921" y="0"/>
                    <a:pt x="35560" y="0"/>
                  </a:cubicBezTo>
                  <a:cubicBezTo>
                    <a:pt x="55199" y="0"/>
                    <a:pt x="71120" y="15921"/>
                    <a:pt x="71120" y="3556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896D36B1-10CF-4534-8667-82FB49B857E5}"/>
                </a:ext>
              </a:extLst>
            </p:cNvPr>
            <p:cNvSpPr/>
            <p:nvPr/>
          </p:nvSpPr>
          <p:spPr bwMode="ltGray">
            <a:xfrm>
              <a:off x="8323580" y="1639570"/>
              <a:ext cx="36829" cy="36829"/>
            </a:xfrm>
            <a:custGeom>
              <a:avLst/>
              <a:gdLst>
                <a:gd name="connsiteX0" fmla="*/ 0 w 36829"/>
                <a:gd name="connsiteY0" fmla="*/ 18415 h 36829"/>
                <a:gd name="connsiteX1" fmla="*/ 18414 w 36829"/>
                <a:gd name="connsiteY1" fmla="*/ 36830 h 36829"/>
                <a:gd name="connsiteX2" fmla="*/ 36830 w 36829"/>
                <a:gd name="connsiteY2" fmla="*/ 18415 h 36829"/>
                <a:gd name="connsiteX3" fmla="*/ 18414 w 36829"/>
                <a:gd name="connsiteY3" fmla="*/ 0 h 36829"/>
                <a:gd name="connsiteX4" fmla="*/ 0 w 36829"/>
                <a:gd name="connsiteY4" fmla="*/ 18415 h 3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29" h="36829">
                  <a:moveTo>
                    <a:pt x="0" y="18415"/>
                  </a:moveTo>
                  <a:cubicBezTo>
                    <a:pt x="0" y="28575"/>
                    <a:pt x="8255" y="36830"/>
                    <a:pt x="18414" y="36830"/>
                  </a:cubicBezTo>
                  <a:cubicBezTo>
                    <a:pt x="28575" y="36830"/>
                    <a:pt x="36830" y="28575"/>
                    <a:pt x="36830" y="18415"/>
                  </a:cubicBezTo>
                  <a:cubicBezTo>
                    <a:pt x="36830" y="8255"/>
                    <a:pt x="28575" y="0"/>
                    <a:pt x="18414" y="0"/>
                  </a:cubicBezTo>
                  <a:cubicBezTo>
                    <a:pt x="7620" y="0"/>
                    <a:pt x="0" y="8255"/>
                    <a:pt x="0" y="1841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7895398C-1BAA-4843-8417-1D1B257C949F}"/>
                </a:ext>
              </a:extLst>
            </p:cNvPr>
            <p:cNvSpPr/>
            <p:nvPr/>
          </p:nvSpPr>
          <p:spPr bwMode="ltGray">
            <a:xfrm>
              <a:off x="11886565" y="1177289"/>
              <a:ext cx="228600" cy="228600"/>
            </a:xfrm>
            <a:custGeom>
              <a:avLst/>
              <a:gdLst>
                <a:gd name="connsiteX0" fmla="*/ 114300 w 228600"/>
                <a:gd name="connsiteY0" fmla="*/ 0 h 228600"/>
                <a:gd name="connsiteX1" fmla="*/ 0 w 228600"/>
                <a:gd name="connsiteY1" fmla="*/ 114300 h 228600"/>
                <a:gd name="connsiteX2" fmla="*/ 114300 w 228600"/>
                <a:gd name="connsiteY2" fmla="*/ 228600 h 228600"/>
                <a:gd name="connsiteX3" fmla="*/ 228600 w 228600"/>
                <a:gd name="connsiteY3" fmla="*/ 114300 h 228600"/>
                <a:gd name="connsiteX4" fmla="*/ 114300 w 228600"/>
                <a:gd name="connsiteY4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00" h="228600">
                  <a:moveTo>
                    <a:pt x="114300" y="0"/>
                  </a:moveTo>
                  <a:cubicBezTo>
                    <a:pt x="51435" y="0"/>
                    <a:pt x="0" y="51435"/>
                    <a:pt x="0" y="114300"/>
                  </a:cubicBezTo>
                  <a:cubicBezTo>
                    <a:pt x="0" y="177165"/>
                    <a:pt x="51435" y="228600"/>
                    <a:pt x="114300" y="228600"/>
                  </a:cubicBezTo>
                  <a:cubicBezTo>
                    <a:pt x="177165" y="228600"/>
                    <a:pt x="228600" y="177165"/>
                    <a:pt x="228600" y="114300"/>
                  </a:cubicBezTo>
                  <a:cubicBezTo>
                    <a:pt x="228600" y="51435"/>
                    <a:pt x="177165" y="0"/>
                    <a:pt x="11430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44A0D149-ADA7-4189-AC39-3EB0D697E97C}"/>
                </a:ext>
              </a:extLst>
            </p:cNvPr>
            <p:cNvSpPr/>
            <p:nvPr/>
          </p:nvSpPr>
          <p:spPr bwMode="ltGray">
            <a:xfrm>
              <a:off x="11503660" y="1160780"/>
              <a:ext cx="261619" cy="261619"/>
            </a:xfrm>
            <a:custGeom>
              <a:avLst/>
              <a:gdLst>
                <a:gd name="connsiteX0" fmla="*/ 261620 w 261619"/>
                <a:gd name="connsiteY0" fmla="*/ 130810 h 261619"/>
                <a:gd name="connsiteX1" fmla="*/ 130810 w 261619"/>
                <a:gd name="connsiteY1" fmla="*/ 261620 h 261619"/>
                <a:gd name="connsiteX2" fmla="*/ 1 w 261619"/>
                <a:gd name="connsiteY2" fmla="*/ 130810 h 261619"/>
                <a:gd name="connsiteX3" fmla="*/ 130810 w 261619"/>
                <a:gd name="connsiteY3" fmla="*/ 0 h 261619"/>
                <a:gd name="connsiteX4" fmla="*/ 261620 w 261619"/>
                <a:gd name="connsiteY4" fmla="*/ 130810 h 26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619" h="261619">
                  <a:moveTo>
                    <a:pt x="261620" y="130810"/>
                  </a:moveTo>
                  <a:cubicBezTo>
                    <a:pt x="261620" y="203054"/>
                    <a:pt x="203055" y="261620"/>
                    <a:pt x="130810" y="261620"/>
                  </a:cubicBezTo>
                  <a:cubicBezTo>
                    <a:pt x="58566" y="261620"/>
                    <a:pt x="1" y="203054"/>
                    <a:pt x="1" y="130810"/>
                  </a:cubicBezTo>
                  <a:cubicBezTo>
                    <a:pt x="1" y="58566"/>
                    <a:pt x="58566" y="0"/>
                    <a:pt x="130810" y="0"/>
                  </a:cubicBezTo>
                  <a:cubicBezTo>
                    <a:pt x="203055" y="0"/>
                    <a:pt x="261620" y="58566"/>
                    <a:pt x="261620" y="13081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93BC918-FD9B-4CF8-963F-1BABD52E9B0B}"/>
                </a:ext>
              </a:extLst>
            </p:cNvPr>
            <p:cNvSpPr/>
            <p:nvPr/>
          </p:nvSpPr>
          <p:spPr bwMode="ltGray">
            <a:xfrm>
              <a:off x="11129644" y="1152525"/>
              <a:ext cx="278135" cy="278130"/>
            </a:xfrm>
            <a:custGeom>
              <a:avLst/>
              <a:gdLst>
                <a:gd name="connsiteX0" fmla="*/ 139065 w 278135"/>
                <a:gd name="connsiteY0" fmla="*/ 0 h 278130"/>
                <a:gd name="connsiteX1" fmla="*/ 0 w 278135"/>
                <a:gd name="connsiteY1" fmla="*/ 139065 h 278130"/>
                <a:gd name="connsiteX2" fmla="*/ 139065 w 278135"/>
                <a:gd name="connsiteY2" fmla="*/ 278130 h 278130"/>
                <a:gd name="connsiteX3" fmla="*/ 278130 w 278135"/>
                <a:gd name="connsiteY3" fmla="*/ 139065 h 278130"/>
                <a:gd name="connsiteX4" fmla="*/ 139065 w 278135"/>
                <a:gd name="connsiteY4" fmla="*/ 0 h 278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135" h="278130">
                  <a:moveTo>
                    <a:pt x="139065" y="0"/>
                  </a:moveTo>
                  <a:cubicBezTo>
                    <a:pt x="62230" y="0"/>
                    <a:pt x="0" y="62230"/>
                    <a:pt x="0" y="139065"/>
                  </a:cubicBezTo>
                  <a:cubicBezTo>
                    <a:pt x="0" y="215900"/>
                    <a:pt x="62230" y="278130"/>
                    <a:pt x="139065" y="278130"/>
                  </a:cubicBezTo>
                  <a:cubicBezTo>
                    <a:pt x="215900" y="278130"/>
                    <a:pt x="278130" y="215900"/>
                    <a:pt x="278130" y="139065"/>
                  </a:cubicBezTo>
                  <a:cubicBezTo>
                    <a:pt x="278765" y="62230"/>
                    <a:pt x="215900" y="0"/>
                    <a:pt x="13906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A8D48332-A0B4-45D6-9D6A-DC12D998CB91}"/>
                </a:ext>
              </a:extLst>
            </p:cNvPr>
            <p:cNvSpPr/>
            <p:nvPr/>
          </p:nvSpPr>
          <p:spPr bwMode="ltGray">
            <a:xfrm>
              <a:off x="10760075" y="1148715"/>
              <a:ext cx="285750" cy="285750"/>
            </a:xfrm>
            <a:custGeom>
              <a:avLst/>
              <a:gdLst>
                <a:gd name="connsiteX0" fmla="*/ 285750 w 285750"/>
                <a:gd name="connsiteY0" fmla="*/ 142875 h 285750"/>
                <a:gd name="connsiteX1" fmla="*/ 142875 w 285750"/>
                <a:gd name="connsiteY1" fmla="*/ 285750 h 285750"/>
                <a:gd name="connsiteX2" fmla="*/ 0 w 285750"/>
                <a:gd name="connsiteY2" fmla="*/ 142875 h 285750"/>
                <a:gd name="connsiteX3" fmla="*/ 142875 w 285750"/>
                <a:gd name="connsiteY3" fmla="*/ 0 h 285750"/>
                <a:gd name="connsiteX4" fmla="*/ 285750 w 285750"/>
                <a:gd name="connsiteY4" fmla="*/ 142875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750" h="285750">
                  <a:moveTo>
                    <a:pt x="285750" y="142875"/>
                  </a:moveTo>
                  <a:cubicBezTo>
                    <a:pt x="285750" y="221783"/>
                    <a:pt x="221783" y="285750"/>
                    <a:pt x="142875" y="285750"/>
                  </a:cubicBezTo>
                  <a:cubicBezTo>
                    <a:pt x="63967" y="285750"/>
                    <a:pt x="0" y="221783"/>
                    <a:pt x="0" y="142875"/>
                  </a:cubicBezTo>
                  <a:cubicBezTo>
                    <a:pt x="0" y="63967"/>
                    <a:pt x="63967" y="0"/>
                    <a:pt x="142875" y="0"/>
                  </a:cubicBezTo>
                  <a:cubicBezTo>
                    <a:pt x="221783" y="0"/>
                    <a:pt x="285750" y="63967"/>
                    <a:pt x="285750" y="14287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470D92F2-11AE-4CE1-BCBE-7AD7C6576495}"/>
                </a:ext>
              </a:extLst>
            </p:cNvPr>
            <p:cNvSpPr/>
            <p:nvPr/>
          </p:nvSpPr>
          <p:spPr bwMode="ltGray">
            <a:xfrm>
              <a:off x="10395585" y="1149985"/>
              <a:ext cx="283209" cy="283210"/>
            </a:xfrm>
            <a:custGeom>
              <a:avLst/>
              <a:gdLst>
                <a:gd name="connsiteX0" fmla="*/ 283210 w 283209"/>
                <a:gd name="connsiteY0" fmla="*/ 141605 h 283210"/>
                <a:gd name="connsiteX1" fmla="*/ 141604 w 283209"/>
                <a:gd name="connsiteY1" fmla="*/ 283210 h 283210"/>
                <a:gd name="connsiteX2" fmla="*/ -1 w 283209"/>
                <a:gd name="connsiteY2" fmla="*/ 141605 h 283210"/>
                <a:gd name="connsiteX3" fmla="*/ 141604 w 283209"/>
                <a:gd name="connsiteY3" fmla="*/ 0 h 283210"/>
                <a:gd name="connsiteX4" fmla="*/ 283210 w 283209"/>
                <a:gd name="connsiteY4" fmla="*/ 141605 h 283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3209" h="283210">
                  <a:moveTo>
                    <a:pt x="283210" y="141605"/>
                  </a:moveTo>
                  <a:cubicBezTo>
                    <a:pt x="283210" y="219811"/>
                    <a:pt x="219811" y="283210"/>
                    <a:pt x="141604" y="283210"/>
                  </a:cubicBezTo>
                  <a:cubicBezTo>
                    <a:pt x="63398" y="283210"/>
                    <a:pt x="-1" y="219811"/>
                    <a:pt x="-1" y="141605"/>
                  </a:cubicBezTo>
                  <a:cubicBezTo>
                    <a:pt x="-1" y="63399"/>
                    <a:pt x="63398" y="0"/>
                    <a:pt x="141604" y="0"/>
                  </a:cubicBezTo>
                  <a:cubicBezTo>
                    <a:pt x="219810" y="0"/>
                    <a:pt x="283210" y="63399"/>
                    <a:pt x="283210" y="14160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1C949343-06F2-4E64-A314-F03F91D898A6}"/>
                </a:ext>
              </a:extLst>
            </p:cNvPr>
            <p:cNvSpPr/>
            <p:nvPr/>
          </p:nvSpPr>
          <p:spPr bwMode="ltGray">
            <a:xfrm>
              <a:off x="10033634" y="1155064"/>
              <a:ext cx="274320" cy="274320"/>
            </a:xfrm>
            <a:custGeom>
              <a:avLst/>
              <a:gdLst>
                <a:gd name="connsiteX0" fmla="*/ 137160 w 274320"/>
                <a:gd name="connsiteY0" fmla="*/ 0 h 274320"/>
                <a:gd name="connsiteX1" fmla="*/ 0 w 274320"/>
                <a:gd name="connsiteY1" fmla="*/ 137160 h 274320"/>
                <a:gd name="connsiteX2" fmla="*/ 137160 w 274320"/>
                <a:gd name="connsiteY2" fmla="*/ 274320 h 274320"/>
                <a:gd name="connsiteX3" fmla="*/ 274320 w 274320"/>
                <a:gd name="connsiteY3" fmla="*/ 137160 h 274320"/>
                <a:gd name="connsiteX4" fmla="*/ 137160 w 274320"/>
                <a:gd name="connsiteY4" fmla="*/ 0 h 27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4320" h="274320">
                  <a:moveTo>
                    <a:pt x="137160" y="0"/>
                  </a:moveTo>
                  <a:cubicBezTo>
                    <a:pt x="61595" y="0"/>
                    <a:pt x="0" y="60960"/>
                    <a:pt x="0" y="137160"/>
                  </a:cubicBezTo>
                  <a:cubicBezTo>
                    <a:pt x="0" y="213360"/>
                    <a:pt x="60960" y="274320"/>
                    <a:pt x="137160" y="274320"/>
                  </a:cubicBezTo>
                  <a:cubicBezTo>
                    <a:pt x="212725" y="274320"/>
                    <a:pt x="274320" y="213360"/>
                    <a:pt x="274320" y="137160"/>
                  </a:cubicBezTo>
                  <a:cubicBezTo>
                    <a:pt x="274320" y="60960"/>
                    <a:pt x="213360" y="0"/>
                    <a:pt x="13716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F80CCF0-BCC4-488B-A27A-05A46395DCD6}"/>
                </a:ext>
              </a:extLst>
            </p:cNvPr>
            <p:cNvSpPr/>
            <p:nvPr/>
          </p:nvSpPr>
          <p:spPr bwMode="ltGray">
            <a:xfrm>
              <a:off x="9681844" y="1168400"/>
              <a:ext cx="246380" cy="246380"/>
            </a:xfrm>
            <a:custGeom>
              <a:avLst/>
              <a:gdLst>
                <a:gd name="connsiteX0" fmla="*/ 246380 w 246380"/>
                <a:gd name="connsiteY0" fmla="*/ 123190 h 246380"/>
                <a:gd name="connsiteX1" fmla="*/ 123190 w 246380"/>
                <a:gd name="connsiteY1" fmla="*/ 246380 h 246380"/>
                <a:gd name="connsiteX2" fmla="*/ 0 w 246380"/>
                <a:gd name="connsiteY2" fmla="*/ 123190 h 246380"/>
                <a:gd name="connsiteX3" fmla="*/ 123190 w 246380"/>
                <a:gd name="connsiteY3" fmla="*/ 0 h 246380"/>
                <a:gd name="connsiteX4" fmla="*/ 246380 w 246380"/>
                <a:gd name="connsiteY4" fmla="*/ 123190 h 24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6380" h="246380">
                  <a:moveTo>
                    <a:pt x="246380" y="123190"/>
                  </a:moveTo>
                  <a:cubicBezTo>
                    <a:pt x="246380" y="191226"/>
                    <a:pt x="191226" y="246380"/>
                    <a:pt x="123190" y="246380"/>
                  </a:cubicBezTo>
                  <a:cubicBezTo>
                    <a:pt x="55154" y="246380"/>
                    <a:pt x="0" y="191226"/>
                    <a:pt x="0" y="123190"/>
                  </a:cubicBezTo>
                  <a:cubicBezTo>
                    <a:pt x="0" y="55154"/>
                    <a:pt x="55154" y="0"/>
                    <a:pt x="123190" y="0"/>
                  </a:cubicBezTo>
                  <a:cubicBezTo>
                    <a:pt x="191226" y="0"/>
                    <a:pt x="246380" y="55154"/>
                    <a:pt x="246380" y="12319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D3FAC197-5E86-4CD6-92F3-0FF191DD1388}"/>
                </a:ext>
              </a:extLst>
            </p:cNvPr>
            <p:cNvSpPr/>
            <p:nvPr/>
          </p:nvSpPr>
          <p:spPr bwMode="ltGray">
            <a:xfrm>
              <a:off x="9336405" y="1188719"/>
              <a:ext cx="205739" cy="205740"/>
            </a:xfrm>
            <a:custGeom>
              <a:avLst/>
              <a:gdLst>
                <a:gd name="connsiteX0" fmla="*/ 102870 w 205739"/>
                <a:gd name="connsiteY0" fmla="*/ 0 h 205740"/>
                <a:gd name="connsiteX1" fmla="*/ 0 w 205739"/>
                <a:gd name="connsiteY1" fmla="*/ 102870 h 205740"/>
                <a:gd name="connsiteX2" fmla="*/ 102870 w 205739"/>
                <a:gd name="connsiteY2" fmla="*/ 205740 h 205740"/>
                <a:gd name="connsiteX3" fmla="*/ 205739 w 205739"/>
                <a:gd name="connsiteY3" fmla="*/ 102870 h 205740"/>
                <a:gd name="connsiteX4" fmla="*/ 102870 w 205739"/>
                <a:gd name="connsiteY4" fmla="*/ 0 h 20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739" h="205740">
                  <a:moveTo>
                    <a:pt x="102870" y="0"/>
                  </a:moveTo>
                  <a:cubicBezTo>
                    <a:pt x="45720" y="0"/>
                    <a:pt x="0" y="46355"/>
                    <a:pt x="0" y="102870"/>
                  </a:cubicBezTo>
                  <a:cubicBezTo>
                    <a:pt x="0" y="160020"/>
                    <a:pt x="46355" y="205740"/>
                    <a:pt x="102870" y="205740"/>
                  </a:cubicBezTo>
                  <a:cubicBezTo>
                    <a:pt x="159385" y="205740"/>
                    <a:pt x="205739" y="159385"/>
                    <a:pt x="205739" y="102870"/>
                  </a:cubicBezTo>
                  <a:cubicBezTo>
                    <a:pt x="205739" y="46355"/>
                    <a:pt x="160020" y="0"/>
                    <a:pt x="10287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7E92F51C-CC22-4E1C-92B3-46D9F4DA1B25}"/>
                </a:ext>
              </a:extLst>
            </p:cNvPr>
            <p:cNvSpPr/>
            <p:nvPr/>
          </p:nvSpPr>
          <p:spPr bwMode="ltGray">
            <a:xfrm>
              <a:off x="8996044" y="1214755"/>
              <a:ext cx="154940" cy="154939"/>
            </a:xfrm>
            <a:custGeom>
              <a:avLst/>
              <a:gdLst>
                <a:gd name="connsiteX0" fmla="*/ 77470 w 154940"/>
                <a:gd name="connsiteY0" fmla="*/ 0 h 154939"/>
                <a:gd name="connsiteX1" fmla="*/ 0 w 154940"/>
                <a:gd name="connsiteY1" fmla="*/ 77470 h 154939"/>
                <a:gd name="connsiteX2" fmla="*/ 77470 w 154940"/>
                <a:gd name="connsiteY2" fmla="*/ 154940 h 154939"/>
                <a:gd name="connsiteX3" fmla="*/ 154940 w 154940"/>
                <a:gd name="connsiteY3" fmla="*/ 77470 h 154939"/>
                <a:gd name="connsiteX4" fmla="*/ 77470 w 154940"/>
                <a:gd name="connsiteY4" fmla="*/ 0 h 154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940" h="154939">
                  <a:moveTo>
                    <a:pt x="77470" y="0"/>
                  </a:moveTo>
                  <a:cubicBezTo>
                    <a:pt x="34925" y="0"/>
                    <a:pt x="0" y="34290"/>
                    <a:pt x="0" y="77470"/>
                  </a:cubicBezTo>
                  <a:cubicBezTo>
                    <a:pt x="0" y="120015"/>
                    <a:pt x="34290" y="154940"/>
                    <a:pt x="77470" y="154940"/>
                  </a:cubicBezTo>
                  <a:cubicBezTo>
                    <a:pt x="120015" y="154940"/>
                    <a:pt x="154940" y="120650"/>
                    <a:pt x="154940" y="77470"/>
                  </a:cubicBezTo>
                  <a:cubicBezTo>
                    <a:pt x="154305" y="34290"/>
                    <a:pt x="120015" y="0"/>
                    <a:pt x="7747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112EA1C2-CB2C-4B4D-8429-F50B5E3B7955}"/>
                </a:ext>
              </a:extLst>
            </p:cNvPr>
            <p:cNvSpPr/>
            <p:nvPr/>
          </p:nvSpPr>
          <p:spPr bwMode="ltGray">
            <a:xfrm>
              <a:off x="8658225" y="1242060"/>
              <a:ext cx="99059" cy="99059"/>
            </a:xfrm>
            <a:custGeom>
              <a:avLst/>
              <a:gdLst>
                <a:gd name="connsiteX0" fmla="*/ 49530 w 99059"/>
                <a:gd name="connsiteY0" fmla="*/ 0 h 99059"/>
                <a:gd name="connsiteX1" fmla="*/ 0 w 99059"/>
                <a:gd name="connsiteY1" fmla="*/ 49530 h 99059"/>
                <a:gd name="connsiteX2" fmla="*/ 49530 w 99059"/>
                <a:gd name="connsiteY2" fmla="*/ 99060 h 99059"/>
                <a:gd name="connsiteX3" fmla="*/ 99060 w 99059"/>
                <a:gd name="connsiteY3" fmla="*/ 49530 h 99059"/>
                <a:gd name="connsiteX4" fmla="*/ 49530 w 99059"/>
                <a:gd name="connsiteY4" fmla="*/ 0 h 99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059" h="99059">
                  <a:moveTo>
                    <a:pt x="49530" y="0"/>
                  </a:moveTo>
                  <a:cubicBezTo>
                    <a:pt x="22225" y="0"/>
                    <a:pt x="0" y="22225"/>
                    <a:pt x="0" y="49530"/>
                  </a:cubicBezTo>
                  <a:cubicBezTo>
                    <a:pt x="0" y="76835"/>
                    <a:pt x="22225" y="99060"/>
                    <a:pt x="49530" y="99060"/>
                  </a:cubicBezTo>
                  <a:cubicBezTo>
                    <a:pt x="76835" y="99060"/>
                    <a:pt x="99060" y="76835"/>
                    <a:pt x="99060" y="49530"/>
                  </a:cubicBezTo>
                  <a:cubicBezTo>
                    <a:pt x="99060" y="22225"/>
                    <a:pt x="76835" y="0"/>
                    <a:pt x="4953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1BB45966-7BFA-4E59-A410-2177F3834495}"/>
                </a:ext>
              </a:extLst>
            </p:cNvPr>
            <p:cNvSpPr/>
            <p:nvPr/>
          </p:nvSpPr>
          <p:spPr bwMode="ltGray">
            <a:xfrm>
              <a:off x="8314690" y="1264919"/>
              <a:ext cx="53340" cy="53340"/>
            </a:xfrm>
            <a:custGeom>
              <a:avLst/>
              <a:gdLst>
                <a:gd name="connsiteX0" fmla="*/ 53340 w 53340"/>
                <a:gd name="connsiteY0" fmla="*/ 26670 h 53340"/>
                <a:gd name="connsiteX1" fmla="*/ 26670 w 53340"/>
                <a:gd name="connsiteY1" fmla="*/ 0 h 53340"/>
                <a:gd name="connsiteX2" fmla="*/ 0 w 53340"/>
                <a:gd name="connsiteY2" fmla="*/ 26670 h 53340"/>
                <a:gd name="connsiteX3" fmla="*/ 26670 w 53340"/>
                <a:gd name="connsiteY3" fmla="*/ 53340 h 53340"/>
                <a:gd name="connsiteX4" fmla="*/ 53340 w 53340"/>
                <a:gd name="connsiteY4" fmla="*/ 26670 h 5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340" h="53340">
                  <a:moveTo>
                    <a:pt x="53340" y="26670"/>
                  </a:moveTo>
                  <a:cubicBezTo>
                    <a:pt x="53340" y="12065"/>
                    <a:pt x="41275" y="0"/>
                    <a:pt x="26670" y="0"/>
                  </a:cubicBezTo>
                  <a:cubicBezTo>
                    <a:pt x="12065" y="0"/>
                    <a:pt x="0" y="12065"/>
                    <a:pt x="0" y="26670"/>
                  </a:cubicBezTo>
                  <a:cubicBezTo>
                    <a:pt x="0" y="41275"/>
                    <a:pt x="12065" y="53340"/>
                    <a:pt x="26670" y="53340"/>
                  </a:cubicBezTo>
                  <a:cubicBezTo>
                    <a:pt x="41275" y="53340"/>
                    <a:pt x="53340" y="41275"/>
                    <a:pt x="53340" y="2667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62C2A16D-DA1F-490A-8036-A73AA2F0FB92}"/>
                </a:ext>
              </a:extLst>
            </p:cNvPr>
            <p:cNvSpPr/>
            <p:nvPr/>
          </p:nvSpPr>
          <p:spPr bwMode="ltGray">
            <a:xfrm>
              <a:off x="11870055" y="795655"/>
              <a:ext cx="261619" cy="261619"/>
            </a:xfrm>
            <a:custGeom>
              <a:avLst/>
              <a:gdLst>
                <a:gd name="connsiteX0" fmla="*/ 130810 w 261619"/>
                <a:gd name="connsiteY0" fmla="*/ 0 h 261619"/>
                <a:gd name="connsiteX1" fmla="*/ 0 w 261619"/>
                <a:gd name="connsiteY1" fmla="*/ 130810 h 261619"/>
                <a:gd name="connsiteX2" fmla="*/ 130810 w 261619"/>
                <a:gd name="connsiteY2" fmla="*/ 261620 h 261619"/>
                <a:gd name="connsiteX3" fmla="*/ 261620 w 261619"/>
                <a:gd name="connsiteY3" fmla="*/ 130810 h 261619"/>
                <a:gd name="connsiteX4" fmla="*/ 130810 w 261619"/>
                <a:gd name="connsiteY4" fmla="*/ 0 h 26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619" h="261619">
                  <a:moveTo>
                    <a:pt x="130810" y="0"/>
                  </a:moveTo>
                  <a:cubicBezTo>
                    <a:pt x="58420" y="0"/>
                    <a:pt x="0" y="58420"/>
                    <a:pt x="0" y="130810"/>
                  </a:cubicBezTo>
                  <a:cubicBezTo>
                    <a:pt x="0" y="203200"/>
                    <a:pt x="58420" y="261620"/>
                    <a:pt x="130810" y="261620"/>
                  </a:cubicBezTo>
                  <a:cubicBezTo>
                    <a:pt x="203200" y="261620"/>
                    <a:pt x="261620" y="203200"/>
                    <a:pt x="261620" y="130810"/>
                  </a:cubicBezTo>
                  <a:cubicBezTo>
                    <a:pt x="261620" y="58420"/>
                    <a:pt x="202564" y="0"/>
                    <a:pt x="13081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3FBDE91-65A8-4F6F-BC67-387E5A27AE26}"/>
                </a:ext>
              </a:extLst>
            </p:cNvPr>
            <p:cNvSpPr/>
            <p:nvPr/>
          </p:nvSpPr>
          <p:spPr bwMode="ltGray">
            <a:xfrm>
              <a:off x="11490325" y="781685"/>
              <a:ext cx="288290" cy="288289"/>
            </a:xfrm>
            <a:custGeom>
              <a:avLst/>
              <a:gdLst>
                <a:gd name="connsiteX0" fmla="*/ 288290 w 288290"/>
                <a:gd name="connsiteY0" fmla="*/ 144145 h 288289"/>
                <a:gd name="connsiteX1" fmla="*/ 144145 w 288290"/>
                <a:gd name="connsiteY1" fmla="*/ 288290 h 288289"/>
                <a:gd name="connsiteX2" fmla="*/ 1 w 288290"/>
                <a:gd name="connsiteY2" fmla="*/ 144145 h 288289"/>
                <a:gd name="connsiteX3" fmla="*/ 144145 w 288290"/>
                <a:gd name="connsiteY3" fmla="*/ 0 h 288289"/>
                <a:gd name="connsiteX4" fmla="*/ 288290 w 288290"/>
                <a:gd name="connsiteY4" fmla="*/ 144145 h 288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8290" h="288289">
                  <a:moveTo>
                    <a:pt x="288290" y="144145"/>
                  </a:moveTo>
                  <a:cubicBezTo>
                    <a:pt x="288290" y="223754"/>
                    <a:pt x="223755" y="288290"/>
                    <a:pt x="144145" y="288290"/>
                  </a:cubicBezTo>
                  <a:cubicBezTo>
                    <a:pt x="64536" y="288290"/>
                    <a:pt x="1" y="223754"/>
                    <a:pt x="1" y="144145"/>
                  </a:cubicBezTo>
                  <a:cubicBezTo>
                    <a:pt x="1" y="64536"/>
                    <a:pt x="64536" y="0"/>
                    <a:pt x="144145" y="0"/>
                  </a:cubicBezTo>
                  <a:cubicBezTo>
                    <a:pt x="223755" y="0"/>
                    <a:pt x="288290" y="64536"/>
                    <a:pt x="288290" y="14414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69BCA09C-73BB-4D4E-878D-51B639BF4124}"/>
                </a:ext>
              </a:extLst>
            </p:cNvPr>
            <p:cNvSpPr/>
            <p:nvPr/>
          </p:nvSpPr>
          <p:spPr bwMode="ltGray">
            <a:xfrm>
              <a:off x="11117580" y="774700"/>
              <a:ext cx="302259" cy="302260"/>
            </a:xfrm>
            <a:custGeom>
              <a:avLst/>
              <a:gdLst>
                <a:gd name="connsiteX0" fmla="*/ 302260 w 302259"/>
                <a:gd name="connsiteY0" fmla="*/ 151130 h 302260"/>
                <a:gd name="connsiteX1" fmla="*/ 151130 w 302259"/>
                <a:gd name="connsiteY1" fmla="*/ 302260 h 302260"/>
                <a:gd name="connsiteX2" fmla="*/ 0 w 302259"/>
                <a:gd name="connsiteY2" fmla="*/ 151130 h 302260"/>
                <a:gd name="connsiteX3" fmla="*/ 151130 w 302259"/>
                <a:gd name="connsiteY3" fmla="*/ 0 h 302260"/>
                <a:gd name="connsiteX4" fmla="*/ 302260 w 302259"/>
                <a:gd name="connsiteY4" fmla="*/ 151130 h 302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259" h="302260">
                  <a:moveTo>
                    <a:pt x="302260" y="151130"/>
                  </a:moveTo>
                  <a:cubicBezTo>
                    <a:pt x="302260" y="234597"/>
                    <a:pt x="234597" y="302260"/>
                    <a:pt x="151130" y="302260"/>
                  </a:cubicBezTo>
                  <a:cubicBezTo>
                    <a:pt x="67663" y="302260"/>
                    <a:pt x="0" y="234597"/>
                    <a:pt x="0" y="151130"/>
                  </a:cubicBezTo>
                  <a:cubicBezTo>
                    <a:pt x="0" y="67663"/>
                    <a:pt x="67663" y="0"/>
                    <a:pt x="151130" y="0"/>
                  </a:cubicBezTo>
                  <a:cubicBezTo>
                    <a:pt x="234597" y="0"/>
                    <a:pt x="302260" y="67663"/>
                    <a:pt x="302260" y="15113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EE4EB459-5F0A-421A-B3F8-6DB19B48E17D}"/>
                </a:ext>
              </a:extLst>
            </p:cNvPr>
            <p:cNvSpPr/>
            <p:nvPr/>
          </p:nvSpPr>
          <p:spPr bwMode="ltGray">
            <a:xfrm>
              <a:off x="10749280" y="772160"/>
              <a:ext cx="307340" cy="307339"/>
            </a:xfrm>
            <a:custGeom>
              <a:avLst/>
              <a:gdLst>
                <a:gd name="connsiteX0" fmla="*/ 307340 w 307340"/>
                <a:gd name="connsiteY0" fmla="*/ 153670 h 307339"/>
                <a:gd name="connsiteX1" fmla="*/ 153670 w 307340"/>
                <a:gd name="connsiteY1" fmla="*/ 307340 h 307339"/>
                <a:gd name="connsiteX2" fmla="*/ 0 w 307340"/>
                <a:gd name="connsiteY2" fmla="*/ 153670 h 307339"/>
                <a:gd name="connsiteX3" fmla="*/ 153670 w 307340"/>
                <a:gd name="connsiteY3" fmla="*/ 0 h 307339"/>
                <a:gd name="connsiteX4" fmla="*/ 307340 w 307340"/>
                <a:gd name="connsiteY4" fmla="*/ 153670 h 30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340" h="307339">
                  <a:moveTo>
                    <a:pt x="307340" y="153670"/>
                  </a:moveTo>
                  <a:cubicBezTo>
                    <a:pt x="307340" y="238540"/>
                    <a:pt x="238539" y="307340"/>
                    <a:pt x="153670" y="307340"/>
                  </a:cubicBezTo>
                  <a:cubicBezTo>
                    <a:pt x="68801" y="307340"/>
                    <a:pt x="0" y="238540"/>
                    <a:pt x="0" y="153670"/>
                  </a:cubicBezTo>
                  <a:cubicBezTo>
                    <a:pt x="0" y="68800"/>
                    <a:pt x="68801" y="0"/>
                    <a:pt x="153670" y="0"/>
                  </a:cubicBezTo>
                  <a:cubicBezTo>
                    <a:pt x="238539" y="0"/>
                    <a:pt x="307340" y="68800"/>
                    <a:pt x="307340" y="15367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545B0B0-193A-4213-8C7E-088E51B51F10}"/>
                </a:ext>
              </a:extLst>
            </p:cNvPr>
            <p:cNvSpPr/>
            <p:nvPr/>
          </p:nvSpPr>
          <p:spPr bwMode="ltGray">
            <a:xfrm>
              <a:off x="10384155" y="772795"/>
              <a:ext cx="306069" cy="306069"/>
            </a:xfrm>
            <a:custGeom>
              <a:avLst/>
              <a:gdLst>
                <a:gd name="connsiteX0" fmla="*/ 306070 w 306069"/>
                <a:gd name="connsiteY0" fmla="*/ 153035 h 306069"/>
                <a:gd name="connsiteX1" fmla="*/ 153035 w 306069"/>
                <a:gd name="connsiteY1" fmla="*/ 306070 h 306069"/>
                <a:gd name="connsiteX2" fmla="*/ 0 w 306069"/>
                <a:gd name="connsiteY2" fmla="*/ 153035 h 306069"/>
                <a:gd name="connsiteX3" fmla="*/ 153035 w 306069"/>
                <a:gd name="connsiteY3" fmla="*/ 0 h 306069"/>
                <a:gd name="connsiteX4" fmla="*/ 306070 w 306069"/>
                <a:gd name="connsiteY4" fmla="*/ 153035 h 306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6069" h="306069">
                  <a:moveTo>
                    <a:pt x="306070" y="153035"/>
                  </a:moveTo>
                  <a:cubicBezTo>
                    <a:pt x="306070" y="237554"/>
                    <a:pt x="237554" y="306070"/>
                    <a:pt x="153035" y="306070"/>
                  </a:cubicBezTo>
                  <a:cubicBezTo>
                    <a:pt x="68516" y="306070"/>
                    <a:pt x="0" y="237554"/>
                    <a:pt x="0" y="153035"/>
                  </a:cubicBezTo>
                  <a:cubicBezTo>
                    <a:pt x="0" y="68516"/>
                    <a:pt x="68516" y="0"/>
                    <a:pt x="153035" y="0"/>
                  </a:cubicBezTo>
                  <a:cubicBezTo>
                    <a:pt x="237554" y="0"/>
                    <a:pt x="306070" y="68516"/>
                    <a:pt x="306070" y="15303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3D0B4BEA-E29B-41DD-B27C-8AE0B9F1E754}"/>
                </a:ext>
              </a:extLst>
            </p:cNvPr>
            <p:cNvSpPr/>
            <p:nvPr/>
          </p:nvSpPr>
          <p:spPr bwMode="ltGray">
            <a:xfrm>
              <a:off x="10022205" y="777240"/>
              <a:ext cx="297179" cy="297179"/>
            </a:xfrm>
            <a:custGeom>
              <a:avLst/>
              <a:gdLst>
                <a:gd name="connsiteX0" fmla="*/ 148589 w 297179"/>
                <a:gd name="connsiteY0" fmla="*/ 0 h 297179"/>
                <a:gd name="connsiteX1" fmla="*/ 0 w 297179"/>
                <a:gd name="connsiteY1" fmla="*/ 148590 h 297179"/>
                <a:gd name="connsiteX2" fmla="*/ 148589 w 297179"/>
                <a:gd name="connsiteY2" fmla="*/ 297180 h 297179"/>
                <a:gd name="connsiteX3" fmla="*/ 297180 w 297179"/>
                <a:gd name="connsiteY3" fmla="*/ 148590 h 297179"/>
                <a:gd name="connsiteX4" fmla="*/ 148589 w 297179"/>
                <a:gd name="connsiteY4" fmla="*/ 0 h 29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179" h="297179">
                  <a:moveTo>
                    <a:pt x="148589" y="0"/>
                  </a:moveTo>
                  <a:cubicBezTo>
                    <a:pt x="66675" y="0"/>
                    <a:pt x="0" y="66675"/>
                    <a:pt x="0" y="148590"/>
                  </a:cubicBezTo>
                  <a:cubicBezTo>
                    <a:pt x="0" y="230505"/>
                    <a:pt x="66675" y="297180"/>
                    <a:pt x="148589" y="297180"/>
                  </a:cubicBezTo>
                  <a:cubicBezTo>
                    <a:pt x="230505" y="297180"/>
                    <a:pt x="297180" y="230505"/>
                    <a:pt x="297180" y="148590"/>
                  </a:cubicBezTo>
                  <a:cubicBezTo>
                    <a:pt x="297180" y="66675"/>
                    <a:pt x="231139" y="0"/>
                    <a:pt x="148589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08CBF93E-FC24-409A-AC1C-2694503256C2}"/>
                </a:ext>
              </a:extLst>
            </p:cNvPr>
            <p:cNvSpPr/>
            <p:nvPr/>
          </p:nvSpPr>
          <p:spPr bwMode="ltGray">
            <a:xfrm>
              <a:off x="9666605" y="787400"/>
              <a:ext cx="276859" cy="276860"/>
            </a:xfrm>
            <a:custGeom>
              <a:avLst/>
              <a:gdLst>
                <a:gd name="connsiteX0" fmla="*/ 276860 w 276859"/>
                <a:gd name="connsiteY0" fmla="*/ 138430 h 276860"/>
                <a:gd name="connsiteX1" fmla="*/ 138430 w 276859"/>
                <a:gd name="connsiteY1" fmla="*/ 276860 h 276860"/>
                <a:gd name="connsiteX2" fmla="*/ 0 w 276859"/>
                <a:gd name="connsiteY2" fmla="*/ 138430 h 276860"/>
                <a:gd name="connsiteX3" fmla="*/ 138430 w 276859"/>
                <a:gd name="connsiteY3" fmla="*/ 0 h 276860"/>
                <a:gd name="connsiteX4" fmla="*/ 276860 w 276859"/>
                <a:gd name="connsiteY4" fmla="*/ 138430 h 276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6859" h="276860">
                  <a:moveTo>
                    <a:pt x="276860" y="138430"/>
                  </a:moveTo>
                  <a:cubicBezTo>
                    <a:pt x="276860" y="214883"/>
                    <a:pt x="214883" y="276860"/>
                    <a:pt x="138430" y="276860"/>
                  </a:cubicBezTo>
                  <a:cubicBezTo>
                    <a:pt x="61977" y="276860"/>
                    <a:pt x="0" y="214883"/>
                    <a:pt x="0" y="138430"/>
                  </a:cubicBezTo>
                  <a:cubicBezTo>
                    <a:pt x="0" y="61977"/>
                    <a:pt x="61976" y="0"/>
                    <a:pt x="138430" y="0"/>
                  </a:cubicBezTo>
                  <a:cubicBezTo>
                    <a:pt x="214883" y="0"/>
                    <a:pt x="276860" y="61977"/>
                    <a:pt x="276860" y="13843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33F9AA1C-3963-489C-B0D9-C0F55240262C}"/>
                </a:ext>
              </a:extLst>
            </p:cNvPr>
            <p:cNvSpPr/>
            <p:nvPr/>
          </p:nvSpPr>
          <p:spPr bwMode="ltGray">
            <a:xfrm>
              <a:off x="9319259" y="805815"/>
              <a:ext cx="240030" cy="240029"/>
            </a:xfrm>
            <a:custGeom>
              <a:avLst/>
              <a:gdLst>
                <a:gd name="connsiteX0" fmla="*/ 120015 w 240030"/>
                <a:gd name="connsiteY0" fmla="*/ 0 h 240029"/>
                <a:gd name="connsiteX1" fmla="*/ 0 w 240030"/>
                <a:gd name="connsiteY1" fmla="*/ 120015 h 240029"/>
                <a:gd name="connsiteX2" fmla="*/ 120015 w 240030"/>
                <a:gd name="connsiteY2" fmla="*/ 240030 h 240029"/>
                <a:gd name="connsiteX3" fmla="*/ 240030 w 240030"/>
                <a:gd name="connsiteY3" fmla="*/ 120015 h 240029"/>
                <a:gd name="connsiteX4" fmla="*/ 120015 w 240030"/>
                <a:gd name="connsiteY4" fmla="*/ 0 h 240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030" h="240029">
                  <a:moveTo>
                    <a:pt x="120015" y="0"/>
                  </a:moveTo>
                  <a:cubicBezTo>
                    <a:pt x="53975" y="0"/>
                    <a:pt x="0" y="53975"/>
                    <a:pt x="0" y="120015"/>
                  </a:cubicBezTo>
                  <a:cubicBezTo>
                    <a:pt x="0" y="186055"/>
                    <a:pt x="53975" y="240030"/>
                    <a:pt x="120015" y="240030"/>
                  </a:cubicBezTo>
                  <a:cubicBezTo>
                    <a:pt x="186055" y="240030"/>
                    <a:pt x="240030" y="186055"/>
                    <a:pt x="240030" y="120015"/>
                  </a:cubicBezTo>
                  <a:cubicBezTo>
                    <a:pt x="240030" y="53975"/>
                    <a:pt x="186055" y="0"/>
                    <a:pt x="12001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D2AE240C-1E76-40A3-9EBE-13DD42A40B83}"/>
                </a:ext>
              </a:extLst>
            </p:cNvPr>
            <p:cNvSpPr/>
            <p:nvPr/>
          </p:nvSpPr>
          <p:spPr bwMode="ltGray">
            <a:xfrm>
              <a:off x="8980805" y="833120"/>
              <a:ext cx="185419" cy="185419"/>
            </a:xfrm>
            <a:custGeom>
              <a:avLst/>
              <a:gdLst>
                <a:gd name="connsiteX0" fmla="*/ 185420 w 185419"/>
                <a:gd name="connsiteY0" fmla="*/ 92710 h 185419"/>
                <a:gd name="connsiteX1" fmla="*/ 92710 w 185419"/>
                <a:gd name="connsiteY1" fmla="*/ 185420 h 185419"/>
                <a:gd name="connsiteX2" fmla="*/ 0 w 185419"/>
                <a:gd name="connsiteY2" fmla="*/ 92710 h 185419"/>
                <a:gd name="connsiteX3" fmla="*/ 92710 w 185419"/>
                <a:gd name="connsiteY3" fmla="*/ 0 h 185419"/>
                <a:gd name="connsiteX4" fmla="*/ 185420 w 185419"/>
                <a:gd name="connsiteY4" fmla="*/ 92710 h 185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419" h="185419">
                  <a:moveTo>
                    <a:pt x="185420" y="92710"/>
                  </a:moveTo>
                  <a:cubicBezTo>
                    <a:pt x="185420" y="143912"/>
                    <a:pt x="143912" y="185420"/>
                    <a:pt x="92710" y="185420"/>
                  </a:cubicBezTo>
                  <a:cubicBezTo>
                    <a:pt x="41508" y="185420"/>
                    <a:pt x="0" y="143912"/>
                    <a:pt x="0" y="92710"/>
                  </a:cubicBezTo>
                  <a:cubicBezTo>
                    <a:pt x="0" y="41508"/>
                    <a:pt x="41508" y="0"/>
                    <a:pt x="92710" y="0"/>
                  </a:cubicBezTo>
                  <a:cubicBezTo>
                    <a:pt x="143912" y="0"/>
                    <a:pt x="185420" y="41508"/>
                    <a:pt x="185420" y="9271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A893E278-AAE6-41CD-9995-9554183B2B92}"/>
                </a:ext>
              </a:extLst>
            </p:cNvPr>
            <p:cNvSpPr/>
            <p:nvPr/>
          </p:nvSpPr>
          <p:spPr bwMode="ltGray">
            <a:xfrm>
              <a:off x="8644890" y="862964"/>
              <a:ext cx="125729" cy="125730"/>
            </a:xfrm>
            <a:custGeom>
              <a:avLst/>
              <a:gdLst>
                <a:gd name="connsiteX0" fmla="*/ 62865 w 125729"/>
                <a:gd name="connsiteY0" fmla="*/ 0 h 125730"/>
                <a:gd name="connsiteX1" fmla="*/ 0 w 125729"/>
                <a:gd name="connsiteY1" fmla="*/ 62865 h 125730"/>
                <a:gd name="connsiteX2" fmla="*/ 62865 w 125729"/>
                <a:gd name="connsiteY2" fmla="*/ 125730 h 125730"/>
                <a:gd name="connsiteX3" fmla="*/ 125730 w 125729"/>
                <a:gd name="connsiteY3" fmla="*/ 62865 h 125730"/>
                <a:gd name="connsiteX4" fmla="*/ 62865 w 125729"/>
                <a:gd name="connsiteY4" fmla="*/ 0 h 125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729" h="125730">
                  <a:moveTo>
                    <a:pt x="62865" y="0"/>
                  </a:moveTo>
                  <a:cubicBezTo>
                    <a:pt x="27940" y="0"/>
                    <a:pt x="0" y="27940"/>
                    <a:pt x="0" y="62865"/>
                  </a:cubicBezTo>
                  <a:cubicBezTo>
                    <a:pt x="0" y="97790"/>
                    <a:pt x="27940" y="125730"/>
                    <a:pt x="62865" y="125730"/>
                  </a:cubicBezTo>
                  <a:cubicBezTo>
                    <a:pt x="97790" y="125730"/>
                    <a:pt x="125730" y="97790"/>
                    <a:pt x="125730" y="62865"/>
                  </a:cubicBezTo>
                  <a:cubicBezTo>
                    <a:pt x="125730" y="27940"/>
                    <a:pt x="97155" y="0"/>
                    <a:pt x="6286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CF505845-95A1-4781-B40A-BE4B3FDD4651}"/>
                </a:ext>
              </a:extLst>
            </p:cNvPr>
            <p:cNvSpPr/>
            <p:nvPr/>
          </p:nvSpPr>
          <p:spPr bwMode="ltGray">
            <a:xfrm>
              <a:off x="8307069" y="891540"/>
              <a:ext cx="68580" cy="68580"/>
            </a:xfrm>
            <a:custGeom>
              <a:avLst/>
              <a:gdLst>
                <a:gd name="connsiteX0" fmla="*/ 68580 w 68580"/>
                <a:gd name="connsiteY0" fmla="*/ 34290 h 68580"/>
                <a:gd name="connsiteX1" fmla="*/ 34290 w 68580"/>
                <a:gd name="connsiteY1" fmla="*/ 68580 h 68580"/>
                <a:gd name="connsiteX2" fmla="*/ 0 w 68580"/>
                <a:gd name="connsiteY2" fmla="*/ 34290 h 68580"/>
                <a:gd name="connsiteX3" fmla="*/ 34290 w 68580"/>
                <a:gd name="connsiteY3" fmla="*/ 0 h 68580"/>
                <a:gd name="connsiteX4" fmla="*/ 68580 w 68580"/>
                <a:gd name="connsiteY4" fmla="*/ 34290 h 6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80" h="68580">
                  <a:moveTo>
                    <a:pt x="68580" y="34290"/>
                  </a:moveTo>
                  <a:cubicBezTo>
                    <a:pt x="68580" y="53228"/>
                    <a:pt x="53228" y="68580"/>
                    <a:pt x="34290" y="68580"/>
                  </a:cubicBezTo>
                  <a:cubicBezTo>
                    <a:pt x="15352" y="68580"/>
                    <a:pt x="0" y="53228"/>
                    <a:pt x="0" y="34290"/>
                  </a:cubicBezTo>
                  <a:cubicBezTo>
                    <a:pt x="0" y="15352"/>
                    <a:pt x="15351" y="0"/>
                    <a:pt x="34290" y="0"/>
                  </a:cubicBezTo>
                  <a:cubicBezTo>
                    <a:pt x="53227" y="0"/>
                    <a:pt x="68580" y="15352"/>
                    <a:pt x="68580" y="3429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C7A14381-2BF2-43F2-8396-8BF1508ABCB6}"/>
                </a:ext>
              </a:extLst>
            </p:cNvPr>
            <p:cNvSpPr/>
            <p:nvPr/>
          </p:nvSpPr>
          <p:spPr bwMode="ltGray">
            <a:xfrm>
              <a:off x="7959090" y="909319"/>
              <a:ext cx="33019" cy="33019"/>
            </a:xfrm>
            <a:custGeom>
              <a:avLst/>
              <a:gdLst>
                <a:gd name="connsiteX0" fmla="*/ 16510 w 33019"/>
                <a:gd name="connsiteY0" fmla="*/ 0 h 33019"/>
                <a:gd name="connsiteX1" fmla="*/ 0 w 33019"/>
                <a:gd name="connsiteY1" fmla="*/ 16510 h 33019"/>
                <a:gd name="connsiteX2" fmla="*/ 16510 w 33019"/>
                <a:gd name="connsiteY2" fmla="*/ 33020 h 33019"/>
                <a:gd name="connsiteX3" fmla="*/ 33020 w 33019"/>
                <a:gd name="connsiteY3" fmla="*/ 16510 h 33019"/>
                <a:gd name="connsiteX4" fmla="*/ 16510 w 33019"/>
                <a:gd name="connsiteY4" fmla="*/ 0 h 33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019" h="33019">
                  <a:moveTo>
                    <a:pt x="16510" y="0"/>
                  </a:moveTo>
                  <a:cubicBezTo>
                    <a:pt x="7620" y="0"/>
                    <a:pt x="0" y="7620"/>
                    <a:pt x="0" y="16510"/>
                  </a:cubicBezTo>
                  <a:cubicBezTo>
                    <a:pt x="0" y="25400"/>
                    <a:pt x="7620" y="33020"/>
                    <a:pt x="16510" y="33020"/>
                  </a:cubicBezTo>
                  <a:cubicBezTo>
                    <a:pt x="25400" y="33020"/>
                    <a:pt x="33020" y="25400"/>
                    <a:pt x="33020" y="16510"/>
                  </a:cubicBezTo>
                  <a:cubicBezTo>
                    <a:pt x="33020" y="7620"/>
                    <a:pt x="25400" y="0"/>
                    <a:pt x="1651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92EDE-2364-4642-B211-E2262616C68F}"/>
                </a:ext>
              </a:extLst>
            </p:cNvPr>
            <p:cNvSpPr/>
            <p:nvPr/>
          </p:nvSpPr>
          <p:spPr bwMode="ltGray">
            <a:xfrm>
              <a:off x="11862435" y="421640"/>
              <a:ext cx="276859" cy="276859"/>
            </a:xfrm>
            <a:custGeom>
              <a:avLst/>
              <a:gdLst>
                <a:gd name="connsiteX0" fmla="*/ 276860 w 276859"/>
                <a:gd name="connsiteY0" fmla="*/ 138430 h 276859"/>
                <a:gd name="connsiteX1" fmla="*/ 138429 w 276859"/>
                <a:gd name="connsiteY1" fmla="*/ 276860 h 276859"/>
                <a:gd name="connsiteX2" fmla="*/ -1 w 276859"/>
                <a:gd name="connsiteY2" fmla="*/ 138430 h 276859"/>
                <a:gd name="connsiteX3" fmla="*/ 138429 w 276859"/>
                <a:gd name="connsiteY3" fmla="*/ 0 h 276859"/>
                <a:gd name="connsiteX4" fmla="*/ 276860 w 276859"/>
                <a:gd name="connsiteY4" fmla="*/ 138430 h 27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6859" h="276859">
                  <a:moveTo>
                    <a:pt x="276860" y="138430"/>
                  </a:moveTo>
                  <a:cubicBezTo>
                    <a:pt x="276860" y="214883"/>
                    <a:pt x="214883" y="276860"/>
                    <a:pt x="138429" y="276860"/>
                  </a:cubicBezTo>
                  <a:cubicBezTo>
                    <a:pt x="61977" y="276860"/>
                    <a:pt x="-1" y="214883"/>
                    <a:pt x="-1" y="138430"/>
                  </a:cubicBezTo>
                  <a:cubicBezTo>
                    <a:pt x="-1" y="61977"/>
                    <a:pt x="61976" y="0"/>
                    <a:pt x="138429" y="0"/>
                  </a:cubicBezTo>
                  <a:cubicBezTo>
                    <a:pt x="214882" y="0"/>
                    <a:pt x="276860" y="61977"/>
                    <a:pt x="276860" y="13843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41D1F96E-03DA-4587-BAD0-F4D4BE9193BE}"/>
                </a:ext>
              </a:extLst>
            </p:cNvPr>
            <p:cNvSpPr/>
            <p:nvPr/>
          </p:nvSpPr>
          <p:spPr bwMode="ltGray">
            <a:xfrm>
              <a:off x="11484610" y="410209"/>
              <a:ext cx="299719" cy="299720"/>
            </a:xfrm>
            <a:custGeom>
              <a:avLst/>
              <a:gdLst>
                <a:gd name="connsiteX0" fmla="*/ 299720 w 299719"/>
                <a:gd name="connsiteY0" fmla="*/ 149860 h 299720"/>
                <a:gd name="connsiteX1" fmla="*/ 149860 w 299719"/>
                <a:gd name="connsiteY1" fmla="*/ 299720 h 299720"/>
                <a:gd name="connsiteX2" fmla="*/ 1 w 299719"/>
                <a:gd name="connsiteY2" fmla="*/ 149860 h 299720"/>
                <a:gd name="connsiteX3" fmla="*/ 149860 w 299719"/>
                <a:gd name="connsiteY3" fmla="*/ 0 h 299720"/>
                <a:gd name="connsiteX4" fmla="*/ 299720 w 299719"/>
                <a:gd name="connsiteY4" fmla="*/ 149860 h 299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9719" h="299720">
                  <a:moveTo>
                    <a:pt x="299720" y="149860"/>
                  </a:moveTo>
                  <a:cubicBezTo>
                    <a:pt x="299720" y="232625"/>
                    <a:pt x="232626" y="299720"/>
                    <a:pt x="149860" y="299720"/>
                  </a:cubicBezTo>
                  <a:cubicBezTo>
                    <a:pt x="67095" y="299720"/>
                    <a:pt x="1" y="232625"/>
                    <a:pt x="1" y="149860"/>
                  </a:cubicBezTo>
                  <a:cubicBezTo>
                    <a:pt x="1" y="67095"/>
                    <a:pt x="67095" y="0"/>
                    <a:pt x="149860" y="0"/>
                  </a:cubicBezTo>
                  <a:cubicBezTo>
                    <a:pt x="232626" y="0"/>
                    <a:pt x="299720" y="67095"/>
                    <a:pt x="299720" y="14986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0554A4C3-8A71-4341-A425-0A5AC5AECB31}"/>
                </a:ext>
              </a:extLst>
            </p:cNvPr>
            <p:cNvSpPr/>
            <p:nvPr/>
          </p:nvSpPr>
          <p:spPr bwMode="ltGray">
            <a:xfrm>
              <a:off x="11112500" y="403860"/>
              <a:ext cx="312419" cy="312420"/>
            </a:xfrm>
            <a:custGeom>
              <a:avLst/>
              <a:gdLst>
                <a:gd name="connsiteX0" fmla="*/ 312420 w 312419"/>
                <a:gd name="connsiteY0" fmla="*/ 156210 h 312420"/>
                <a:gd name="connsiteX1" fmla="*/ 156210 w 312419"/>
                <a:gd name="connsiteY1" fmla="*/ 312420 h 312420"/>
                <a:gd name="connsiteX2" fmla="*/ 0 w 312419"/>
                <a:gd name="connsiteY2" fmla="*/ 156210 h 312420"/>
                <a:gd name="connsiteX3" fmla="*/ 156210 w 312419"/>
                <a:gd name="connsiteY3" fmla="*/ 0 h 312420"/>
                <a:gd name="connsiteX4" fmla="*/ 312420 w 312419"/>
                <a:gd name="connsiteY4" fmla="*/ 156210 h 31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2419" h="312420">
                  <a:moveTo>
                    <a:pt x="312420" y="156210"/>
                  </a:moveTo>
                  <a:cubicBezTo>
                    <a:pt x="312420" y="242482"/>
                    <a:pt x="242482" y="312420"/>
                    <a:pt x="156210" y="312420"/>
                  </a:cubicBezTo>
                  <a:cubicBezTo>
                    <a:pt x="69938" y="312420"/>
                    <a:pt x="0" y="242482"/>
                    <a:pt x="0" y="156210"/>
                  </a:cubicBezTo>
                  <a:cubicBezTo>
                    <a:pt x="0" y="69938"/>
                    <a:pt x="69938" y="0"/>
                    <a:pt x="156210" y="0"/>
                  </a:cubicBezTo>
                  <a:cubicBezTo>
                    <a:pt x="242482" y="0"/>
                    <a:pt x="312420" y="69938"/>
                    <a:pt x="312420" y="15621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C3930B-3332-42FA-9DC2-7C549D16FDC3}"/>
                </a:ext>
              </a:extLst>
            </p:cNvPr>
            <p:cNvSpPr/>
            <p:nvPr/>
          </p:nvSpPr>
          <p:spPr bwMode="ltGray">
            <a:xfrm>
              <a:off x="10745469" y="402590"/>
              <a:ext cx="314960" cy="314959"/>
            </a:xfrm>
            <a:custGeom>
              <a:avLst/>
              <a:gdLst>
                <a:gd name="connsiteX0" fmla="*/ 157480 w 314960"/>
                <a:gd name="connsiteY0" fmla="*/ 0 h 314959"/>
                <a:gd name="connsiteX1" fmla="*/ 0 w 314960"/>
                <a:gd name="connsiteY1" fmla="*/ 157480 h 314959"/>
                <a:gd name="connsiteX2" fmla="*/ 157480 w 314960"/>
                <a:gd name="connsiteY2" fmla="*/ 314960 h 314959"/>
                <a:gd name="connsiteX3" fmla="*/ 314961 w 314960"/>
                <a:gd name="connsiteY3" fmla="*/ 157480 h 314959"/>
                <a:gd name="connsiteX4" fmla="*/ 157480 w 314960"/>
                <a:gd name="connsiteY4" fmla="*/ 0 h 314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4960" h="314959">
                  <a:moveTo>
                    <a:pt x="157480" y="0"/>
                  </a:moveTo>
                  <a:cubicBezTo>
                    <a:pt x="70486" y="0"/>
                    <a:pt x="0" y="70485"/>
                    <a:pt x="0" y="157480"/>
                  </a:cubicBezTo>
                  <a:cubicBezTo>
                    <a:pt x="0" y="244475"/>
                    <a:pt x="70486" y="314960"/>
                    <a:pt x="157480" y="314960"/>
                  </a:cubicBezTo>
                  <a:cubicBezTo>
                    <a:pt x="244475" y="314960"/>
                    <a:pt x="314961" y="244475"/>
                    <a:pt x="314961" y="157480"/>
                  </a:cubicBezTo>
                  <a:cubicBezTo>
                    <a:pt x="314961" y="70485"/>
                    <a:pt x="244475" y="0"/>
                    <a:pt x="15748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8739CEA9-A554-4DD6-9128-B83000DEABDD}"/>
                </a:ext>
              </a:extLst>
            </p:cNvPr>
            <p:cNvSpPr/>
            <p:nvPr/>
          </p:nvSpPr>
          <p:spPr bwMode="ltGray">
            <a:xfrm>
              <a:off x="10380345" y="403225"/>
              <a:ext cx="313690" cy="313690"/>
            </a:xfrm>
            <a:custGeom>
              <a:avLst/>
              <a:gdLst>
                <a:gd name="connsiteX0" fmla="*/ 313690 w 313690"/>
                <a:gd name="connsiteY0" fmla="*/ 156845 h 313690"/>
                <a:gd name="connsiteX1" fmla="*/ 156845 w 313690"/>
                <a:gd name="connsiteY1" fmla="*/ 313690 h 313690"/>
                <a:gd name="connsiteX2" fmla="*/ 0 w 313690"/>
                <a:gd name="connsiteY2" fmla="*/ 156845 h 313690"/>
                <a:gd name="connsiteX3" fmla="*/ 156845 w 313690"/>
                <a:gd name="connsiteY3" fmla="*/ 0 h 313690"/>
                <a:gd name="connsiteX4" fmla="*/ 313690 w 313690"/>
                <a:gd name="connsiteY4" fmla="*/ 156845 h 313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3690" h="313690">
                  <a:moveTo>
                    <a:pt x="313690" y="156845"/>
                  </a:moveTo>
                  <a:cubicBezTo>
                    <a:pt x="313690" y="243468"/>
                    <a:pt x="243468" y="313690"/>
                    <a:pt x="156845" y="313690"/>
                  </a:cubicBezTo>
                  <a:cubicBezTo>
                    <a:pt x="70222" y="313690"/>
                    <a:pt x="0" y="243468"/>
                    <a:pt x="0" y="156845"/>
                  </a:cubicBezTo>
                  <a:cubicBezTo>
                    <a:pt x="0" y="70222"/>
                    <a:pt x="70223" y="0"/>
                    <a:pt x="156845" y="0"/>
                  </a:cubicBezTo>
                  <a:cubicBezTo>
                    <a:pt x="243469" y="0"/>
                    <a:pt x="313690" y="70222"/>
                    <a:pt x="313690" y="15684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204E8547-6D14-4F5E-BBDF-D8B22D1B9463}"/>
                </a:ext>
              </a:extLst>
            </p:cNvPr>
            <p:cNvSpPr/>
            <p:nvPr/>
          </p:nvSpPr>
          <p:spPr bwMode="ltGray">
            <a:xfrm>
              <a:off x="10016490" y="405765"/>
              <a:ext cx="308609" cy="308609"/>
            </a:xfrm>
            <a:custGeom>
              <a:avLst/>
              <a:gdLst>
                <a:gd name="connsiteX0" fmla="*/ 154305 w 308609"/>
                <a:gd name="connsiteY0" fmla="*/ 0 h 308609"/>
                <a:gd name="connsiteX1" fmla="*/ 0 w 308609"/>
                <a:gd name="connsiteY1" fmla="*/ 154305 h 308609"/>
                <a:gd name="connsiteX2" fmla="*/ 154305 w 308609"/>
                <a:gd name="connsiteY2" fmla="*/ 308610 h 308609"/>
                <a:gd name="connsiteX3" fmla="*/ 308610 w 308609"/>
                <a:gd name="connsiteY3" fmla="*/ 154305 h 308609"/>
                <a:gd name="connsiteX4" fmla="*/ 154305 w 308609"/>
                <a:gd name="connsiteY4" fmla="*/ 0 h 308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609" h="308609">
                  <a:moveTo>
                    <a:pt x="154305" y="0"/>
                  </a:moveTo>
                  <a:cubicBezTo>
                    <a:pt x="69215" y="0"/>
                    <a:pt x="0" y="69215"/>
                    <a:pt x="0" y="154305"/>
                  </a:cubicBezTo>
                  <a:cubicBezTo>
                    <a:pt x="0" y="239395"/>
                    <a:pt x="69215" y="308610"/>
                    <a:pt x="154305" y="308610"/>
                  </a:cubicBezTo>
                  <a:cubicBezTo>
                    <a:pt x="239395" y="308610"/>
                    <a:pt x="308610" y="239395"/>
                    <a:pt x="308610" y="154305"/>
                  </a:cubicBezTo>
                  <a:cubicBezTo>
                    <a:pt x="308610" y="69215"/>
                    <a:pt x="240030" y="0"/>
                    <a:pt x="15430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803D280B-4F16-4E53-A05F-79BB1FF46D74}"/>
                </a:ext>
              </a:extLst>
            </p:cNvPr>
            <p:cNvSpPr/>
            <p:nvPr/>
          </p:nvSpPr>
          <p:spPr bwMode="ltGray">
            <a:xfrm>
              <a:off x="9659619" y="414655"/>
              <a:ext cx="290830" cy="290829"/>
            </a:xfrm>
            <a:custGeom>
              <a:avLst/>
              <a:gdLst>
                <a:gd name="connsiteX0" fmla="*/ 290830 w 290830"/>
                <a:gd name="connsiteY0" fmla="*/ 145415 h 290829"/>
                <a:gd name="connsiteX1" fmla="*/ 145415 w 290830"/>
                <a:gd name="connsiteY1" fmla="*/ 290830 h 290829"/>
                <a:gd name="connsiteX2" fmla="*/ 0 w 290830"/>
                <a:gd name="connsiteY2" fmla="*/ 145415 h 290829"/>
                <a:gd name="connsiteX3" fmla="*/ 145415 w 290830"/>
                <a:gd name="connsiteY3" fmla="*/ 0 h 290829"/>
                <a:gd name="connsiteX4" fmla="*/ 290830 w 290830"/>
                <a:gd name="connsiteY4" fmla="*/ 145415 h 29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0830" h="290829">
                  <a:moveTo>
                    <a:pt x="290830" y="145415"/>
                  </a:moveTo>
                  <a:cubicBezTo>
                    <a:pt x="290830" y="225725"/>
                    <a:pt x="225725" y="290830"/>
                    <a:pt x="145415" y="290830"/>
                  </a:cubicBezTo>
                  <a:cubicBezTo>
                    <a:pt x="65104" y="290830"/>
                    <a:pt x="0" y="225725"/>
                    <a:pt x="0" y="145415"/>
                  </a:cubicBezTo>
                  <a:cubicBezTo>
                    <a:pt x="0" y="65104"/>
                    <a:pt x="65104" y="0"/>
                    <a:pt x="145415" y="0"/>
                  </a:cubicBezTo>
                  <a:cubicBezTo>
                    <a:pt x="225725" y="0"/>
                    <a:pt x="290830" y="65104"/>
                    <a:pt x="290830" y="14541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0422EB92-564A-4A09-81D2-08FFC7A163DD}"/>
                </a:ext>
              </a:extLst>
            </p:cNvPr>
            <p:cNvSpPr/>
            <p:nvPr/>
          </p:nvSpPr>
          <p:spPr bwMode="ltGray">
            <a:xfrm>
              <a:off x="9310369" y="431165"/>
              <a:ext cx="257810" cy="257809"/>
            </a:xfrm>
            <a:custGeom>
              <a:avLst/>
              <a:gdLst>
                <a:gd name="connsiteX0" fmla="*/ 128905 w 257810"/>
                <a:gd name="connsiteY0" fmla="*/ 0 h 257809"/>
                <a:gd name="connsiteX1" fmla="*/ 0 w 257810"/>
                <a:gd name="connsiteY1" fmla="*/ 128905 h 257809"/>
                <a:gd name="connsiteX2" fmla="*/ 128905 w 257810"/>
                <a:gd name="connsiteY2" fmla="*/ 257810 h 257809"/>
                <a:gd name="connsiteX3" fmla="*/ 257811 w 257810"/>
                <a:gd name="connsiteY3" fmla="*/ 128905 h 257809"/>
                <a:gd name="connsiteX4" fmla="*/ 128905 w 257810"/>
                <a:gd name="connsiteY4" fmla="*/ 0 h 257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810" h="257809">
                  <a:moveTo>
                    <a:pt x="128905" y="0"/>
                  </a:moveTo>
                  <a:cubicBezTo>
                    <a:pt x="57786" y="0"/>
                    <a:pt x="0" y="57785"/>
                    <a:pt x="0" y="128905"/>
                  </a:cubicBezTo>
                  <a:cubicBezTo>
                    <a:pt x="0" y="200025"/>
                    <a:pt x="57786" y="257810"/>
                    <a:pt x="128905" y="257810"/>
                  </a:cubicBezTo>
                  <a:cubicBezTo>
                    <a:pt x="200025" y="257810"/>
                    <a:pt x="257811" y="200025"/>
                    <a:pt x="257811" y="128905"/>
                  </a:cubicBezTo>
                  <a:cubicBezTo>
                    <a:pt x="257811" y="57785"/>
                    <a:pt x="200025" y="0"/>
                    <a:pt x="12890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C2A482E7-1D9D-4EB2-AA47-5CB902EDB498}"/>
                </a:ext>
              </a:extLst>
            </p:cNvPr>
            <p:cNvSpPr/>
            <p:nvPr/>
          </p:nvSpPr>
          <p:spPr bwMode="ltGray">
            <a:xfrm>
              <a:off x="8970645" y="457200"/>
              <a:ext cx="205740" cy="205740"/>
            </a:xfrm>
            <a:custGeom>
              <a:avLst/>
              <a:gdLst>
                <a:gd name="connsiteX0" fmla="*/ 205740 w 205740"/>
                <a:gd name="connsiteY0" fmla="*/ 102870 h 205740"/>
                <a:gd name="connsiteX1" fmla="*/ 102870 w 205740"/>
                <a:gd name="connsiteY1" fmla="*/ 205740 h 205740"/>
                <a:gd name="connsiteX2" fmla="*/ 0 w 205740"/>
                <a:gd name="connsiteY2" fmla="*/ 102870 h 205740"/>
                <a:gd name="connsiteX3" fmla="*/ 102870 w 205740"/>
                <a:gd name="connsiteY3" fmla="*/ 0 h 205740"/>
                <a:gd name="connsiteX4" fmla="*/ 205740 w 205740"/>
                <a:gd name="connsiteY4" fmla="*/ 102870 h 20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740" h="205740">
                  <a:moveTo>
                    <a:pt x="205740" y="102870"/>
                  </a:moveTo>
                  <a:cubicBezTo>
                    <a:pt x="205740" y="159684"/>
                    <a:pt x="159684" y="205740"/>
                    <a:pt x="102870" y="205740"/>
                  </a:cubicBezTo>
                  <a:cubicBezTo>
                    <a:pt x="46057" y="205740"/>
                    <a:pt x="0" y="159683"/>
                    <a:pt x="0" y="102870"/>
                  </a:cubicBezTo>
                  <a:cubicBezTo>
                    <a:pt x="0" y="46056"/>
                    <a:pt x="46057" y="0"/>
                    <a:pt x="102870" y="0"/>
                  </a:cubicBezTo>
                  <a:cubicBezTo>
                    <a:pt x="159684" y="0"/>
                    <a:pt x="205740" y="46056"/>
                    <a:pt x="205740" y="10287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9B7C419D-476C-4DE3-AFC0-56960417DB96}"/>
                </a:ext>
              </a:extLst>
            </p:cNvPr>
            <p:cNvSpPr/>
            <p:nvPr/>
          </p:nvSpPr>
          <p:spPr bwMode="ltGray">
            <a:xfrm>
              <a:off x="8636634" y="488950"/>
              <a:ext cx="142240" cy="142240"/>
            </a:xfrm>
            <a:custGeom>
              <a:avLst/>
              <a:gdLst>
                <a:gd name="connsiteX0" fmla="*/ 71120 w 142240"/>
                <a:gd name="connsiteY0" fmla="*/ 0 h 142240"/>
                <a:gd name="connsiteX1" fmla="*/ 0 w 142240"/>
                <a:gd name="connsiteY1" fmla="*/ 71120 h 142240"/>
                <a:gd name="connsiteX2" fmla="*/ 71120 w 142240"/>
                <a:gd name="connsiteY2" fmla="*/ 142240 h 142240"/>
                <a:gd name="connsiteX3" fmla="*/ 142240 w 142240"/>
                <a:gd name="connsiteY3" fmla="*/ 71120 h 142240"/>
                <a:gd name="connsiteX4" fmla="*/ 71120 w 142240"/>
                <a:gd name="connsiteY4" fmla="*/ 0 h 142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240" h="142240">
                  <a:moveTo>
                    <a:pt x="71120" y="0"/>
                  </a:moveTo>
                  <a:cubicBezTo>
                    <a:pt x="31750" y="0"/>
                    <a:pt x="0" y="31750"/>
                    <a:pt x="0" y="71120"/>
                  </a:cubicBezTo>
                  <a:cubicBezTo>
                    <a:pt x="0" y="110490"/>
                    <a:pt x="31750" y="142240"/>
                    <a:pt x="71120" y="142240"/>
                  </a:cubicBezTo>
                  <a:cubicBezTo>
                    <a:pt x="110490" y="142240"/>
                    <a:pt x="142240" y="110490"/>
                    <a:pt x="142240" y="71120"/>
                  </a:cubicBezTo>
                  <a:cubicBezTo>
                    <a:pt x="141605" y="31750"/>
                    <a:pt x="109855" y="0"/>
                    <a:pt x="7112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43903524-BA24-40EC-B20B-6764972EA80C}"/>
                </a:ext>
              </a:extLst>
            </p:cNvPr>
            <p:cNvSpPr/>
            <p:nvPr/>
          </p:nvSpPr>
          <p:spPr bwMode="ltGray">
            <a:xfrm>
              <a:off x="8300719" y="519430"/>
              <a:ext cx="81280" cy="81280"/>
            </a:xfrm>
            <a:custGeom>
              <a:avLst/>
              <a:gdLst>
                <a:gd name="connsiteX0" fmla="*/ 81280 w 81280"/>
                <a:gd name="connsiteY0" fmla="*/ 40640 h 81280"/>
                <a:gd name="connsiteX1" fmla="*/ 40640 w 81280"/>
                <a:gd name="connsiteY1" fmla="*/ 81280 h 81280"/>
                <a:gd name="connsiteX2" fmla="*/ 0 w 81280"/>
                <a:gd name="connsiteY2" fmla="*/ 40640 h 81280"/>
                <a:gd name="connsiteX3" fmla="*/ 40640 w 81280"/>
                <a:gd name="connsiteY3" fmla="*/ 0 h 81280"/>
                <a:gd name="connsiteX4" fmla="*/ 81280 w 81280"/>
                <a:gd name="connsiteY4" fmla="*/ 4064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280" h="81280">
                  <a:moveTo>
                    <a:pt x="81280" y="40640"/>
                  </a:moveTo>
                  <a:cubicBezTo>
                    <a:pt x="81280" y="63085"/>
                    <a:pt x="63085" y="81280"/>
                    <a:pt x="40640" y="81280"/>
                  </a:cubicBezTo>
                  <a:cubicBezTo>
                    <a:pt x="18195" y="81280"/>
                    <a:pt x="0" y="63085"/>
                    <a:pt x="0" y="40640"/>
                  </a:cubicBezTo>
                  <a:cubicBezTo>
                    <a:pt x="0" y="18195"/>
                    <a:pt x="18195" y="0"/>
                    <a:pt x="40640" y="0"/>
                  </a:cubicBezTo>
                  <a:cubicBezTo>
                    <a:pt x="63085" y="0"/>
                    <a:pt x="81280" y="18195"/>
                    <a:pt x="81280" y="4064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2D0079DA-2033-44A8-AEED-06C7109FD74D}"/>
                </a:ext>
              </a:extLst>
            </p:cNvPr>
            <p:cNvSpPr/>
            <p:nvPr/>
          </p:nvSpPr>
          <p:spPr bwMode="ltGray">
            <a:xfrm>
              <a:off x="7956550" y="541019"/>
              <a:ext cx="38100" cy="38100"/>
            </a:xfrm>
            <a:custGeom>
              <a:avLst/>
              <a:gdLst>
                <a:gd name="connsiteX0" fmla="*/ 19050 w 38100"/>
                <a:gd name="connsiteY0" fmla="*/ 0 h 38100"/>
                <a:gd name="connsiteX1" fmla="*/ 0 w 38100"/>
                <a:gd name="connsiteY1" fmla="*/ 19050 h 38100"/>
                <a:gd name="connsiteX2" fmla="*/ 19050 w 38100"/>
                <a:gd name="connsiteY2" fmla="*/ 38100 h 38100"/>
                <a:gd name="connsiteX3" fmla="*/ 38100 w 38100"/>
                <a:gd name="connsiteY3" fmla="*/ 19050 h 38100"/>
                <a:gd name="connsiteX4" fmla="*/ 19050 w 38100"/>
                <a:gd name="connsiteY4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19050" y="0"/>
                  </a:moveTo>
                  <a:cubicBezTo>
                    <a:pt x="8890" y="0"/>
                    <a:pt x="0" y="8255"/>
                    <a:pt x="0" y="19050"/>
                  </a:cubicBezTo>
                  <a:cubicBezTo>
                    <a:pt x="0" y="29845"/>
                    <a:pt x="8255" y="38100"/>
                    <a:pt x="19050" y="38100"/>
                  </a:cubicBezTo>
                  <a:cubicBezTo>
                    <a:pt x="29845" y="38100"/>
                    <a:pt x="38100" y="29845"/>
                    <a:pt x="38100" y="19050"/>
                  </a:cubicBezTo>
                  <a:cubicBezTo>
                    <a:pt x="38100" y="8255"/>
                    <a:pt x="29210" y="0"/>
                    <a:pt x="1905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E753851-D0A4-47BB-9CCA-BC3E2BE4DC7C}"/>
                </a:ext>
              </a:extLst>
            </p:cNvPr>
            <p:cNvSpPr/>
            <p:nvPr/>
          </p:nvSpPr>
          <p:spPr bwMode="ltGray">
            <a:xfrm>
              <a:off x="11859260" y="52705"/>
              <a:ext cx="283209" cy="283210"/>
            </a:xfrm>
            <a:custGeom>
              <a:avLst/>
              <a:gdLst>
                <a:gd name="connsiteX0" fmla="*/ 283210 w 283209"/>
                <a:gd name="connsiteY0" fmla="*/ 141605 h 283210"/>
                <a:gd name="connsiteX1" fmla="*/ 141604 w 283209"/>
                <a:gd name="connsiteY1" fmla="*/ 283210 h 283210"/>
                <a:gd name="connsiteX2" fmla="*/ -1 w 283209"/>
                <a:gd name="connsiteY2" fmla="*/ 141605 h 283210"/>
                <a:gd name="connsiteX3" fmla="*/ 141604 w 283209"/>
                <a:gd name="connsiteY3" fmla="*/ 0 h 283210"/>
                <a:gd name="connsiteX4" fmla="*/ 283210 w 283209"/>
                <a:gd name="connsiteY4" fmla="*/ 141605 h 283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3209" h="283210">
                  <a:moveTo>
                    <a:pt x="283210" y="141605"/>
                  </a:moveTo>
                  <a:cubicBezTo>
                    <a:pt x="283210" y="219811"/>
                    <a:pt x="219811" y="283210"/>
                    <a:pt x="141604" y="283210"/>
                  </a:cubicBezTo>
                  <a:cubicBezTo>
                    <a:pt x="63398" y="283210"/>
                    <a:pt x="-1" y="219811"/>
                    <a:pt x="-1" y="141605"/>
                  </a:cubicBezTo>
                  <a:cubicBezTo>
                    <a:pt x="-1" y="63399"/>
                    <a:pt x="63398" y="0"/>
                    <a:pt x="141604" y="0"/>
                  </a:cubicBezTo>
                  <a:cubicBezTo>
                    <a:pt x="219810" y="0"/>
                    <a:pt x="283210" y="63399"/>
                    <a:pt x="283210" y="14160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54704A6-8FBF-4DC1-BD2A-9B75223D8CC3}"/>
                </a:ext>
              </a:extLst>
            </p:cNvPr>
            <p:cNvSpPr/>
            <p:nvPr/>
          </p:nvSpPr>
          <p:spPr bwMode="ltGray">
            <a:xfrm>
              <a:off x="11482070" y="41910"/>
              <a:ext cx="304800" cy="304800"/>
            </a:xfrm>
            <a:custGeom>
              <a:avLst/>
              <a:gdLst>
                <a:gd name="connsiteX0" fmla="*/ 304800 w 304800"/>
                <a:gd name="connsiteY0" fmla="*/ 152400 h 304800"/>
                <a:gd name="connsiteX1" fmla="*/ 152400 w 304800"/>
                <a:gd name="connsiteY1" fmla="*/ 304800 h 304800"/>
                <a:gd name="connsiteX2" fmla="*/ 0 w 304800"/>
                <a:gd name="connsiteY2" fmla="*/ 152400 h 304800"/>
                <a:gd name="connsiteX3" fmla="*/ 152400 w 304800"/>
                <a:gd name="connsiteY3" fmla="*/ 0 h 304800"/>
                <a:gd name="connsiteX4" fmla="*/ 304800 w 304800"/>
                <a:gd name="connsiteY4" fmla="*/ 15240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800" h="304800">
                  <a:moveTo>
                    <a:pt x="304800" y="152400"/>
                  </a:moveTo>
                  <a:cubicBezTo>
                    <a:pt x="304800" y="236568"/>
                    <a:pt x="236568" y="304800"/>
                    <a:pt x="152400" y="304800"/>
                  </a:cubicBezTo>
                  <a:cubicBezTo>
                    <a:pt x="68231" y="304800"/>
                    <a:pt x="0" y="236568"/>
                    <a:pt x="0" y="152400"/>
                  </a:cubicBezTo>
                  <a:cubicBezTo>
                    <a:pt x="0" y="68232"/>
                    <a:pt x="68231" y="0"/>
                    <a:pt x="152400" y="0"/>
                  </a:cubicBezTo>
                  <a:cubicBezTo>
                    <a:pt x="236568" y="0"/>
                    <a:pt x="304800" y="68232"/>
                    <a:pt x="304800" y="15240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40ADD7E4-0BD7-4EB3-8EA4-A2F5AF7AC444}"/>
                </a:ext>
              </a:extLst>
            </p:cNvPr>
            <p:cNvSpPr/>
            <p:nvPr/>
          </p:nvSpPr>
          <p:spPr bwMode="ltGray">
            <a:xfrm>
              <a:off x="11111230" y="36830"/>
              <a:ext cx="314959" cy="314960"/>
            </a:xfrm>
            <a:custGeom>
              <a:avLst/>
              <a:gdLst>
                <a:gd name="connsiteX0" fmla="*/ 314960 w 314959"/>
                <a:gd name="connsiteY0" fmla="*/ 157480 h 314960"/>
                <a:gd name="connsiteX1" fmla="*/ 157480 w 314959"/>
                <a:gd name="connsiteY1" fmla="*/ 314960 h 314960"/>
                <a:gd name="connsiteX2" fmla="*/ 0 w 314959"/>
                <a:gd name="connsiteY2" fmla="*/ 157480 h 314960"/>
                <a:gd name="connsiteX3" fmla="*/ 157480 w 314959"/>
                <a:gd name="connsiteY3" fmla="*/ 0 h 314960"/>
                <a:gd name="connsiteX4" fmla="*/ 314960 w 314959"/>
                <a:gd name="connsiteY4" fmla="*/ 157480 h 314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4959" h="314960">
                  <a:moveTo>
                    <a:pt x="314960" y="157480"/>
                  </a:moveTo>
                  <a:cubicBezTo>
                    <a:pt x="314960" y="244454"/>
                    <a:pt x="244454" y="314960"/>
                    <a:pt x="157480" y="314960"/>
                  </a:cubicBezTo>
                  <a:cubicBezTo>
                    <a:pt x="70506" y="314960"/>
                    <a:pt x="0" y="244454"/>
                    <a:pt x="0" y="157480"/>
                  </a:cubicBezTo>
                  <a:cubicBezTo>
                    <a:pt x="0" y="70506"/>
                    <a:pt x="70506" y="0"/>
                    <a:pt x="157480" y="0"/>
                  </a:cubicBezTo>
                  <a:cubicBezTo>
                    <a:pt x="244454" y="0"/>
                    <a:pt x="314960" y="70506"/>
                    <a:pt x="314960" y="15748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8D7C9A9F-B8BF-4343-B5CC-2365D722967B}"/>
                </a:ext>
              </a:extLst>
            </p:cNvPr>
            <p:cNvSpPr/>
            <p:nvPr/>
          </p:nvSpPr>
          <p:spPr bwMode="ltGray">
            <a:xfrm>
              <a:off x="10744200" y="35560"/>
              <a:ext cx="317500" cy="317500"/>
            </a:xfrm>
            <a:custGeom>
              <a:avLst/>
              <a:gdLst>
                <a:gd name="connsiteX0" fmla="*/ 317500 w 317500"/>
                <a:gd name="connsiteY0" fmla="*/ 158750 h 317500"/>
                <a:gd name="connsiteX1" fmla="*/ 158750 w 317500"/>
                <a:gd name="connsiteY1" fmla="*/ 317500 h 317500"/>
                <a:gd name="connsiteX2" fmla="*/ 0 w 317500"/>
                <a:gd name="connsiteY2" fmla="*/ 158750 h 317500"/>
                <a:gd name="connsiteX3" fmla="*/ 158750 w 317500"/>
                <a:gd name="connsiteY3" fmla="*/ 0 h 317500"/>
                <a:gd name="connsiteX4" fmla="*/ 317500 w 317500"/>
                <a:gd name="connsiteY4" fmla="*/ 15875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7500" h="317500">
                  <a:moveTo>
                    <a:pt x="317500" y="158750"/>
                  </a:moveTo>
                  <a:cubicBezTo>
                    <a:pt x="317500" y="246425"/>
                    <a:pt x="246425" y="317500"/>
                    <a:pt x="158750" y="317500"/>
                  </a:cubicBezTo>
                  <a:cubicBezTo>
                    <a:pt x="71075" y="317500"/>
                    <a:pt x="0" y="246425"/>
                    <a:pt x="0" y="158750"/>
                  </a:cubicBezTo>
                  <a:cubicBezTo>
                    <a:pt x="0" y="71075"/>
                    <a:pt x="71075" y="0"/>
                    <a:pt x="158750" y="0"/>
                  </a:cubicBezTo>
                  <a:cubicBezTo>
                    <a:pt x="246425" y="0"/>
                    <a:pt x="317500" y="71075"/>
                    <a:pt x="317500" y="15875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2165C063-DF05-4FE3-BBAC-2EFAEDA9F947}"/>
                </a:ext>
              </a:extLst>
            </p:cNvPr>
            <p:cNvSpPr/>
            <p:nvPr/>
          </p:nvSpPr>
          <p:spPr bwMode="ltGray">
            <a:xfrm>
              <a:off x="10379075" y="36195"/>
              <a:ext cx="316230" cy="316230"/>
            </a:xfrm>
            <a:custGeom>
              <a:avLst/>
              <a:gdLst>
                <a:gd name="connsiteX0" fmla="*/ 316230 w 316230"/>
                <a:gd name="connsiteY0" fmla="*/ 158115 h 316230"/>
                <a:gd name="connsiteX1" fmla="*/ 158115 w 316230"/>
                <a:gd name="connsiteY1" fmla="*/ 316230 h 316230"/>
                <a:gd name="connsiteX2" fmla="*/ 0 w 316230"/>
                <a:gd name="connsiteY2" fmla="*/ 158115 h 316230"/>
                <a:gd name="connsiteX3" fmla="*/ 158115 w 316230"/>
                <a:gd name="connsiteY3" fmla="*/ 0 h 316230"/>
                <a:gd name="connsiteX4" fmla="*/ 316230 w 316230"/>
                <a:gd name="connsiteY4" fmla="*/ 158115 h 316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6230" h="316230">
                  <a:moveTo>
                    <a:pt x="316230" y="158115"/>
                  </a:moveTo>
                  <a:cubicBezTo>
                    <a:pt x="316230" y="245440"/>
                    <a:pt x="245440" y="316230"/>
                    <a:pt x="158115" y="316230"/>
                  </a:cubicBezTo>
                  <a:cubicBezTo>
                    <a:pt x="70791" y="316230"/>
                    <a:pt x="0" y="245440"/>
                    <a:pt x="0" y="158115"/>
                  </a:cubicBezTo>
                  <a:cubicBezTo>
                    <a:pt x="0" y="70791"/>
                    <a:pt x="70790" y="0"/>
                    <a:pt x="158115" y="0"/>
                  </a:cubicBezTo>
                  <a:cubicBezTo>
                    <a:pt x="245439" y="0"/>
                    <a:pt x="316230" y="70791"/>
                    <a:pt x="316230" y="15811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B9428D15-0D60-4B8A-B6EA-AC1FE9B91B30}"/>
                </a:ext>
              </a:extLst>
            </p:cNvPr>
            <p:cNvSpPr/>
            <p:nvPr/>
          </p:nvSpPr>
          <p:spPr bwMode="ltGray">
            <a:xfrm>
              <a:off x="10015219" y="38734"/>
              <a:ext cx="311150" cy="311149"/>
            </a:xfrm>
            <a:custGeom>
              <a:avLst/>
              <a:gdLst>
                <a:gd name="connsiteX0" fmla="*/ 155575 w 311150"/>
                <a:gd name="connsiteY0" fmla="*/ 0 h 311149"/>
                <a:gd name="connsiteX1" fmla="*/ 0 w 311150"/>
                <a:gd name="connsiteY1" fmla="*/ 155575 h 311149"/>
                <a:gd name="connsiteX2" fmla="*/ 155575 w 311150"/>
                <a:gd name="connsiteY2" fmla="*/ 311150 h 311149"/>
                <a:gd name="connsiteX3" fmla="*/ 311150 w 311150"/>
                <a:gd name="connsiteY3" fmla="*/ 155575 h 311149"/>
                <a:gd name="connsiteX4" fmla="*/ 155575 w 311150"/>
                <a:gd name="connsiteY4" fmla="*/ 0 h 31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150" h="311149">
                  <a:moveTo>
                    <a:pt x="155575" y="0"/>
                  </a:moveTo>
                  <a:cubicBezTo>
                    <a:pt x="69850" y="0"/>
                    <a:pt x="0" y="69850"/>
                    <a:pt x="0" y="155575"/>
                  </a:cubicBezTo>
                  <a:cubicBezTo>
                    <a:pt x="0" y="241300"/>
                    <a:pt x="69850" y="311150"/>
                    <a:pt x="155575" y="311150"/>
                  </a:cubicBezTo>
                  <a:cubicBezTo>
                    <a:pt x="241300" y="311150"/>
                    <a:pt x="311150" y="241300"/>
                    <a:pt x="311150" y="155575"/>
                  </a:cubicBezTo>
                  <a:cubicBezTo>
                    <a:pt x="311150" y="69850"/>
                    <a:pt x="241936" y="0"/>
                    <a:pt x="15557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9CDD8F5-D37A-4E50-A557-6390E67AD9A8}"/>
                </a:ext>
              </a:extLst>
            </p:cNvPr>
            <p:cNvSpPr/>
            <p:nvPr/>
          </p:nvSpPr>
          <p:spPr bwMode="ltGray">
            <a:xfrm>
              <a:off x="9657080" y="46355"/>
              <a:ext cx="295909" cy="295910"/>
            </a:xfrm>
            <a:custGeom>
              <a:avLst/>
              <a:gdLst>
                <a:gd name="connsiteX0" fmla="*/ 295910 w 295909"/>
                <a:gd name="connsiteY0" fmla="*/ 147955 h 295910"/>
                <a:gd name="connsiteX1" fmla="*/ 147955 w 295909"/>
                <a:gd name="connsiteY1" fmla="*/ 295910 h 295910"/>
                <a:gd name="connsiteX2" fmla="*/ 0 w 295909"/>
                <a:gd name="connsiteY2" fmla="*/ 147955 h 295910"/>
                <a:gd name="connsiteX3" fmla="*/ 147955 w 295909"/>
                <a:gd name="connsiteY3" fmla="*/ 0 h 295910"/>
                <a:gd name="connsiteX4" fmla="*/ 295910 w 295909"/>
                <a:gd name="connsiteY4" fmla="*/ 147955 h 29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909" h="295910">
                  <a:moveTo>
                    <a:pt x="295910" y="147955"/>
                  </a:moveTo>
                  <a:cubicBezTo>
                    <a:pt x="295910" y="229668"/>
                    <a:pt x="229668" y="295910"/>
                    <a:pt x="147955" y="295910"/>
                  </a:cubicBezTo>
                  <a:cubicBezTo>
                    <a:pt x="66241" y="295910"/>
                    <a:pt x="0" y="229668"/>
                    <a:pt x="0" y="147955"/>
                  </a:cubicBezTo>
                  <a:cubicBezTo>
                    <a:pt x="0" y="66242"/>
                    <a:pt x="66241" y="0"/>
                    <a:pt x="147955" y="0"/>
                  </a:cubicBezTo>
                  <a:cubicBezTo>
                    <a:pt x="229668" y="0"/>
                    <a:pt x="295910" y="66242"/>
                    <a:pt x="295910" y="14795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C0B073CC-B047-4777-8681-ECCFB75B70B7}"/>
                </a:ext>
              </a:extLst>
            </p:cNvPr>
            <p:cNvSpPr/>
            <p:nvPr/>
          </p:nvSpPr>
          <p:spPr bwMode="ltGray">
            <a:xfrm>
              <a:off x="9307194" y="62230"/>
              <a:ext cx="264160" cy="264160"/>
            </a:xfrm>
            <a:custGeom>
              <a:avLst/>
              <a:gdLst>
                <a:gd name="connsiteX0" fmla="*/ 132080 w 264160"/>
                <a:gd name="connsiteY0" fmla="*/ 0 h 264160"/>
                <a:gd name="connsiteX1" fmla="*/ 0 w 264160"/>
                <a:gd name="connsiteY1" fmla="*/ 132080 h 264160"/>
                <a:gd name="connsiteX2" fmla="*/ 132080 w 264160"/>
                <a:gd name="connsiteY2" fmla="*/ 264160 h 264160"/>
                <a:gd name="connsiteX3" fmla="*/ 264161 w 264160"/>
                <a:gd name="connsiteY3" fmla="*/ 132080 h 264160"/>
                <a:gd name="connsiteX4" fmla="*/ 132080 w 264160"/>
                <a:gd name="connsiteY4" fmla="*/ 0 h 26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160" h="264160">
                  <a:moveTo>
                    <a:pt x="132080" y="0"/>
                  </a:moveTo>
                  <a:cubicBezTo>
                    <a:pt x="59055" y="0"/>
                    <a:pt x="0" y="59055"/>
                    <a:pt x="0" y="132080"/>
                  </a:cubicBezTo>
                  <a:cubicBezTo>
                    <a:pt x="0" y="205105"/>
                    <a:pt x="59055" y="264160"/>
                    <a:pt x="132080" y="264160"/>
                  </a:cubicBezTo>
                  <a:cubicBezTo>
                    <a:pt x="205105" y="264160"/>
                    <a:pt x="264161" y="205105"/>
                    <a:pt x="264161" y="132080"/>
                  </a:cubicBezTo>
                  <a:cubicBezTo>
                    <a:pt x="264161" y="59055"/>
                    <a:pt x="205105" y="0"/>
                    <a:pt x="13208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0EAC4F56-EBF1-4D92-8C71-49311F1FCA1A}"/>
                </a:ext>
              </a:extLst>
            </p:cNvPr>
            <p:cNvSpPr/>
            <p:nvPr/>
          </p:nvSpPr>
          <p:spPr bwMode="ltGray">
            <a:xfrm>
              <a:off x="8966834" y="87630"/>
              <a:ext cx="213359" cy="213360"/>
            </a:xfrm>
            <a:custGeom>
              <a:avLst/>
              <a:gdLst>
                <a:gd name="connsiteX0" fmla="*/ 106680 w 213359"/>
                <a:gd name="connsiteY0" fmla="*/ 213360 h 213360"/>
                <a:gd name="connsiteX1" fmla="*/ 213360 w 213359"/>
                <a:gd name="connsiteY1" fmla="*/ 106680 h 213360"/>
                <a:gd name="connsiteX2" fmla="*/ 106680 w 213359"/>
                <a:gd name="connsiteY2" fmla="*/ 0 h 213360"/>
                <a:gd name="connsiteX3" fmla="*/ 0 w 213359"/>
                <a:gd name="connsiteY3" fmla="*/ 106680 h 213360"/>
                <a:gd name="connsiteX4" fmla="*/ 106680 w 213359"/>
                <a:gd name="connsiteY4" fmla="*/ 213360 h 213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59" h="213360">
                  <a:moveTo>
                    <a:pt x="106680" y="213360"/>
                  </a:moveTo>
                  <a:cubicBezTo>
                    <a:pt x="165735" y="213360"/>
                    <a:pt x="213360" y="165735"/>
                    <a:pt x="213360" y="106680"/>
                  </a:cubicBezTo>
                  <a:cubicBezTo>
                    <a:pt x="213360" y="47625"/>
                    <a:pt x="165735" y="0"/>
                    <a:pt x="106680" y="0"/>
                  </a:cubicBezTo>
                  <a:cubicBezTo>
                    <a:pt x="47625" y="0"/>
                    <a:pt x="0" y="47625"/>
                    <a:pt x="0" y="106680"/>
                  </a:cubicBezTo>
                  <a:cubicBezTo>
                    <a:pt x="0" y="165735"/>
                    <a:pt x="47625" y="213360"/>
                    <a:pt x="106680" y="21336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AC94E81-6DD7-44AC-B43D-62A18042D994}"/>
                </a:ext>
              </a:extLst>
            </p:cNvPr>
            <p:cNvSpPr/>
            <p:nvPr/>
          </p:nvSpPr>
          <p:spPr bwMode="ltGray">
            <a:xfrm>
              <a:off x="8632825" y="119380"/>
              <a:ext cx="149859" cy="149860"/>
            </a:xfrm>
            <a:custGeom>
              <a:avLst/>
              <a:gdLst>
                <a:gd name="connsiteX0" fmla="*/ 149860 w 149859"/>
                <a:gd name="connsiteY0" fmla="*/ 74930 h 149860"/>
                <a:gd name="connsiteX1" fmla="*/ 74930 w 149859"/>
                <a:gd name="connsiteY1" fmla="*/ 149860 h 149860"/>
                <a:gd name="connsiteX2" fmla="*/ -1 w 149859"/>
                <a:gd name="connsiteY2" fmla="*/ 74930 h 149860"/>
                <a:gd name="connsiteX3" fmla="*/ 74930 w 149859"/>
                <a:gd name="connsiteY3" fmla="*/ 0 h 149860"/>
                <a:gd name="connsiteX4" fmla="*/ 149860 w 149859"/>
                <a:gd name="connsiteY4" fmla="*/ 74930 h 149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859" h="149860">
                  <a:moveTo>
                    <a:pt x="149860" y="74930"/>
                  </a:moveTo>
                  <a:cubicBezTo>
                    <a:pt x="149860" y="116313"/>
                    <a:pt x="116312" y="149860"/>
                    <a:pt x="74930" y="149860"/>
                  </a:cubicBezTo>
                  <a:cubicBezTo>
                    <a:pt x="33547" y="149860"/>
                    <a:pt x="-1" y="116313"/>
                    <a:pt x="-1" y="74930"/>
                  </a:cubicBezTo>
                  <a:cubicBezTo>
                    <a:pt x="-1" y="33547"/>
                    <a:pt x="33547" y="0"/>
                    <a:pt x="74930" y="0"/>
                  </a:cubicBezTo>
                  <a:cubicBezTo>
                    <a:pt x="116312" y="0"/>
                    <a:pt x="149860" y="33547"/>
                    <a:pt x="149860" y="7493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6A4B7B76-0C38-4607-92E3-F8DE5AD39FC3}"/>
                </a:ext>
              </a:extLst>
            </p:cNvPr>
            <p:cNvSpPr/>
            <p:nvPr/>
          </p:nvSpPr>
          <p:spPr bwMode="ltGray">
            <a:xfrm>
              <a:off x="8298180" y="151129"/>
              <a:ext cx="86359" cy="86360"/>
            </a:xfrm>
            <a:custGeom>
              <a:avLst/>
              <a:gdLst>
                <a:gd name="connsiteX0" fmla="*/ 43180 w 86359"/>
                <a:gd name="connsiteY0" fmla="*/ 86360 h 86360"/>
                <a:gd name="connsiteX1" fmla="*/ 86360 w 86359"/>
                <a:gd name="connsiteY1" fmla="*/ 43180 h 86360"/>
                <a:gd name="connsiteX2" fmla="*/ 43180 w 86359"/>
                <a:gd name="connsiteY2" fmla="*/ 0 h 86360"/>
                <a:gd name="connsiteX3" fmla="*/ 0 w 86359"/>
                <a:gd name="connsiteY3" fmla="*/ 43180 h 86360"/>
                <a:gd name="connsiteX4" fmla="*/ 43180 w 86359"/>
                <a:gd name="connsiteY4" fmla="*/ 86360 h 86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359" h="86360">
                  <a:moveTo>
                    <a:pt x="43180" y="86360"/>
                  </a:moveTo>
                  <a:cubicBezTo>
                    <a:pt x="67310" y="86360"/>
                    <a:pt x="86360" y="66675"/>
                    <a:pt x="86360" y="43180"/>
                  </a:cubicBezTo>
                  <a:cubicBezTo>
                    <a:pt x="86360" y="19685"/>
                    <a:pt x="66675" y="0"/>
                    <a:pt x="43180" y="0"/>
                  </a:cubicBezTo>
                  <a:cubicBezTo>
                    <a:pt x="19685" y="0"/>
                    <a:pt x="0" y="19685"/>
                    <a:pt x="0" y="43180"/>
                  </a:cubicBezTo>
                  <a:cubicBezTo>
                    <a:pt x="0" y="66675"/>
                    <a:pt x="19685" y="86360"/>
                    <a:pt x="43180" y="8636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21DC2A0E-7020-45C9-BC57-04472F9C987E}"/>
                </a:ext>
              </a:extLst>
            </p:cNvPr>
            <p:cNvSpPr/>
            <p:nvPr/>
          </p:nvSpPr>
          <p:spPr bwMode="ltGray">
            <a:xfrm>
              <a:off x="7954644" y="172720"/>
              <a:ext cx="41910" cy="41909"/>
            </a:xfrm>
            <a:custGeom>
              <a:avLst/>
              <a:gdLst>
                <a:gd name="connsiteX0" fmla="*/ 20955 w 41910"/>
                <a:gd name="connsiteY0" fmla="*/ 41910 h 41909"/>
                <a:gd name="connsiteX1" fmla="*/ 41911 w 41910"/>
                <a:gd name="connsiteY1" fmla="*/ 20955 h 41909"/>
                <a:gd name="connsiteX2" fmla="*/ 20955 w 41910"/>
                <a:gd name="connsiteY2" fmla="*/ 0 h 41909"/>
                <a:gd name="connsiteX3" fmla="*/ 0 w 41910"/>
                <a:gd name="connsiteY3" fmla="*/ 20955 h 41909"/>
                <a:gd name="connsiteX4" fmla="*/ 20955 w 41910"/>
                <a:gd name="connsiteY4" fmla="*/ 41910 h 4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0" h="41909">
                  <a:moveTo>
                    <a:pt x="20955" y="41910"/>
                  </a:moveTo>
                  <a:cubicBezTo>
                    <a:pt x="32386" y="41910"/>
                    <a:pt x="41911" y="32385"/>
                    <a:pt x="41911" y="20955"/>
                  </a:cubicBezTo>
                  <a:cubicBezTo>
                    <a:pt x="41911" y="9525"/>
                    <a:pt x="32386" y="0"/>
                    <a:pt x="20955" y="0"/>
                  </a:cubicBezTo>
                  <a:cubicBezTo>
                    <a:pt x="9525" y="0"/>
                    <a:pt x="0" y="9525"/>
                    <a:pt x="0" y="20955"/>
                  </a:cubicBezTo>
                  <a:cubicBezTo>
                    <a:pt x="0" y="32385"/>
                    <a:pt x="9525" y="41910"/>
                    <a:pt x="20955" y="4191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F3E533FF-5CB5-4CB0-AE9A-386B940DA7A8}"/>
                </a:ext>
              </a:extLst>
            </p:cNvPr>
            <p:cNvSpPr/>
            <p:nvPr/>
          </p:nvSpPr>
          <p:spPr bwMode="ltGray">
            <a:xfrm>
              <a:off x="11935459" y="6632575"/>
              <a:ext cx="59690" cy="59690"/>
            </a:xfrm>
            <a:custGeom>
              <a:avLst/>
              <a:gdLst>
                <a:gd name="connsiteX0" fmla="*/ 29845 w 59690"/>
                <a:gd name="connsiteY0" fmla="*/ 0 h 59690"/>
                <a:gd name="connsiteX1" fmla="*/ 0 w 59690"/>
                <a:gd name="connsiteY1" fmla="*/ 29845 h 59690"/>
                <a:gd name="connsiteX2" fmla="*/ 29845 w 59690"/>
                <a:gd name="connsiteY2" fmla="*/ 59690 h 59690"/>
                <a:gd name="connsiteX3" fmla="*/ 59690 w 59690"/>
                <a:gd name="connsiteY3" fmla="*/ 29845 h 59690"/>
                <a:gd name="connsiteX4" fmla="*/ 29845 w 59690"/>
                <a:gd name="connsiteY4" fmla="*/ 0 h 59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690" h="59690">
                  <a:moveTo>
                    <a:pt x="29845" y="0"/>
                  </a:moveTo>
                  <a:cubicBezTo>
                    <a:pt x="13335" y="0"/>
                    <a:pt x="0" y="13335"/>
                    <a:pt x="0" y="29845"/>
                  </a:cubicBezTo>
                  <a:cubicBezTo>
                    <a:pt x="0" y="46355"/>
                    <a:pt x="13335" y="59690"/>
                    <a:pt x="29845" y="59690"/>
                  </a:cubicBezTo>
                  <a:cubicBezTo>
                    <a:pt x="46355" y="59690"/>
                    <a:pt x="59690" y="46355"/>
                    <a:pt x="59690" y="29845"/>
                  </a:cubicBezTo>
                  <a:cubicBezTo>
                    <a:pt x="59690" y="13335"/>
                    <a:pt x="46355" y="0"/>
                    <a:pt x="29845" y="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85FE592A-6126-4BCC-ADE9-B89F6046E978}"/>
                </a:ext>
              </a:extLst>
            </p:cNvPr>
            <p:cNvSpPr/>
            <p:nvPr/>
          </p:nvSpPr>
          <p:spPr bwMode="ltGray">
            <a:xfrm>
              <a:off x="11542394" y="6605269"/>
              <a:ext cx="114300" cy="114300"/>
            </a:xfrm>
            <a:custGeom>
              <a:avLst/>
              <a:gdLst>
                <a:gd name="connsiteX0" fmla="*/ 57150 w 114300"/>
                <a:gd name="connsiteY0" fmla="*/ 0 h 114300"/>
                <a:gd name="connsiteX1" fmla="*/ 0 w 114300"/>
                <a:gd name="connsiteY1" fmla="*/ 57150 h 114300"/>
                <a:gd name="connsiteX2" fmla="*/ 57150 w 114300"/>
                <a:gd name="connsiteY2" fmla="*/ 114300 h 114300"/>
                <a:gd name="connsiteX3" fmla="*/ 114300 w 114300"/>
                <a:gd name="connsiteY3" fmla="*/ 57150 h 114300"/>
                <a:gd name="connsiteX4" fmla="*/ 57150 w 114300"/>
                <a:gd name="connsiteY4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57150" y="0"/>
                  </a:moveTo>
                  <a:cubicBezTo>
                    <a:pt x="25400" y="0"/>
                    <a:pt x="0" y="25400"/>
                    <a:pt x="0" y="57150"/>
                  </a:cubicBezTo>
                  <a:cubicBezTo>
                    <a:pt x="0" y="88900"/>
                    <a:pt x="25400" y="114300"/>
                    <a:pt x="57150" y="114300"/>
                  </a:cubicBezTo>
                  <a:cubicBezTo>
                    <a:pt x="88900" y="114300"/>
                    <a:pt x="114300" y="88900"/>
                    <a:pt x="114300" y="57150"/>
                  </a:cubicBezTo>
                  <a:cubicBezTo>
                    <a:pt x="114300" y="25400"/>
                    <a:pt x="88265" y="0"/>
                    <a:pt x="57150" y="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A180C72B-7C4D-4F04-A71A-13563BA22F08}"/>
                </a:ext>
              </a:extLst>
            </p:cNvPr>
            <p:cNvSpPr/>
            <p:nvPr/>
          </p:nvSpPr>
          <p:spPr bwMode="ltGray">
            <a:xfrm>
              <a:off x="11143615" y="6572884"/>
              <a:ext cx="179069" cy="179070"/>
            </a:xfrm>
            <a:custGeom>
              <a:avLst/>
              <a:gdLst>
                <a:gd name="connsiteX0" fmla="*/ 89535 w 179069"/>
                <a:gd name="connsiteY0" fmla="*/ 0 h 179070"/>
                <a:gd name="connsiteX1" fmla="*/ 0 w 179069"/>
                <a:gd name="connsiteY1" fmla="*/ 89535 h 179070"/>
                <a:gd name="connsiteX2" fmla="*/ 89535 w 179069"/>
                <a:gd name="connsiteY2" fmla="*/ 179070 h 179070"/>
                <a:gd name="connsiteX3" fmla="*/ 179070 w 179069"/>
                <a:gd name="connsiteY3" fmla="*/ 89535 h 179070"/>
                <a:gd name="connsiteX4" fmla="*/ 89535 w 179069"/>
                <a:gd name="connsiteY4" fmla="*/ 0 h 17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069" h="179070">
                  <a:moveTo>
                    <a:pt x="89535" y="0"/>
                  </a:moveTo>
                  <a:cubicBezTo>
                    <a:pt x="40005" y="0"/>
                    <a:pt x="0" y="40005"/>
                    <a:pt x="0" y="89535"/>
                  </a:cubicBezTo>
                  <a:cubicBezTo>
                    <a:pt x="0" y="139065"/>
                    <a:pt x="40005" y="179070"/>
                    <a:pt x="89535" y="179070"/>
                  </a:cubicBezTo>
                  <a:cubicBezTo>
                    <a:pt x="139065" y="179070"/>
                    <a:pt x="179070" y="139065"/>
                    <a:pt x="179070" y="89535"/>
                  </a:cubicBezTo>
                  <a:cubicBezTo>
                    <a:pt x="179070" y="40005"/>
                    <a:pt x="139700" y="0"/>
                    <a:pt x="89535" y="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405B22EB-7852-41F5-A287-EE3CC99E147E}"/>
                </a:ext>
              </a:extLst>
            </p:cNvPr>
            <p:cNvSpPr/>
            <p:nvPr/>
          </p:nvSpPr>
          <p:spPr bwMode="ltGray">
            <a:xfrm>
              <a:off x="10748645" y="6543675"/>
              <a:ext cx="237490" cy="237490"/>
            </a:xfrm>
            <a:custGeom>
              <a:avLst/>
              <a:gdLst>
                <a:gd name="connsiteX0" fmla="*/ 237490 w 237490"/>
                <a:gd name="connsiteY0" fmla="*/ 118745 h 237490"/>
                <a:gd name="connsiteX1" fmla="*/ 118745 w 237490"/>
                <a:gd name="connsiteY1" fmla="*/ 237489 h 237490"/>
                <a:gd name="connsiteX2" fmla="*/ 0 w 237490"/>
                <a:gd name="connsiteY2" fmla="*/ 118745 h 237490"/>
                <a:gd name="connsiteX3" fmla="*/ 118745 w 237490"/>
                <a:gd name="connsiteY3" fmla="*/ 0 h 237490"/>
                <a:gd name="connsiteX4" fmla="*/ 237490 w 237490"/>
                <a:gd name="connsiteY4" fmla="*/ 118745 h 237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90" h="237490">
                  <a:moveTo>
                    <a:pt x="237490" y="118745"/>
                  </a:moveTo>
                  <a:cubicBezTo>
                    <a:pt x="237490" y="184326"/>
                    <a:pt x="184326" y="237489"/>
                    <a:pt x="118745" y="237489"/>
                  </a:cubicBezTo>
                  <a:cubicBezTo>
                    <a:pt x="53164" y="237489"/>
                    <a:pt x="0" y="184325"/>
                    <a:pt x="0" y="118745"/>
                  </a:cubicBezTo>
                  <a:cubicBezTo>
                    <a:pt x="0" y="53163"/>
                    <a:pt x="53165" y="0"/>
                    <a:pt x="118745" y="0"/>
                  </a:cubicBezTo>
                  <a:cubicBezTo>
                    <a:pt x="184326" y="0"/>
                    <a:pt x="237490" y="53164"/>
                    <a:pt x="237490" y="11874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1C1968D3-C33A-4A33-BFDF-5C95BBE0FA63}"/>
                </a:ext>
              </a:extLst>
            </p:cNvPr>
            <p:cNvSpPr/>
            <p:nvPr/>
          </p:nvSpPr>
          <p:spPr bwMode="ltGray">
            <a:xfrm>
              <a:off x="10361930" y="6522719"/>
              <a:ext cx="279400" cy="279400"/>
            </a:xfrm>
            <a:custGeom>
              <a:avLst/>
              <a:gdLst>
                <a:gd name="connsiteX0" fmla="*/ 139700 w 279400"/>
                <a:gd name="connsiteY0" fmla="*/ 0 h 279400"/>
                <a:gd name="connsiteX1" fmla="*/ 0 w 279400"/>
                <a:gd name="connsiteY1" fmla="*/ 139700 h 279400"/>
                <a:gd name="connsiteX2" fmla="*/ 139700 w 279400"/>
                <a:gd name="connsiteY2" fmla="*/ 279400 h 279400"/>
                <a:gd name="connsiteX3" fmla="*/ 279400 w 279400"/>
                <a:gd name="connsiteY3" fmla="*/ 139700 h 279400"/>
                <a:gd name="connsiteX4" fmla="*/ 139700 w 279400"/>
                <a:gd name="connsiteY4" fmla="*/ 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00" h="279400">
                  <a:moveTo>
                    <a:pt x="139700" y="0"/>
                  </a:moveTo>
                  <a:cubicBezTo>
                    <a:pt x="62230" y="0"/>
                    <a:pt x="0" y="62865"/>
                    <a:pt x="0" y="139700"/>
                  </a:cubicBezTo>
                  <a:cubicBezTo>
                    <a:pt x="0" y="216536"/>
                    <a:pt x="62864" y="279400"/>
                    <a:pt x="139700" y="279400"/>
                  </a:cubicBezTo>
                  <a:cubicBezTo>
                    <a:pt x="217170" y="279400"/>
                    <a:pt x="279400" y="216536"/>
                    <a:pt x="279400" y="139700"/>
                  </a:cubicBezTo>
                  <a:cubicBezTo>
                    <a:pt x="279400" y="62865"/>
                    <a:pt x="217170" y="0"/>
                    <a:pt x="139700" y="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47DEDF3F-5742-44EE-A90A-B8965101D45E}"/>
                </a:ext>
              </a:extLst>
            </p:cNvPr>
            <p:cNvSpPr/>
            <p:nvPr/>
          </p:nvSpPr>
          <p:spPr bwMode="ltGray">
            <a:xfrm>
              <a:off x="9984740" y="6511290"/>
              <a:ext cx="302259" cy="302259"/>
            </a:xfrm>
            <a:custGeom>
              <a:avLst/>
              <a:gdLst>
                <a:gd name="connsiteX0" fmla="*/ 302260 w 302259"/>
                <a:gd name="connsiteY0" fmla="*/ 151130 h 302259"/>
                <a:gd name="connsiteX1" fmla="*/ 151130 w 302259"/>
                <a:gd name="connsiteY1" fmla="*/ 302260 h 302259"/>
                <a:gd name="connsiteX2" fmla="*/ -1 w 302259"/>
                <a:gd name="connsiteY2" fmla="*/ 151130 h 302259"/>
                <a:gd name="connsiteX3" fmla="*/ 151130 w 302259"/>
                <a:gd name="connsiteY3" fmla="*/ -1 h 302259"/>
                <a:gd name="connsiteX4" fmla="*/ 302260 w 302259"/>
                <a:gd name="connsiteY4" fmla="*/ 151130 h 302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259" h="302259">
                  <a:moveTo>
                    <a:pt x="302260" y="151130"/>
                  </a:moveTo>
                  <a:cubicBezTo>
                    <a:pt x="302260" y="234597"/>
                    <a:pt x="234597" y="302260"/>
                    <a:pt x="151130" y="302260"/>
                  </a:cubicBezTo>
                  <a:cubicBezTo>
                    <a:pt x="67663" y="302260"/>
                    <a:pt x="-1" y="234597"/>
                    <a:pt x="-1" y="151130"/>
                  </a:cubicBezTo>
                  <a:cubicBezTo>
                    <a:pt x="-1" y="67663"/>
                    <a:pt x="67663" y="-1"/>
                    <a:pt x="151130" y="-1"/>
                  </a:cubicBezTo>
                  <a:cubicBezTo>
                    <a:pt x="234597" y="-1"/>
                    <a:pt x="302260" y="67663"/>
                    <a:pt x="302260" y="15113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635E70C6-959E-4D27-9A74-F99EA6F59B35}"/>
                </a:ext>
              </a:extLst>
            </p:cNvPr>
            <p:cNvSpPr/>
            <p:nvPr/>
          </p:nvSpPr>
          <p:spPr bwMode="ltGray">
            <a:xfrm>
              <a:off x="9613900" y="6506210"/>
              <a:ext cx="312419" cy="312419"/>
            </a:xfrm>
            <a:custGeom>
              <a:avLst/>
              <a:gdLst>
                <a:gd name="connsiteX0" fmla="*/ 312420 w 312419"/>
                <a:gd name="connsiteY0" fmla="*/ 156210 h 312419"/>
                <a:gd name="connsiteX1" fmla="*/ 156210 w 312419"/>
                <a:gd name="connsiteY1" fmla="*/ 312420 h 312419"/>
                <a:gd name="connsiteX2" fmla="*/ 0 w 312419"/>
                <a:gd name="connsiteY2" fmla="*/ 156210 h 312419"/>
                <a:gd name="connsiteX3" fmla="*/ 156210 w 312419"/>
                <a:gd name="connsiteY3" fmla="*/ 0 h 312419"/>
                <a:gd name="connsiteX4" fmla="*/ 312420 w 312419"/>
                <a:gd name="connsiteY4" fmla="*/ 156210 h 312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2419" h="312419">
                  <a:moveTo>
                    <a:pt x="312420" y="156210"/>
                  </a:moveTo>
                  <a:cubicBezTo>
                    <a:pt x="312420" y="242482"/>
                    <a:pt x="242482" y="312420"/>
                    <a:pt x="156210" y="312420"/>
                  </a:cubicBezTo>
                  <a:cubicBezTo>
                    <a:pt x="69938" y="312420"/>
                    <a:pt x="0" y="242482"/>
                    <a:pt x="0" y="156210"/>
                  </a:cubicBezTo>
                  <a:cubicBezTo>
                    <a:pt x="0" y="69937"/>
                    <a:pt x="69938" y="0"/>
                    <a:pt x="156210" y="0"/>
                  </a:cubicBezTo>
                  <a:cubicBezTo>
                    <a:pt x="242482" y="0"/>
                    <a:pt x="312420" y="69937"/>
                    <a:pt x="312420" y="15621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FC2767C5-FBCA-475F-9D05-19E0475AA59B}"/>
                </a:ext>
              </a:extLst>
            </p:cNvPr>
            <p:cNvSpPr/>
            <p:nvPr/>
          </p:nvSpPr>
          <p:spPr bwMode="ltGray">
            <a:xfrm>
              <a:off x="9245600" y="6504305"/>
              <a:ext cx="316230" cy="316229"/>
            </a:xfrm>
            <a:custGeom>
              <a:avLst/>
              <a:gdLst>
                <a:gd name="connsiteX0" fmla="*/ 158115 w 316230"/>
                <a:gd name="connsiteY0" fmla="*/ 0 h 316229"/>
                <a:gd name="connsiteX1" fmla="*/ 0 w 316230"/>
                <a:gd name="connsiteY1" fmla="*/ 158114 h 316229"/>
                <a:gd name="connsiteX2" fmla="*/ 158115 w 316230"/>
                <a:gd name="connsiteY2" fmla="*/ 316230 h 316229"/>
                <a:gd name="connsiteX3" fmla="*/ 316230 w 316230"/>
                <a:gd name="connsiteY3" fmla="*/ 158114 h 316229"/>
                <a:gd name="connsiteX4" fmla="*/ 158115 w 316230"/>
                <a:gd name="connsiteY4" fmla="*/ 0 h 316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6230" h="316229">
                  <a:moveTo>
                    <a:pt x="158115" y="0"/>
                  </a:moveTo>
                  <a:cubicBezTo>
                    <a:pt x="70485" y="0"/>
                    <a:pt x="0" y="71120"/>
                    <a:pt x="0" y="158114"/>
                  </a:cubicBezTo>
                  <a:cubicBezTo>
                    <a:pt x="0" y="245110"/>
                    <a:pt x="71120" y="316230"/>
                    <a:pt x="158115" y="316230"/>
                  </a:cubicBezTo>
                  <a:cubicBezTo>
                    <a:pt x="245745" y="316230"/>
                    <a:pt x="316230" y="245110"/>
                    <a:pt x="316230" y="158114"/>
                  </a:cubicBezTo>
                  <a:cubicBezTo>
                    <a:pt x="316230" y="71120"/>
                    <a:pt x="245745" y="0"/>
                    <a:pt x="158115" y="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00BBD0B3-46A6-4B58-9873-3E22DC138F02}"/>
                </a:ext>
              </a:extLst>
            </p:cNvPr>
            <p:cNvSpPr/>
            <p:nvPr/>
          </p:nvSpPr>
          <p:spPr bwMode="ltGray">
            <a:xfrm>
              <a:off x="8880475" y="6504940"/>
              <a:ext cx="314959" cy="314959"/>
            </a:xfrm>
            <a:custGeom>
              <a:avLst/>
              <a:gdLst>
                <a:gd name="connsiteX0" fmla="*/ 314960 w 314959"/>
                <a:gd name="connsiteY0" fmla="*/ 157480 h 314959"/>
                <a:gd name="connsiteX1" fmla="*/ 157480 w 314959"/>
                <a:gd name="connsiteY1" fmla="*/ 314960 h 314959"/>
                <a:gd name="connsiteX2" fmla="*/ -1 w 314959"/>
                <a:gd name="connsiteY2" fmla="*/ 157480 h 314959"/>
                <a:gd name="connsiteX3" fmla="*/ 157480 w 314959"/>
                <a:gd name="connsiteY3" fmla="*/ -1 h 314959"/>
                <a:gd name="connsiteX4" fmla="*/ 314960 w 314959"/>
                <a:gd name="connsiteY4" fmla="*/ 157480 h 314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4959" h="314959">
                  <a:moveTo>
                    <a:pt x="314960" y="157480"/>
                  </a:moveTo>
                  <a:cubicBezTo>
                    <a:pt x="314960" y="244453"/>
                    <a:pt x="244453" y="314960"/>
                    <a:pt x="157480" y="314960"/>
                  </a:cubicBezTo>
                  <a:cubicBezTo>
                    <a:pt x="70506" y="314960"/>
                    <a:pt x="-1" y="244453"/>
                    <a:pt x="-1" y="157480"/>
                  </a:cubicBezTo>
                  <a:cubicBezTo>
                    <a:pt x="-1" y="70506"/>
                    <a:pt x="70506" y="-1"/>
                    <a:pt x="157480" y="-1"/>
                  </a:cubicBezTo>
                  <a:cubicBezTo>
                    <a:pt x="244453" y="-1"/>
                    <a:pt x="314960" y="70506"/>
                    <a:pt x="314960" y="15748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0A05E886-4BC7-442F-B820-AD70C8BCD665}"/>
                </a:ext>
              </a:extLst>
            </p:cNvPr>
            <p:cNvSpPr/>
            <p:nvPr/>
          </p:nvSpPr>
          <p:spPr bwMode="ltGray">
            <a:xfrm>
              <a:off x="8517255" y="6507480"/>
              <a:ext cx="309880" cy="309880"/>
            </a:xfrm>
            <a:custGeom>
              <a:avLst/>
              <a:gdLst>
                <a:gd name="connsiteX0" fmla="*/ 309880 w 309880"/>
                <a:gd name="connsiteY0" fmla="*/ 154940 h 309880"/>
                <a:gd name="connsiteX1" fmla="*/ 154940 w 309880"/>
                <a:gd name="connsiteY1" fmla="*/ 309880 h 309880"/>
                <a:gd name="connsiteX2" fmla="*/ 0 w 309880"/>
                <a:gd name="connsiteY2" fmla="*/ 154940 h 309880"/>
                <a:gd name="connsiteX3" fmla="*/ 154940 w 309880"/>
                <a:gd name="connsiteY3" fmla="*/ 0 h 309880"/>
                <a:gd name="connsiteX4" fmla="*/ 309880 w 309880"/>
                <a:gd name="connsiteY4" fmla="*/ 154940 h 30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880" h="309880">
                  <a:moveTo>
                    <a:pt x="309880" y="154940"/>
                  </a:moveTo>
                  <a:cubicBezTo>
                    <a:pt x="309880" y="240510"/>
                    <a:pt x="240511" y="309880"/>
                    <a:pt x="154940" y="309880"/>
                  </a:cubicBezTo>
                  <a:cubicBezTo>
                    <a:pt x="69369" y="309880"/>
                    <a:pt x="0" y="240511"/>
                    <a:pt x="0" y="154940"/>
                  </a:cubicBezTo>
                  <a:cubicBezTo>
                    <a:pt x="0" y="69369"/>
                    <a:pt x="69368" y="0"/>
                    <a:pt x="154940" y="0"/>
                  </a:cubicBezTo>
                  <a:cubicBezTo>
                    <a:pt x="240510" y="0"/>
                    <a:pt x="309880" y="69368"/>
                    <a:pt x="309880" y="15494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F4624253-663C-43DA-9694-99BF8094360E}"/>
                </a:ext>
              </a:extLst>
            </p:cNvPr>
            <p:cNvSpPr/>
            <p:nvPr/>
          </p:nvSpPr>
          <p:spPr bwMode="ltGray">
            <a:xfrm>
              <a:off x="8159750" y="6515735"/>
              <a:ext cx="293369" cy="293369"/>
            </a:xfrm>
            <a:custGeom>
              <a:avLst/>
              <a:gdLst>
                <a:gd name="connsiteX0" fmla="*/ 293370 w 293369"/>
                <a:gd name="connsiteY0" fmla="*/ 146685 h 293369"/>
                <a:gd name="connsiteX1" fmla="*/ 146685 w 293369"/>
                <a:gd name="connsiteY1" fmla="*/ 293370 h 293369"/>
                <a:gd name="connsiteX2" fmla="*/ 0 w 293369"/>
                <a:gd name="connsiteY2" fmla="*/ 146685 h 293369"/>
                <a:gd name="connsiteX3" fmla="*/ 146685 w 293369"/>
                <a:gd name="connsiteY3" fmla="*/ 0 h 293369"/>
                <a:gd name="connsiteX4" fmla="*/ 293370 w 293369"/>
                <a:gd name="connsiteY4" fmla="*/ 146685 h 293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3369" h="293369">
                  <a:moveTo>
                    <a:pt x="293370" y="146685"/>
                  </a:moveTo>
                  <a:cubicBezTo>
                    <a:pt x="293370" y="227697"/>
                    <a:pt x="227697" y="293370"/>
                    <a:pt x="146685" y="293370"/>
                  </a:cubicBezTo>
                  <a:cubicBezTo>
                    <a:pt x="65673" y="293370"/>
                    <a:pt x="0" y="227697"/>
                    <a:pt x="0" y="146685"/>
                  </a:cubicBezTo>
                  <a:cubicBezTo>
                    <a:pt x="0" y="65673"/>
                    <a:pt x="65673" y="0"/>
                    <a:pt x="146685" y="0"/>
                  </a:cubicBezTo>
                  <a:cubicBezTo>
                    <a:pt x="227697" y="0"/>
                    <a:pt x="293370" y="65673"/>
                    <a:pt x="293370" y="14668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CF339E07-E20C-4E83-8D1A-278F40165F2B}"/>
                </a:ext>
              </a:extLst>
            </p:cNvPr>
            <p:cNvSpPr/>
            <p:nvPr/>
          </p:nvSpPr>
          <p:spPr bwMode="ltGray">
            <a:xfrm>
              <a:off x="7809230" y="6532244"/>
              <a:ext cx="261619" cy="261620"/>
            </a:xfrm>
            <a:custGeom>
              <a:avLst/>
              <a:gdLst>
                <a:gd name="connsiteX0" fmla="*/ 130810 w 261619"/>
                <a:gd name="connsiteY0" fmla="*/ 0 h 261620"/>
                <a:gd name="connsiteX1" fmla="*/ 0 w 261619"/>
                <a:gd name="connsiteY1" fmla="*/ 130811 h 261620"/>
                <a:gd name="connsiteX2" fmla="*/ 130810 w 261619"/>
                <a:gd name="connsiteY2" fmla="*/ 261620 h 261620"/>
                <a:gd name="connsiteX3" fmla="*/ 261620 w 261619"/>
                <a:gd name="connsiteY3" fmla="*/ 130811 h 261620"/>
                <a:gd name="connsiteX4" fmla="*/ 130810 w 261619"/>
                <a:gd name="connsiteY4" fmla="*/ 0 h 26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619" h="261620">
                  <a:moveTo>
                    <a:pt x="130810" y="0"/>
                  </a:moveTo>
                  <a:cubicBezTo>
                    <a:pt x="58420" y="0"/>
                    <a:pt x="0" y="58420"/>
                    <a:pt x="0" y="130811"/>
                  </a:cubicBezTo>
                  <a:cubicBezTo>
                    <a:pt x="0" y="203200"/>
                    <a:pt x="58420" y="261620"/>
                    <a:pt x="130810" y="261620"/>
                  </a:cubicBezTo>
                  <a:cubicBezTo>
                    <a:pt x="203200" y="261620"/>
                    <a:pt x="261620" y="203200"/>
                    <a:pt x="261620" y="130811"/>
                  </a:cubicBezTo>
                  <a:cubicBezTo>
                    <a:pt x="261620" y="58420"/>
                    <a:pt x="203200" y="0"/>
                    <a:pt x="130810" y="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074354EA-F9E1-49E3-845B-C4B995C45365}"/>
                </a:ext>
              </a:extLst>
            </p:cNvPr>
            <p:cNvSpPr/>
            <p:nvPr/>
          </p:nvSpPr>
          <p:spPr bwMode="ltGray">
            <a:xfrm>
              <a:off x="7470139" y="6558280"/>
              <a:ext cx="208280" cy="208280"/>
            </a:xfrm>
            <a:custGeom>
              <a:avLst/>
              <a:gdLst>
                <a:gd name="connsiteX0" fmla="*/ 208280 w 208280"/>
                <a:gd name="connsiteY0" fmla="*/ 104140 h 208280"/>
                <a:gd name="connsiteX1" fmla="*/ 104140 w 208280"/>
                <a:gd name="connsiteY1" fmla="*/ 208280 h 208280"/>
                <a:gd name="connsiteX2" fmla="*/ -1 w 208280"/>
                <a:gd name="connsiteY2" fmla="*/ 104140 h 208280"/>
                <a:gd name="connsiteX3" fmla="*/ 104140 w 208280"/>
                <a:gd name="connsiteY3" fmla="*/ 0 h 208280"/>
                <a:gd name="connsiteX4" fmla="*/ 208280 w 208280"/>
                <a:gd name="connsiteY4" fmla="*/ 104140 h 208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8280" h="208280">
                  <a:moveTo>
                    <a:pt x="208280" y="104140"/>
                  </a:moveTo>
                  <a:cubicBezTo>
                    <a:pt x="208280" y="161655"/>
                    <a:pt x="161655" y="208280"/>
                    <a:pt x="104140" y="208280"/>
                  </a:cubicBezTo>
                  <a:cubicBezTo>
                    <a:pt x="46624" y="208280"/>
                    <a:pt x="-1" y="161655"/>
                    <a:pt x="-1" y="104140"/>
                  </a:cubicBezTo>
                  <a:cubicBezTo>
                    <a:pt x="-1" y="46625"/>
                    <a:pt x="46624" y="0"/>
                    <a:pt x="104140" y="0"/>
                  </a:cubicBezTo>
                  <a:cubicBezTo>
                    <a:pt x="161655" y="0"/>
                    <a:pt x="208280" y="46625"/>
                    <a:pt x="208280" y="10414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9A7E819F-F87F-4F69-8CB4-14126454BBF4}"/>
                </a:ext>
              </a:extLst>
            </p:cNvPr>
            <p:cNvSpPr/>
            <p:nvPr/>
          </p:nvSpPr>
          <p:spPr bwMode="ltGray">
            <a:xfrm>
              <a:off x="7135494" y="6590030"/>
              <a:ext cx="146050" cy="146050"/>
            </a:xfrm>
            <a:custGeom>
              <a:avLst/>
              <a:gdLst>
                <a:gd name="connsiteX0" fmla="*/ 73025 w 146050"/>
                <a:gd name="connsiteY0" fmla="*/ 0 h 146050"/>
                <a:gd name="connsiteX1" fmla="*/ 0 w 146050"/>
                <a:gd name="connsiteY1" fmla="*/ 73025 h 146050"/>
                <a:gd name="connsiteX2" fmla="*/ 73025 w 146050"/>
                <a:gd name="connsiteY2" fmla="*/ 146050 h 146050"/>
                <a:gd name="connsiteX3" fmla="*/ 146050 w 146050"/>
                <a:gd name="connsiteY3" fmla="*/ 73025 h 146050"/>
                <a:gd name="connsiteX4" fmla="*/ 73025 w 146050"/>
                <a:gd name="connsiteY4" fmla="*/ 0 h 14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050" h="146050">
                  <a:moveTo>
                    <a:pt x="73025" y="0"/>
                  </a:moveTo>
                  <a:cubicBezTo>
                    <a:pt x="33020" y="0"/>
                    <a:pt x="0" y="32385"/>
                    <a:pt x="0" y="73025"/>
                  </a:cubicBezTo>
                  <a:cubicBezTo>
                    <a:pt x="0" y="113664"/>
                    <a:pt x="32386" y="146050"/>
                    <a:pt x="73025" y="146050"/>
                  </a:cubicBezTo>
                  <a:cubicBezTo>
                    <a:pt x="113030" y="146050"/>
                    <a:pt x="146050" y="113664"/>
                    <a:pt x="146050" y="73025"/>
                  </a:cubicBezTo>
                  <a:cubicBezTo>
                    <a:pt x="146050" y="32385"/>
                    <a:pt x="113030" y="0"/>
                    <a:pt x="73025" y="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45A6BC77-36F1-4B53-9252-2A4ABC722A8C}"/>
                </a:ext>
              </a:extLst>
            </p:cNvPr>
            <p:cNvSpPr/>
            <p:nvPr/>
          </p:nvSpPr>
          <p:spPr bwMode="ltGray">
            <a:xfrm>
              <a:off x="6801484" y="6621144"/>
              <a:ext cx="82550" cy="82550"/>
            </a:xfrm>
            <a:custGeom>
              <a:avLst/>
              <a:gdLst>
                <a:gd name="connsiteX0" fmla="*/ 41275 w 82550"/>
                <a:gd name="connsiteY0" fmla="*/ 0 h 82550"/>
                <a:gd name="connsiteX1" fmla="*/ 0 w 82550"/>
                <a:gd name="connsiteY1" fmla="*/ 41275 h 82550"/>
                <a:gd name="connsiteX2" fmla="*/ 41275 w 82550"/>
                <a:gd name="connsiteY2" fmla="*/ 82550 h 82550"/>
                <a:gd name="connsiteX3" fmla="*/ 82550 w 82550"/>
                <a:gd name="connsiteY3" fmla="*/ 41275 h 82550"/>
                <a:gd name="connsiteX4" fmla="*/ 41275 w 82550"/>
                <a:gd name="connsiteY4" fmla="*/ 0 h 8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82550">
                  <a:moveTo>
                    <a:pt x="41275" y="0"/>
                  </a:moveTo>
                  <a:cubicBezTo>
                    <a:pt x="18415" y="0"/>
                    <a:pt x="0" y="18415"/>
                    <a:pt x="0" y="41275"/>
                  </a:cubicBezTo>
                  <a:cubicBezTo>
                    <a:pt x="0" y="64136"/>
                    <a:pt x="18415" y="82550"/>
                    <a:pt x="41275" y="82550"/>
                  </a:cubicBezTo>
                  <a:cubicBezTo>
                    <a:pt x="64135" y="82550"/>
                    <a:pt x="82550" y="64136"/>
                    <a:pt x="82550" y="41275"/>
                  </a:cubicBezTo>
                  <a:cubicBezTo>
                    <a:pt x="82550" y="18415"/>
                    <a:pt x="64135" y="0"/>
                    <a:pt x="41275" y="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CAF7810B-178F-475F-A113-908E783B35D4}"/>
                </a:ext>
              </a:extLst>
            </p:cNvPr>
            <p:cNvSpPr/>
            <p:nvPr/>
          </p:nvSpPr>
          <p:spPr bwMode="ltGray">
            <a:xfrm>
              <a:off x="6456045" y="6642734"/>
              <a:ext cx="40639" cy="40640"/>
            </a:xfrm>
            <a:custGeom>
              <a:avLst/>
              <a:gdLst>
                <a:gd name="connsiteX0" fmla="*/ 20320 w 40639"/>
                <a:gd name="connsiteY0" fmla="*/ 0 h 40640"/>
                <a:gd name="connsiteX1" fmla="*/ 0 w 40639"/>
                <a:gd name="connsiteY1" fmla="*/ 20320 h 40640"/>
                <a:gd name="connsiteX2" fmla="*/ 20320 w 40639"/>
                <a:gd name="connsiteY2" fmla="*/ 40640 h 40640"/>
                <a:gd name="connsiteX3" fmla="*/ 40640 w 40639"/>
                <a:gd name="connsiteY3" fmla="*/ 20320 h 40640"/>
                <a:gd name="connsiteX4" fmla="*/ 20320 w 40639"/>
                <a:gd name="connsiteY4" fmla="*/ 0 h 40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39" h="40640">
                  <a:moveTo>
                    <a:pt x="20320" y="0"/>
                  </a:moveTo>
                  <a:cubicBezTo>
                    <a:pt x="9525" y="0"/>
                    <a:pt x="0" y="8890"/>
                    <a:pt x="0" y="20320"/>
                  </a:cubicBezTo>
                  <a:cubicBezTo>
                    <a:pt x="0" y="31750"/>
                    <a:pt x="8890" y="40640"/>
                    <a:pt x="20320" y="40640"/>
                  </a:cubicBezTo>
                  <a:cubicBezTo>
                    <a:pt x="31115" y="40640"/>
                    <a:pt x="40640" y="31750"/>
                    <a:pt x="40640" y="20320"/>
                  </a:cubicBezTo>
                  <a:cubicBezTo>
                    <a:pt x="40640" y="8890"/>
                    <a:pt x="31750" y="0"/>
                    <a:pt x="20320" y="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B9E7736F-8925-4517-9820-3AF0198A95D3}"/>
                </a:ext>
              </a:extLst>
            </p:cNvPr>
            <p:cNvSpPr/>
            <p:nvPr/>
          </p:nvSpPr>
          <p:spPr bwMode="ltGray">
            <a:xfrm>
              <a:off x="11939269" y="6270625"/>
              <a:ext cx="52070" cy="52070"/>
            </a:xfrm>
            <a:custGeom>
              <a:avLst/>
              <a:gdLst>
                <a:gd name="connsiteX0" fmla="*/ 26036 w 52070"/>
                <a:gd name="connsiteY0" fmla="*/ 52070 h 52070"/>
                <a:gd name="connsiteX1" fmla="*/ 52070 w 52070"/>
                <a:gd name="connsiteY1" fmla="*/ 26035 h 52070"/>
                <a:gd name="connsiteX2" fmla="*/ 26036 w 52070"/>
                <a:gd name="connsiteY2" fmla="*/ 0 h 52070"/>
                <a:gd name="connsiteX3" fmla="*/ 0 w 52070"/>
                <a:gd name="connsiteY3" fmla="*/ 26035 h 52070"/>
                <a:gd name="connsiteX4" fmla="*/ 26036 w 52070"/>
                <a:gd name="connsiteY4" fmla="*/ 52070 h 52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070" h="52070">
                  <a:moveTo>
                    <a:pt x="26036" y="52070"/>
                  </a:moveTo>
                  <a:cubicBezTo>
                    <a:pt x="40005" y="52070"/>
                    <a:pt x="52070" y="40640"/>
                    <a:pt x="52070" y="26035"/>
                  </a:cubicBezTo>
                  <a:cubicBezTo>
                    <a:pt x="52070" y="11430"/>
                    <a:pt x="40640" y="0"/>
                    <a:pt x="26036" y="0"/>
                  </a:cubicBezTo>
                  <a:cubicBezTo>
                    <a:pt x="12065" y="0"/>
                    <a:pt x="0" y="11430"/>
                    <a:pt x="0" y="26035"/>
                  </a:cubicBezTo>
                  <a:cubicBezTo>
                    <a:pt x="0" y="40640"/>
                    <a:pt x="12065" y="52070"/>
                    <a:pt x="26036" y="5207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02952349-5F76-4395-B123-84C1FBDBBCE8}"/>
                </a:ext>
              </a:extLst>
            </p:cNvPr>
            <p:cNvSpPr/>
            <p:nvPr/>
          </p:nvSpPr>
          <p:spPr bwMode="ltGray">
            <a:xfrm>
              <a:off x="11549380" y="6246495"/>
              <a:ext cx="100330" cy="100329"/>
            </a:xfrm>
            <a:custGeom>
              <a:avLst/>
              <a:gdLst>
                <a:gd name="connsiteX0" fmla="*/ 100330 w 100330"/>
                <a:gd name="connsiteY0" fmla="*/ 50165 h 100329"/>
                <a:gd name="connsiteX1" fmla="*/ 50165 w 100330"/>
                <a:gd name="connsiteY1" fmla="*/ 100330 h 100329"/>
                <a:gd name="connsiteX2" fmla="*/ 0 w 100330"/>
                <a:gd name="connsiteY2" fmla="*/ 50165 h 100329"/>
                <a:gd name="connsiteX3" fmla="*/ 50165 w 100330"/>
                <a:gd name="connsiteY3" fmla="*/ 0 h 100329"/>
                <a:gd name="connsiteX4" fmla="*/ 100330 w 100330"/>
                <a:gd name="connsiteY4" fmla="*/ 50165 h 100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330" h="100329">
                  <a:moveTo>
                    <a:pt x="100330" y="50165"/>
                  </a:moveTo>
                  <a:cubicBezTo>
                    <a:pt x="100330" y="77870"/>
                    <a:pt x="77870" y="100330"/>
                    <a:pt x="50165" y="100330"/>
                  </a:cubicBezTo>
                  <a:cubicBezTo>
                    <a:pt x="22459" y="100330"/>
                    <a:pt x="0" y="77871"/>
                    <a:pt x="0" y="50165"/>
                  </a:cubicBezTo>
                  <a:cubicBezTo>
                    <a:pt x="0" y="22460"/>
                    <a:pt x="22459" y="0"/>
                    <a:pt x="50165" y="0"/>
                  </a:cubicBezTo>
                  <a:cubicBezTo>
                    <a:pt x="77870" y="0"/>
                    <a:pt x="100330" y="22459"/>
                    <a:pt x="100330" y="5016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81B0DC43-7422-4D63-8061-C5BD3896AA49}"/>
                </a:ext>
              </a:extLst>
            </p:cNvPr>
            <p:cNvSpPr/>
            <p:nvPr/>
          </p:nvSpPr>
          <p:spPr bwMode="ltGray">
            <a:xfrm>
              <a:off x="11152505" y="6216015"/>
              <a:ext cx="161289" cy="161289"/>
            </a:xfrm>
            <a:custGeom>
              <a:avLst/>
              <a:gdLst>
                <a:gd name="connsiteX0" fmla="*/ 80645 w 161289"/>
                <a:gd name="connsiteY0" fmla="*/ 161290 h 161289"/>
                <a:gd name="connsiteX1" fmla="*/ 161289 w 161289"/>
                <a:gd name="connsiteY1" fmla="*/ 80645 h 161289"/>
                <a:gd name="connsiteX2" fmla="*/ 80645 w 161289"/>
                <a:gd name="connsiteY2" fmla="*/ 0 h 161289"/>
                <a:gd name="connsiteX3" fmla="*/ 0 w 161289"/>
                <a:gd name="connsiteY3" fmla="*/ 80645 h 161289"/>
                <a:gd name="connsiteX4" fmla="*/ 80645 w 161289"/>
                <a:gd name="connsiteY4" fmla="*/ 161290 h 161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289" h="161289">
                  <a:moveTo>
                    <a:pt x="80645" y="161290"/>
                  </a:moveTo>
                  <a:cubicBezTo>
                    <a:pt x="125095" y="161290"/>
                    <a:pt x="161289" y="125095"/>
                    <a:pt x="161289" y="80645"/>
                  </a:cubicBezTo>
                  <a:cubicBezTo>
                    <a:pt x="161289" y="36195"/>
                    <a:pt x="125095" y="0"/>
                    <a:pt x="80645" y="0"/>
                  </a:cubicBezTo>
                  <a:cubicBezTo>
                    <a:pt x="36195" y="0"/>
                    <a:pt x="0" y="36195"/>
                    <a:pt x="0" y="80645"/>
                  </a:cubicBezTo>
                  <a:cubicBezTo>
                    <a:pt x="0" y="125095"/>
                    <a:pt x="36830" y="161290"/>
                    <a:pt x="80645" y="16129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33051175-FE45-47A1-BB61-4B15FEBE08F5}"/>
                </a:ext>
              </a:extLst>
            </p:cNvPr>
            <p:cNvSpPr/>
            <p:nvPr/>
          </p:nvSpPr>
          <p:spPr bwMode="ltGray">
            <a:xfrm>
              <a:off x="10756900" y="6186170"/>
              <a:ext cx="220980" cy="220979"/>
            </a:xfrm>
            <a:custGeom>
              <a:avLst/>
              <a:gdLst>
                <a:gd name="connsiteX0" fmla="*/ 110490 w 220980"/>
                <a:gd name="connsiteY0" fmla="*/ 220980 h 220979"/>
                <a:gd name="connsiteX1" fmla="*/ 220980 w 220980"/>
                <a:gd name="connsiteY1" fmla="*/ 110490 h 220979"/>
                <a:gd name="connsiteX2" fmla="*/ 110490 w 220980"/>
                <a:gd name="connsiteY2" fmla="*/ 0 h 220979"/>
                <a:gd name="connsiteX3" fmla="*/ 0 w 220980"/>
                <a:gd name="connsiteY3" fmla="*/ 110490 h 220979"/>
                <a:gd name="connsiteX4" fmla="*/ 110490 w 220980"/>
                <a:gd name="connsiteY4" fmla="*/ 220980 h 220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0980" h="220979">
                  <a:moveTo>
                    <a:pt x="110490" y="220980"/>
                  </a:moveTo>
                  <a:cubicBezTo>
                    <a:pt x="171450" y="220980"/>
                    <a:pt x="220980" y="171450"/>
                    <a:pt x="220980" y="110490"/>
                  </a:cubicBezTo>
                  <a:cubicBezTo>
                    <a:pt x="220980" y="49530"/>
                    <a:pt x="171450" y="0"/>
                    <a:pt x="110490" y="0"/>
                  </a:cubicBezTo>
                  <a:cubicBezTo>
                    <a:pt x="49530" y="0"/>
                    <a:pt x="0" y="49530"/>
                    <a:pt x="0" y="110490"/>
                  </a:cubicBezTo>
                  <a:cubicBezTo>
                    <a:pt x="0" y="171450"/>
                    <a:pt x="49530" y="220980"/>
                    <a:pt x="110490" y="22098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6E178317-1554-4E64-A820-7977F55A49A9}"/>
                </a:ext>
              </a:extLst>
            </p:cNvPr>
            <p:cNvSpPr/>
            <p:nvPr/>
          </p:nvSpPr>
          <p:spPr bwMode="ltGray">
            <a:xfrm>
              <a:off x="10368915" y="6163945"/>
              <a:ext cx="265429" cy="265429"/>
            </a:xfrm>
            <a:custGeom>
              <a:avLst/>
              <a:gdLst>
                <a:gd name="connsiteX0" fmla="*/ 132715 w 265429"/>
                <a:gd name="connsiteY0" fmla="*/ 265430 h 265429"/>
                <a:gd name="connsiteX1" fmla="*/ 265430 w 265429"/>
                <a:gd name="connsiteY1" fmla="*/ 132715 h 265429"/>
                <a:gd name="connsiteX2" fmla="*/ 132715 w 265429"/>
                <a:gd name="connsiteY2" fmla="*/ 0 h 265429"/>
                <a:gd name="connsiteX3" fmla="*/ 0 w 265429"/>
                <a:gd name="connsiteY3" fmla="*/ 132715 h 265429"/>
                <a:gd name="connsiteX4" fmla="*/ 132715 w 265429"/>
                <a:gd name="connsiteY4" fmla="*/ 265430 h 26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5429" h="265429">
                  <a:moveTo>
                    <a:pt x="132715" y="265430"/>
                  </a:moveTo>
                  <a:cubicBezTo>
                    <a:pt x="205740" y="265430"/>
                    <a:pt x="265430" y="206375"/>
                    <a:pt x="265430" y="132715"/>
                  </a:cubicBezTo>
                  <a:cubicBezTo>
                    <a:pt x="265430" y="59055"/>
                    <a:pt x="206375" y="0"/>
                    <a:pt x="132715" y="0"/>
                  </a:cubicBezTo>
                  <a:cubicBezTo>
                    <a:pt x="59690" y="0"/>
                    <a:pt x="0" y="59055"/>
                    <a:pt x="0" y="132715"/>
                  </a:cubicBezTo>
                  <a:cubicBezTo>
                    <a:pt x="0" y="206375"/>
                    <a:pt x="59690" y="265430"/>
                    <a:pt x="132715" y="26543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84D09875-A211-40F6-A21D-6096EB9B26E1}"/>
                </a:ext>
              </a:extLst>
            </p:cNvPr>
            <p:cNvSpPr/>
            <p:nvPr/>
          </p:nvSpPr>
          <p:spPr bwMode="ltGray">
            <a:xfrm>
              <a:off x="9990455" y="6151245"/>
              <a:ext cx="290830" cy="290829"/>
            </a:xfrm>
            <a:custGeom>
              <a:avLst/>
              <a:gdLst>
                <a:gd name="connsiteX0" fmla="*/ 290830 w 290830"/>
                <a:gd name="connsiteY0" fmla="*/ 145415 h 290829"/>
                <a:gd name="connsiteX1" fmla="*/ 145415 w 290830"/>
                <a:gd name="connsiteY1" fmla="*/ 290830 h 290829"/>
                <a:gd name="connsiteX2" fmla="*/ 0 w 290830"/>
                <a:gd name="connsiteY2" fmla="*/ 145415 h 290829"/>
                <a:gd name="connsiteX3" fmla="*/ 145415 w 290830"/>
                <a:gd name="connsiteY3" fmla="*/ 0 h 290829"/>
                <a:gd name="connsiteX4" fmla="*/ 290830 w 290830"/>
                <a:gd name="connsiteY4" fmla="*/ 145415 h 29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0830" h="290829">
                  <a:moveTo>
                    <a:pt x="290830" y="145415"/>
                  </a:moveTo>
                  <a:cubicBezTo>
                    <a:pt x="290830" y="225725"/>
                    <a:pt x="225725" y="290830"/>
                    <a:pt x="145415" y="290830"/>
                  </a:cubicBezTo>
                  <a:cubicBezTo>
                    <a:pt x="65104" y="290830"/>
                    <a:pt x="0" y="225725"/>
                    <a:pt x="0" y="145415"/>
                  </a:cubicBezTo>
                  <a:cubicBezTo>
                    <a:pt x="0" y="65104"/>
                    <a:pt x="65104" y="0"/>
                    <a:pt x="145415" y="0"/>
                  </a:cubicBezTo>
                  <a:cubicBezTo>
                    <a:pt x="225725" y="0"/>
                    <a:pt x="290830" y="65104"/>
                    <a:pt x="290830" y="14541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1517B7D6-BCBE-4B99-AC47-E78AC6F21172}"/>
                </a:ext>
              </a:extLst>
            </p:cNvPr>
            <p:cNvSpPr/>
            <p:nvPr/>
          </p:nvSpPr>
          <p:spPr bwMode="ltGray">
            <a:xfrm>
              <a:off x="9617710" y="6144260"/>
              <a:ext cx="304800" cy="304800"/>
            </a:xfrm>
            <a:custGeom>
              <a:avLst/>
              <a:gdLst>
                <a:gd name="connsiteX0" fmla="*/ 304800 w 304800"/>
                <a:gd name="connsiteY0" fmla="*/ 152400 h 304800"/>
                <a:gd name="connsiteX1" fmla="*/ 152400 w 304800"/>
                <a:gd name="connsiteY1" fmla="*/ 304800 h 304800"/>
                <a:gd name="connsiteX2" fmla="*/ 0 w 304800"/>
                <a:gd name="connsiteY2" fmla="*/ 152400 h 304800"/>
                <a:gd name="connsiteX3" fmla="*/ 152400 w 304800"/>
                <a:gd name="connsiteY3" fmla="*/ 0 h 304800"/>
                <a:gd name="connsiteX4" fmla="*/ 304800 w 304800"/>
                <a:gd name="connsiteY4" fmla="*/ 15240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800" h="304800">
                  <a:moveTo>
                    <a:pt x="304800" y="152400"/>
                  </a:moveTo>
                  <a:cubicBezTo>
                    <a:pt x="304800" y="236568"/>
                    <a:pt x="236568" y="304800"/>
                    <a:pt x="152400" y="304800"/>
                  </a:cubicBezTo>
                  <a:cubicBezTo>
                    <a:pt x="68231" y="304800"/>
                    <a:pt x="0" y="236568"/>
                    <a:pt x="0" y="152400"/>
                  </a:cubicBezTo>
                  <a:cubicBezTo>
                    <a:pt x="0" y="68232"/>
                    <a:pt x="68231" y="0"/>
                    <a:pt x="152400" y="0"/>
                  </a:cubicBezTo>
                  <a:cubicBezTo>
                    <a:pt x="236568" y="0"/>
                    <a:pt x="304800" y="68232"/>
                    <a:pt x="304800" y="15240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509001EF-CC89-4430-A1A7-3BFFED42D050}"/>
                </a:ext>
              </a:extLst>
            </p:cNvPr>
            <p:cNvSpPr/>
            <p:nvPr/>
          </p:nvSpPr>
          <p:spPr bwMode="ltGray">
            <a:xfrm>
              <a:off x="9248775" y="6141720"/>
              <a:ext cx="309880" cy="309879"/>
            </a:xfrm>
            <a:custGeom>
              <a:avLst/>
              <a:gdLst>
                <a:gd name="connsiteX0" fmla="*/ 309880 w 309880"/>
                <a:gd name="connsiteY0" fmla="*/ 154940 h 309879"/>
                <a:gd name="connsiteX1" fmla="*/ 154940 w 309880"/>
                <a:gd name="connsiteY1" fmla="*/ 309880 h 309879"/>
                <a:gd name="connsiteX2" fmla="*/ 0 w 309880"/>
                <a:gd name="connsiteY2" fmla="*/ 154940 h 309879"/>
                <a:gd name="connsiteX3" fmla="*/ 154940 w 309880"/>
                <a:gd name="connsiteY3" fmla="*/ 0 h 309879"/>
                <a:gd name="connsiteX4" fmla="*/ 309880 w 309880"/>
                <a:gd name="connsiteY4" fmla="*/ 154940 h 30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880" h="309879">
                  <a:moveTo>
                    <a:pt x="309880" y="154940"/>
                  </a:moveTo>
                  <a:cubicBezTo>
                    <a:pt x="309880" y="240511"/>
                    <a:pt x="240512" y="309880"/>
                    <a:pt x="154940" y="309880"/>
                  </a:cubicBezTo>
                  <a:cubicBezTo>
                    <a:pt x="69369" y="309880"/>
                    <a:pt x="0" y="240511"/>
                    <a:pt x="0" y="154940"/>
                  </a:cubicBezTo>
                  <a:cubicBezTo>
                    <a:pt x="0" y="69369"/>
                    <a:pt x="69369" y="0"/>
                    <a:pt x="154940" y="0"/>
                  </a:cubicBezTo>
                  <a:cubicBezTo>
                    <a:pt x="240511" y="0"/>
                    <a:pt x="309880" y="69369"/>
                    <a:pt x="309880" y="15494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BDB3649C-5B77-4406-8AB1-99AC191D4993}"/>
                </a:ext>
              </a:extLst>
            </p:cNvPr>
            <p:cNvSpPr/>
            <p:nvPr/>
          </p:nvSpPr>
          <p:spPr bwMode="ltGray">
            <a:xfrm>
              <a:off x="8884285" y="6142990"/>
              <a:ext cx="307340" cy="307340"/>
            </a:xfrm>
            <a:custGeom>
              <a:avLst/>
              <a:gdLst>
                <a:gd name="connsiteX0" fmla="*/ 307340 w 307340"/>
                <a:gd name="connsiteY0" fmla="*/ 153670 h 307340"/>
                <a:gd name="connsiteX1" fmla="*/ 153670 w 307340"/>
                <a:gd name="connsiteY1" fmla="*/ 307340 h 307340"/>
                <a:gd name="connsiteX2" fmla="*/ 1 w 307340"/>
                <a:gd name="connsiteY2" fmla="*/ 153670 h 307340"/>
                <a:gd name="connsiteX3" fmla="*/ 153670 w 307340"/>
                <a:gd name="connsiteY3" fmla="*/ 0 h 307340"/>
                <a:gd name="connsiteX4" fmla="*/ 307340 w 307340"/>
                <a:gd name="connsiteY4" fmla="*/ 153670 h 307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340" h="307340">
                  <a:moveTo>
                    <a:pt x="307340" y="153670"/>
                  </a:moveTo>
                  <a:cubicBezTo>
                    <a:pt x="307340" y="238539"/>
                    <a:pt x="238540" y="307340"/>
                    <a:pt x="153670" y="307340"/>
                  </a:cubicBezTo>
                  <a:cubicBezTo>
                    <a:pt x="68801" y="307340"/>
                    <a:pt x="1" y="238539"/>
                    <a:pt x="1" y="153670"/>
                  </a:cubicBezTo>
                  <a:cubicBezTo>
                    <a:pt x="1" y="68800"/>
                    <a:pt x="68801" y="0"/>
                    <a:pt x="153670" y="0"/>
                  </a:cubicBezTo>
                  <a:cubicBezTo>
                    <a:pt x="238540" y="0"/>
                    <a:pt x="307340" y="68800"/>
                    <a:pt x="307340" y="15367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5B06C67B-9C07-4CE5-90D5-9DA180B7CDFF}"/>
                </a:ext>
              </a:extLst>
            </p:cNvPr>
            <p:cNvSpPr/>
            <p:nvPr/>
          </p:nvSpPr>
          <p:spPr bwMode="ltGray">
            <a:xfrm>
              <a:off x="8522334" y="6146800"/>
              <a:ext cx="299720" cy="299720"/>
            </a:xfrm>
            <a:custGeom>
              <a:avLst/>
              <a:gdLst>
                <a:gd name="connsiteX0" fmla="*/ 149860 w 299720"/>
                <a:gd name="connsiteY0" fmla="*/ 299720 h 299720"/>
                <a:gd name="connsiteX1" fmla="*/ 299720 w 299720"/>
                <a:gd name="connsiteY1" fmla="*/ 149860 h 299720"/>
                <a:gd name="connsiteX2" fmla="*/ 149860 w 299720"/>
                <a:gd name="connsiteY2" fmla="*/ 0 h 299720"/>
                <a:gd name="connsiteX3" fmla="*/ 0 w 299720"/>
                <a:gd name="connsiteY3" fmla="*/ 149860 h 299720"/>
                <a:gd name="connsiteX4" fmla="*/ 149860 w 299720"/>
                <a:gd name="connsiteY4" fmla="*/ 299720 h 299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9720" h="299720">
                  <a:moveTo>
                    <a:pt x="149860" y="299720"/>
                  </a:moveTo>
                  <a:cubicBezTo>
                    <a:pt x="232410" y="299720"/>
                    <a:pt x="299720" y="232410"/>
                    <a:pt x="299720" y="149860"/>
                  </a:cubicBezTo>
                  <a:cubicBezTo>
                    <a:pt x="299720" y="67310"/>
                    <a:pt x="232410" y="0"/>
                    <a:pt x="149860" y="0"/>
                  </a:cubicBezTo>
                  <a:cubicBezTo>
                    <a:pt x="67310" y="0"/>
                    <a:pt x="0" y="67310"/>
                    <a:pt x="0" y="149860"/>
                  </a:cubicBezTo>
                  <a:cubicBezTo>
                    <a:pt x="0" y="232410"/>
                    <a:pt x="66675" y="299720"/>
                    <a:pt x="149860" y="29972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74FDEA93-48D9-4716-8D81-4BD8A1050B28}"/>
                </a:ext>
              </a:extLst>
            </p:cNvPr>
            <p:cNvSpPr/>
            <p:nvPr/>
          </p:nvSpPr>
          <p:spPr bwMode="ltGray">
            <a:xfrm>
              <a:off x="8166734" y="6156960"/>
              <a:ext cx="279400" cy="279400"/>
            </a:xfrm>
            <a:custGeom>
              <a:avLst/>
              <a:gdLst>
                <a:gd name="connsiteX0" fmla="*/ 279400 w 279400"/>
                <a:gd name="connsiteY0" fmla="*/ 139700 h 279400"/>
                <a:gd name="connsiteX1" fmla="*/ 139700 w 279400"/>
                <a:gd name="connsiteY1" fmla="*/ 279400 h 279400"/>
                <a:gd name="connsiteX2" fmla="*/ 0 w 279400"/>
                <a:gd name="connsiteY2" fmla="*/ 139700 h 279400"/>
                <a:gd name="connsiteX3" fmla="*/ 139700 w 279400"/>
                <a:gd name="connsiteY3" fmla="*/ 0 h 279400"/>
                <a:gd name="connsiteX4" fmla="*/ 279400 w 279400"/>
                <a:gd name="connsiteY4" fmla="*/ 13970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00" h="279400">
                  <a:moveTo>
                    <a:pt x="279400" y="139700"/>
                  </a:moveTo>
                  <a:cubicBezTo>
                    <a:pt x="279400" y="216854"/>
                    <a:pt x="216854" y="279400"/>
                    <a:pt x="139700" y="279400"/>
                  </a:cubicBezTo>
                  <a:cubicBezTo>
                    <a:pt x="62546" y="279400"/>
                    <a:pt x="0" y="216854"/>
                    <a:pt x="0" y="139700"/>
                  </a:cubicBezTo>
                  <a:cubicBezTo>
                    <a:pt x="0" y="62546"/>
                    <a:pt x="62546" y="0"/>
                    <a:pt x="139700" y="0"/>
                  </a:cubicBezTo>
                  <a:cubicBezTo>
                    <a:pt x="216854" y="0"/>
                    <a:pt x="279400" y="62546"/>
                    <a:pt x="279400" y="13970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684EA69B-9957-4BD2-AA28-6F251D75C2D7}"/>
                </a:ext>
              </a:extLst>
            </p:cNvPr>
            <p:cNvSpPr/>
            <p:nvPr/>
          </p:nvSpPr>
          <p:spPr bwMode="ltGray">
            <a:xfrm>
              <a:off x="7818755" y="6175375"/>
              <a:ext cx="242569" cy="242570"/>
            </a:xfrm>
            <a:custGeom>
              <a:avLst/>
              <a:gdLst>
                <a:gd name="connsiteX0" fmla="*/ 121285 w 242569"/>
                <a:gd name="connsiteY0" fmla="*/ 242570 h 242570"/>
                <a:gd name="connsiteX1" fmla="*/ 242570 w 242569"/>
                <a:gd name="connsiteY1" fmla="*/ 121285 h 242570"/>
                <a:gd name="connsiteX2" fmla="*/ 121285 w 242569"/>
                <a:gd name="connsiteY2" fmla="*/ 0 h 242570"/>
                <a:gd name="connsiteX3" fmla="*/ 0 w 242569"/>
                <a:gd name="connsiteY3" fmla="*/ 121285 h 242570"/>
                <a:gd name="connsiteX4" fmla="*/ 121285 w 242569"/>
                <a:gd name="connsiteY4" fmla="*/ 242570 h 24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569" h="242570">
                  <a:moveTo>
                    <a:pt x="121285" y="242570"/>
                  </a:moveTo>
                  <a:cubicBezTo>
                    <a:pt x="187960" y="242570"/>
                    <a:pt x="242570" y="188595"/>
                    <a:pt x="242570" y="121285"/>
                  </a:cubicBezTo>
                  <a:cubicBezTo>
                    <a:pt x="242570" y="53975"/>
                    <a:pt x="188595" y="0"/>
                    <a:pt x="121285" y="0"/>
                  </a:cubicBezTo>
                  <a:cubicBezTo>
                    <a:pt x="54610" y="0"/>
                    <a:pt x="0" y="53975"/>
                    <a:pt x="0" y="121285"/>
                  </a:cubicBezTo>
                  <a:cubicBezTo>
                    <a:pt x="0" y="188595"/>
                    <a:pt x="54610" y="242570"/>
                    <a:pt x="121285" y="24257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7967A94C-C19C-4310-A60D-1F963422CF17}"/>
                </a:ext>
              </a:extLst>
            </p:cNvPr>
            <p:cNvSpPr/>
            <p:nvPr/>
          </p:nvSpPr>
          <p:spPr bwMode="ltGray">
            <a:xfrm>
              <a:off x="7479030" y="6201410"/>
              <a:ext cx="190500" cy="190500"/>
            </a:xfrm>
            <a:custGeom>
              <a:avLst/>
              <a:gdLst>
                <a:gd name="connsiteX0" fmla="*/ 190500 w 190500"/>
                <a:gd name="connsiteY0" fmla="*/ 95250 h 190500"/>
                <a:gd name="connsiteX1" fmla="*/ 95250 w 190500"/>
                <a:gd name="connsiteY1" fmla="*/ 190500 h 190500"/>
                <a:gd name="connsiteX2" fmla="*/ 0 w 190500"/>
                <a:gd name="connsiteY2" fmla="*/ 95250 h 190500"/>
                <a:gd name="connsiteX3" fmla="*/ 95250 w 190500"/>
                <a:gd name="connsiteY3" fmla="*/ 0 h 190500"/>
                <a:gd name="connsiteX4" fmla="*/ 190500 w 190500"/>
                <a:gd name="connsiteY4" fmla="*/ 9525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90500">
                  <a:moveTo>
                    <a:pt x="190500" y="95250"/>
                  </a:moveTo>
                  <a:cubicBezTo>
                    <a:pt x="190500" y="147855"/>
                    <a:pt x="147856" y="190500"/>
                    <a:pt x="95250" y="190500"/>
                  </a:cubicBezTo>
                  <a:cubicBezTo>
                    <a:pt x="42645" y="190500"/>
                    <a:pt x="0" y="147855"/>
                    <a:pt x="0" y="95250"/>
                  </a:cubicBezTo>
                  <a:cubicBezTo>
                    <a:pt x="0" y="42645"/>
                    <a:pt x="42645" y="0"/>
                    <a:pt x="95250" y="0"/>
                  </a:cubicBezTo>
                  <a:cubicBezTo>
                    <a:pt x="147856" y="0"/>
                    <a:pt x="190500" y="42645"/>
                    <a:pt x="190500" y="9525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55E22F98-1EAE-40B9-B12A-137006AF0EBD}"/>
                </a:ext>
              </a:extLst>
            </p:cNvPr>
            <p:cNvSpPr/>
            <p:nvPr/>
          </p:nvSpPr>
          <p:spPr bwMode="ltGray">
            <a:xfrm>
              <a:off x="7143115" y="6231254"/>
              <a:ext cx="130809" cy="130810"/>
            </a:xfrm>
            <a:custGeom>
              <a:avLst/>
              <a:gdLst>
                <a:gd name="connsiteX0" fmla="*/ 65405 w 130809"/>
                <a:gd name="connsiteY0" fmla="*/ 130810 h 130810"/>
                <a:gd name="connsiteX1" fmla="*/ 130810 w 130809"/>
                <a:gd name="connsiteY1" fmla="*/ 65405 h 130810"/>
                <a:gd name="connsiteX2" fmla="*/ 65405 w 130809"/>
                <a:gd name="connsiteY2" fmla="*/ 0 h 130810"/>
                <a:gd name="connsiteX3" fmla="*/ 0 w 130809"/>
                <a:gd name="connsiteY3" fmla="*/ 65405 h 130810"/>
                <a:gd name="connsiteX4" fmla="*/ 65405 w 130809"/>
                <a:gd name="connsiteY4" fmla="*/ 130810 h 130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809" h="130810">
                  <a:moveTo>
                    <a:pt x="65405" y="130810"/>
                  </a:moveTo>
                  <a:cubicBezTo>
                    <a:pt x="101600" y="130810"/>
                    <a:pt x="130810" y="101600"/>
                    <a:pt x="130810" y="65405"/>
                  </a:cubicBezTo>
                  <a:cubicBezTo>
                    <a:pt x="130810" y="29210"/>
                    <a:pt x="101600" y="0"/>
                    <a:pt x="65405" y="0"/>
                  </a:cubicBezTo>
                  <a:cubicBezTo>
                    <a:pt x="29210" y="0"/>
                    <a:pt x="0" y="29210"/>
                    <a:pt x="0" y="65405"/>
                  </a:cubicBezTo>
                  <a:cubicBezTo>
                    <a:pt x="0" y="101600"/>
                    <a:pt x="29210" y="130810"/>
                    <a:pt x="65405" y="13081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5D9F21AB-12FB-41DA-ABD4-20B1E30CD023}"/>
                </a:ext>
              </a:extLst>
            </p:cNvPr>
            <p:cNvSpPr/>
            <p:nvPr/>
          </p:nvSpPr>
          <p:spPr bwMode="ltGray">
            <a:xfrm>
              <a:off x="6806565" y="6260465"/>
              <a:ext cx="72390" cy="72389"/>
            </a:xfrm>
            <a:custGeom>
              <a:avLst/>
              <a:gdLst>
                <a:gd name="connsiteX0" fmla="*/ 36195 w 72390"/>
                <a:gd name="connsiteY0" fmla="*/ 72390 h 72389"/>
                <a:gd name="connsiteX1" fmla="*/ 72390 w 72390"/>
                <a:gd name="connsiteY1" fmla="*/ 36195 h 72389"/>
                <a:gd name="connsiteX2" fmla="*/ 36195 w 72390"/>
                <a:gd name="connsiteY2" fmla="*/ 0 h 72389"/>
                <a:gd name="connsiteX3" fmla="*/ 0 w 72390"/>
                <a:gd name="connsiteY3" fmla="*/ 36195 h 72389"/>
                <a:gd name="connsiteX4" fmla="*/ 36195 w 72390"/>
                <a:gd name="connsiteY4" fmla="*/ 72390 h 72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90" h="72389">
                  <a:moveTo>
                    <a:pt x="36195" y="72390"/>
                  </a:moveTo>
                  <a:cubicBezTo>
                    <a:pt x="56515" y="72390"/>
                    <a:pt x="72390" y="55880"/>
                    <a:pt x="72390" y="36195"/>
                  </a:cubicBezTo>
                  <a:cubicBezTo>
                    <a:pt x="72390" y="16510"/>
                    <a:pt x="55880" y="0"/>
                    <a:pt x="36195" y="0"/>
                  </a:cubicBezTo>
                  <a:cubicBezTo>
                    <a:pt x="16510" y="0"/>
                    <a:pt x="0" y="16510"/>
                    <a:pt x="0" y="36195"/>
                  </a:cubicBezTo>
                  <a:cubicBezTo>
                    <a:pt x="0" y="55880"/>
                    <a:pt x="15875" y="72390"/>
                    <a:pt x="36195" y="7239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DE0BF39D-F84E-4DCD-826E-0F1BF986F0BD}"/>
                </a:ext>
              </a:extLst>
            </p:cNvPr>
            <p:cNvSpPr/>
            <p:nvPr/>
          </p:nvSpPr>
          <p:spPr bwMode="ltGray">
            <a:xfrm>
              <a:off x="6459220" y="6279515"/>
              <a:ext cx="34290" cy="34290"/>
            </a:xfrm>
            <a:custGeom>
              <a:avLst/>
              <a:gdLst>
                <a:gd name="connsiteX0" fmla="*/ 34290 w 34290"/>
                <a:gd name="connsiteY0" fmla="*/ 17145 h 34290"/>
                <a:gd name="connsiteX1" fmla="*/ 17145 w 34290"/>
                <a:gd name="connsiteY1" fmla="*/ 34290 h 34290"/>
                <a:gd name="connsiteX2" fmla="*/ 0 w 34290"/>
                <a:gd name="connsiteY2" fmla="*/ 17145 h 34290"/>
                <a:gd name="connsiteX3" fmla="*/ 17145 w 34290"/>
                <a:gd name="connsiteY3" fmla="*/ 0 h 34290"/>
                <a:gd name="connsiteX4" fmla="*/ 34290 w 34290"/>
                <a:gd name="connsiteY4" fmla="*/ 17145 h 34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90" h="34290">
                  <a:moveTo>
                    <a:pt x="34290" y="17145"/>
                  </a:moveTo>
                  <a:cubicBezTo>
                    <a:pt x="34290" y="26614"/>
                    <a:pt x="26614" y="34290"/>
                    <a:pt x="17145" y="34290"/>
                  </a:cubicBezTo>
                  <a:cubicBezTo>
                    <a:pt x="7676" y="34290"/>
                    <a:pt x="0" y="26614"/>
                    <a:pt x="0" y="17145"/>
                  </a:cubicBezTo>
                  <a:cubicBezTo>
                    <a:pt x="0" y="7676"/>
                    <a:pt x="7676" y="0"/>
                    <a:pt x="17145" y="0"/>
                  </a:cubicBezTo>
                  <a:cubicBezTo>
                    <a:pt x="26614" y="0"/>
                    <a:pt x="34290" y="7676"/>
                    <a:pt x="34290" y="1714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D8D64EAE-FA36-4D3A-BF2B-36775B0B3688}"/>
                </a:ext>
              </a:extLst>
            </p:cNvPr>
            <p:cNvSpPr/>
            <p:nvPr/>
          </p:nvSpPr>
          <p:spPr bwMode="ltGray">
            <a:xfrm>
              <a:off x="11944984" y="5909945"/>
              <a:ext cx="40640" cy="40639"/>
            </a:xfrm>
            <a:custGeom>
              <a:avLst/>
              <a:gdLst>
                <a:gd name="connsiteX0" fmla="*/ 20320 w 40640"/>
                <a:gd name="connsiteY0" fmla="*/ 40640 h 40639"/>
                <a:gd name="connsiteX1" fmla="*/ 40640 w 40640"/>
                <a:gd name="connsiteY1" fmla="*/ 20320 h 40639"/>
                <a:gd name="connsiteX2" fmla="*/ 20320 w 40640"/>
                <a:gd name="connsiteY2" fmla="*/ 0 h 40639"/>
                <a:gd name="connsiteX3" fmla="*/ 0 w 40640"/>
                <a:gd name="connsiteY3" fmla="*/ 20320 h 40639"/>
                <a:gd name="connsiteX4" fmla="*/ 20320 w 40640"/>
                <a:gd name="connsiteY4" fmla="*/ 40640 h 40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40" h="40639">
                  <a:moveTo>
                    <a:pt x="20320" y="40640"/>
                  </a:moveTo>
                  <a:cubicBezTo>
                    <a:pt x="31115" y="40640"/>
                    <a:pt x="40640" y="31750"/>
                    <a:pt x="40640" y="20320"/>
                  </a:cubicBezTo>
                  <a:cubicBezTo>
                    <a:pt x="40640" y="8890"/>
                    <a:pt x="31750" y="0"/>
                    <a:pt x="20320" y="0"/>
                  </a:cubicBezTo>
                  <a:cubicBezTo>
                    <a:pt x="9525" y="0"/>
                    <a:pt x="0" y="8890"/>
                    <a:pt x="0" y="20320"/>
                  </a:cubicBezTo>
                  <a:cubicBezTo>
                    <a:pt x="0" y="31750"/>
                    <a:pt x="8890" y="40640"/>
                    <a:pt x="20320" y="4064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91DB0C18-603C-4F43-A766-013EA11D48F5}"/>
                </a:ext>
              </a:extLst>
            </p:cNvPr>
            <p:cNvSpPr/>
            <p:nvPr/>
          </p:nvSpPr>
          <p:spPr bwMode="ltGray">
            <a:xfrm>
              <a:off x="11559540" y="5890895"/>
              <a:ext cx="80009" cy="80009"/>
            </a:xfrm>
            <a:custGeom>
              <a:avLst/>
              <a:gdLst>
                <a:gd name="connsiteX0" fmla="*/ 80010 w 80009"/>
                <a:gd name="connsiteY0" fmla="*/ 40005 h 80009"/>
                <a:gd name="connsiteX1" fmla="*/ 40005 w 80009"/>
                <a:gd name="connsiteY1" fmla="*/ 80010 h 80009"/>
                <a:gd name="connsiteX2" fmla="*/ -1 w 80009"/>
                <a:gd name="connsiteY2" fmla="*/ 40005 h 80009"/>
                <a:gd name="connsiteX3" fmla="*/ 40005 w 80009"/>
                <a:gd name="connsiteY3" fmla="*/ 0 h 80009"/>
                <a:gd name="connsiteX4" fmla="*/ 80010 w 80009"/>
                <a:gd name="connsiteY4" fmla="*/ 40005 h 8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009" h="80009">
                  <a:moveTo>
                    <a:pt x="80010" y="40005"/>
                  </a:moveTo>
                  <a:cubicBezTo>
                    <a:pt x="80010" y="62099"/>
                    <a:pt x="62099" y="80010"/>
                    <a:pt x="40005" y="80010"/>
                  </a:cubicBezTo>
                  <a:cubicBezTo>
                    <a:pt x="17911" y="80010"/>
                    <a:pt x="-1" y="62099"/>
                    <a:pt x="-1" y="40005"/>
                  </a:cubicBezTo>
                  <a:cubicBezTo>
                    <a:pt x="-1" y="17911"/>
                    <a:pt x="17910" y="0"/>
                    <a:pt x="40005" y="0"/>
                  </a:cubicBezTo>
                  <a:cubicBezTo>
                    <a:pt x="62099" y="0"/>
                    <a:pt x="80010" y="17911"/>
                    <a:pt x="80010" y="4000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9237CC18-C126-47AC-ACB0-869067F50C85}"/>
                </a:ext>
              </a:extLst>
            </p:cNvPr>
            <p:cNvSpPr/>
            <p:nvPr/>
          </p:nvSpPr>
          <p:spPr bwMode="ltGray">
            <a:xfrm>
              <a:off x="11165840" y="5863590"/>
              <a:ext cx="134619" cy="134619"/>
            </a:xfrm>
            <a:custGeom>
              <a:avLst/>
              <a:gdLst>
                <a:gd name="connsiteX0" fmla="*/ 67310 w 134619"/>
                <a:gd name="connsiteY0" fmla="*/ 134620 h 134619"/>
                <a:gd name="connsiteX1" fmla="*/ 134620 w 134619"/>
                <a:gd name="connsiteY1" fmla="*/ 67310 h 134619"/>
                <a:gd name="connsiteX2" fmla="*/ 67310 w 134619"/>
                <a:gd name="connsiteY2" fmla="*/ 0 h 134619"/>
                <a:gd name="connsiteX3" fmla="*/ 0 w 134619"/>
                <a:gd name="connsiteY3" fmla="*/ 67310 h 134619"/>
                <a:gd name="connsiteX4" fmla="*/ 67310 w 134619"/>
                <a:gd name="connsiteY4" fmla="*/ 134620 h 134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619" h="134619">
                  <a:moveTo>
                    <a:pt x="67310" y="134620"/>
                  </a:moveTo>
                  <a:cubicBezTo>
                    <a:pt x="104140" y="134620"/>
                    <a:pt x="134620" y="104775"/>
                    <a:pt x="134620" y="67310"/>
                  </a:cubicBezTo>
                  <a:cubicBezTo>
                    <a:pt x="134620" y="29845"/>
                    <a:pt x="104775" y="0"/>
                    <a:pt x="67310" y="0"/>
                  </a:cubicBezTo>
                  <a:cubicBezTo>
                    <a:pt x="30480" y="0"/>
                    <a:pt x="0" y="29845"/>
                    <a:pt x="0" y="67310"/>
                  </a:cubicBezTo>
                  <a:cubicBezTo>
                    <a:pt x="0" y="104775"/>
                    <a:pt x="30480" y="134620"/>
                    <a:pt x="67310" y="13462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DE894D52-18DF-434F-9B15-4FBB68C5C4A4}"/>
                </a:ext>
              </a:extLst>
            </p:cNvPr>
            <p:cNvSpPr/>
            <p:nvPr/>
          </p:nvSpPr>
          <p:spPr bwMode="ltGray">
            <a:xfrm>
              <a:off x="10772140" y="5835650"/>
              <a:ext cx="190500" cy="190500"/>
            </a:xfrm>
            <a:custGeom>
              <a:avLst/>
              <a:gdLst>
                <a:gd name="connsiteX0" fmla="*/ 190500 w 190500"/>
                <a:gd name="connsiteY0" fmla="*/ 95250 h 190500"/>
                <a:gd name="connsiteX1" fmla="*/ 95250 w 190500"/>
                <a:gd name="connsiteY1" fmla="*/ 190500 h 190500"/>
                <a:gd name="connsiteX2" fmla="*/ 0 w 190500"/>
                <a:gd name="connsiteY2" fmla="*/ 95250 h 190500"/>
                <a:gd name="connsiteX3" fmla="*/ 95250 w 190500"/>
                <a:gd name="connsiteY3" fmla="*/ 0 h 190500"/>
                <a:gd name="connsiteX4" fmla="*/ 190500 w 190500"/>
                <a:gd name="connsiteY4" fmla="*/ 9525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90500">
                  <a:moveTo>
                    <a:pt x="190500" y="95250"/>
                  </a:moveTo>
                  <a:cubicBezTo>
                    <a:pt x="190500" y="147855"/>
                    <a:pt x="147855" y="190500"/>
                    <a:pt x="95250" y="190500"/>
                  </a:cubicBezTo>
                  <a:cubicBezTo>
                    <a:pt x="42645" y="190500"/>
                    <a:pt x="0" y="147855"/>
                    <a:pt x="0" y="95250"/>
                  </a:cubicBezTo>
                  <a:cubicBezTo>
                    <a:pt x="0" y="42645"/>
                    <a:pt x="42645" y="0"/>
                    <a:pt x="95250" y="0"/>
                  </a:cubicBezTo>
                  <a:cubicBezTo>
                    <a:pt x="147855" y="0"/>
                    <a:pt x="190500" y="42645"/>
                    <a:pt x="190500" y="9525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FADE9EF3-3748-4F67-8873-F22D25F8B36A}"/>
                </a:ext>
              </a:extLst>
            </p:cNvPr>
            <p:cNvSpPr/>
            <p:nvPr/>
          </p:nvSpPr>
          <p:spPr bwMode="ltGray">
            <a:xfrm>
              <a:off x="10382884" y="5812154"/>
              <a:ext cx="237490" cy="237490"/>
            </a:xfrm>
            <a:custGeom>
              <a:avLst/>
              <a:gdLst>
                <a:gd name="connsiteX0" fmla="*/ 118745 w 237490"/>
                <a:gd name="connsiteY0" fmla="*/ 237490 h 237490"/>
                <a:gd name="connsiteX1" fmla="*/ 237490 w 237490"/>
                <a:gd name="connsiteY1" fmla="*/ 118745 h 237490"/>
                <a:gd name="connsiteX2" fmla="*/ 118745 w 237490"/>
                <a:gd name="connsiteY2" fmla="*/ 0 h 237490"/>
                <a:gd name="connsiteX3" fmla="*/ 0 w 237490"/>
                <a:gd name="connsiteY3" fmla="*/ 118745 h 237490"/>
                <a:gd name="connsiteX4" fmla="*/ 118745 w 237490"/>
                <a:gd name="connsiteY4" fmla="*/ 237490 h 237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90" h="237490">
                  <a:moveTo>
                    <a:pt x="118745" y="237490"/>
                  </a:moveTo>
                  <a:cubicBezTo>
                    <a:pt x="184150" y="237490"/>
                    <a:pt x="237490" y="184150"/>
                    <a:pt x="237490" y="118745"/>
                  </a:cubicBezTo>
                  <a:cubicBezTo>
                    <a:pt x="237490" y="53340"/>
                    <a:pt x="184150" y="0"/>
                    <a:pt x="118745" y="0"/>
                  </a:cubicBezTo>
                  <a:cubicBezTo>
                    <a:pt x="53340" y="0"/>
                    <a:pt x="0" y="53340"/>
                    <a:pt x="0" y="118745"/>
                  </a:cubicBezTo>
                  <a:cubicBezTo>
                    <a:pt x="0" y="184150"/>
                    <a:pt x="53340" y="237490"/>
                    <a:pt x="118745" y="23749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0180ECD4-3C9B-4E51-B7A8-0BA2763A2895}"/>
                </a:ext>
              </a:extLst>
            </p:cNvPr>
            <p:cNvSpPr/>
            <p:nvPr/>
          </p:nvSpPr>
          <p:spPr bwMode="ltGray">
            <a:xfrm>
              <a:off x="10001250" y="5795645"/>
              <a:ext cx="269240" cy="269239"/>
            </a:xfrm>
            <a:custGeom>
              <a:avLst/>
              <a:gdLst>
                <a:gd name="connsiteX0" fmla="*/ 134620 w 269240"/>
                <a:gd name="connsiteY0" fmla="*/ 269240 h 269239"/>
                <a:gd name="connsiteX1" fmla="*/ 269240 w 269240"/>
                <a:gd name="connsiteY1" fmla="*/ 134620 h 269239"/>
                <a:gd name="connsiteX2" fmla="*/ 134620 w 269240"/>
                <a:gd name="connsiteY2" fmla="*/ 0 h 269239"/>
                <a:gd name="connsiteX3" fmla="*/ 0 w 269240"/>
                <a:gd name="connsiteY3" fmla="*/ 134620 h 269239"/>
                <a:gd name="connsiteX4" fmla="*/ 134620 w 269240"/>
                <a:gd name="connsiteY4" fmla="*/ 269240 h 26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240" h="269239">
                  <a:moveTo>
                    <a:pt x="134620" y="269240"/>
                  </a:moveTo>
                  <a:cubicBezTo>
                    <a:pt x="208915" y="269240"/>
                    <a:pt x="269240" y="208915"/>
                    <a:pt x="269240" y="134620"/>
                  </a:cubicBezTo>
                  <a:cubicBezTo>
                    <a:pt x="269240" y="60325"/>
                    <a:pt x="208915" y="0"/>
                    <a:pt x="134620" y="0"/>
                  </a:cubicBezTo>
                  <a:cubicBezTo>
                    <a:pt x="60325" y="0"/>
                    <a:pt x="0" y="60325"/>
                    <a:pt x="0" y="134620"/>
                  </a:cubicBezTo>
                  <a:cubicBezTo>
                    <a:pt x="0" y="209550"/>
                    <a:pt x="60325" y="269240"/>
                    <a:pt x="134620" y="26924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2C493A69-36F7-41BC-B5AC-D432F9525425}"/>
                </a:ext>
              </a:extLst>
            </p:cNvPr>
            <p:cNvSpPr/>
            <p:nvPr/>
          </p:nvSpPr>
          <p:spPr bwMode="ltGray">
            <a:xfrm>
              <a:off x="9627235" y="5788025"/>
              <a:ext cx="285750" cy="285750"/>
            </a:xfrm>
            <a:custGeom>
              <a:avLst/>
              <a:gdLst>
                <a:gd name="connsiteX0" fmla="*/ 285750 w 285750"/>
                <a:gd name="connsiteY0" fmla="*/ 142875 h 285750"/>
                <a:gd name="connsiteX1" fmla="*/ 142875 w 285750"/>
                <a:gd name="connsiteY1" fmla="*/ 285750 h 285750"/>
                <a:gd name="connsiteX2" fmla="*/ 0 w 285750"/>
                <a:gd name="connsiteY2" fmla="*/ 142875 h 285750"/>
                <a:gd name="connsiteX3" fmla="*/ 142875 w 285750"/>
                <a:gd name="connsiteY3" fmla="*/ 0 h 285750"/>
                <a:gd name="connsiteX4" fmla="*/ 285750 w 285750"/>
                <a:gd name="connsiteY4" fmla="*/ 142875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750" h="285750">
                  <a:moveTo>
                    <a:pt x="285750" y="142875"/>
                  </a:moveTo>
                  <a:cubicBezTo>
                    <a:pt x="285750" y="221783"/>
                    <a:pt x="221782" y="285750"/>
                    <a:pt x="142875" y="285750"/>
                  </a:cubicBezTo>
                  <a:cubicBezTo>
                    <a:pt x="63967" y="285750"/>
                    <a:pt x="0" y="221783"/>
                    <a:pt x="0" y="142875"/>
                  </a:cubicBezTo>
                  <a:cubicBezTo>
                    <a:pt x="0" y="63967"/>
                    <a:pt x="63967" y="0"/>
                    <a:pt x="142875" y="0"/>
                  </a:cubicBezTo>
                  <a:cubicBezTo>
                    <a:pt x="221782" y="0"/>
                    <a:pt x="285750" y="63967"/>
                    <a:pt x="285750" y="14287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9B5E05B6-5F62-4370-B53C-53E3535B04CE}"/>
                </a:ext>
              </a:extLst>
            </p:cNvPr>
            <p:cNvSpPr/>
            <p:nvPr/>
          </p:nvSpPr>
          <p:spPr bwMode="ltGray">
            <a:xfrm>
              <a:off x="9257665" y="5784850"/>
              <a:ext cx="292100" cy="292100"/>
            </a:xfrm>
            <a:custGeom>
              <a:avLst/>
              <a:gdLst>
                <a:gd name="connsiteX0" fmla="*/ 146050 w 292100"/>
                <a:gd name="connsiteY0" fmla="*/ 292100 h 292100"/>
                <a:gd name="connsiteX1" fmla="*/ 292100 w 292100"/>
                <a:gd name="connsiteY1" fmla="*/ 146050 h 292100"/>
                <a:gd name="connsiteX2" fmla="*/ 146050 w 292100"/>
                <a:gd name="connsiteY2" fmla="*/ 0 h 292100"/>
                <a:gd name="connsiteX3" fmla="*/ 0 w 292100"/>
                <a:gd name="connsiteY3" fmla="*/ 146050 h 292100"/>
                <a:gd name="connsiteX4" fmla="*/ 146050 w 292100"/>
                <a:gd name="connsiteY4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2100" h="292100">
                  <a:moveTo>
                    <a:pt x="146050" y="292100"/>
                  </a:moveTo>
                  <a:cubicBezTo>
                    <a:pt x="226695" y="292100"/>
                    <a:pt x="292100" y="226695"/>
                    <a:pt x="292100" y="146050"/>
                  </a:cubicBezTo>
                  <a:cubicBezTo>
                    <a:pt x="292100" y="65405"/>
                    <a:pt x="226695" y="0"/>
                    <a:pt x="146050" y="0"/>
                  </a:cubicBezTo>
                  <a:cubicBezTo>
                    <a:pt x="65405" y="0"/>
                    <a:pt x="0" y="65405"/>
                    <a:pt x="0" y="146050"/>
                  </a:cubicBezTo>
                  <a:cubicBezTo>
                    <a:pt x="0" y="226695"/>
                    <a:pt x="65405" y="292100"/>
                    <a:pt x="146050" y="29210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7AB5F552-970B-4DCA-A829-3EE5A6B31275}"/>
                </a:ext>
              </a:extLst>
            </p:cNvPr>
            <p:cNvSpPr/>
            <p:nvPr/>
          </p:nvSpPr>
          <p:spPr bwMode="ltGray">
            <a:xfrm>
              <a:off x="8892540" y="5785485"/>
              <a:ext cx="290830" cy="290829"/>
            </a:xfrm>
            <a:custGeom>
              <a:avLst/>
              <a:gdLst>
                <a:gd name="connsiteX0" fmla="*/ 290830 w 290830"/>
                <a:gd name="connsiteY0" fmla="*/ 145415 h 290829"/>
                <a:gd name="connsiteX1" fmla="*/ 145415 w 290830"/>
                <a:gd name="connsiteY1" fmla="*/ 290830 h 290829"/>
                <a:gd name="connsiteX2" fmla="*/ -1 w 290830"/>
                <a:gd name="connsiteY2" fmla="*/ 145415 h 290829"/>
                <a:gd name="connsiteX3" fmla="*/ 145415 w 290830"/>
                <a:gd name="connsiteY3" fmla="*/ 0 h 290829"/>
                <a:gd name="connsiteX4" fmla="*/ 290830 w 290830"/>
                <a:gd name="connsiteY4" fmla="*/ 145415 h 29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0830" h="290829">
                  <a:moveTo>
                    <a:pt x="290830" y="145415"/>
                  </a:moveTo>
                  <a:cubicBezTo>
                    <a:pt x="290830" y="225726"/>
                    <a:pt x="225725" y="290830"/>
                    <a:pt x="145415" y="290830"/>
                  </a:cubicBezTo>
                  <a:cubicBezTo>
                    <a:pt x="65104" y="290830"/>
                    <a:pt x="-1" y="225726"/>
                    <a:pt x="-1" y="145415"/>
                  </a:cubicBezTo>
                  <a:cubicBezTo>
                    <a:pt x="-1" y="65104"/>
                    <a:pt x="65104" y="0"/>
                    <a:pt x="145415" y="0"/>
                  </a:cubicBezTo>
                  <a:cubicBezTo>
                    <a:pt x="225725" y="0"/>
                    <a:pt x="290830" y="65104"/>
                    <a:pt x="290830" y="14541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A54D0BB2-647D-44B9-A2F9-7EE40196D23A}"/>
                </a:ext>
              </a:extLst>
            </p:cNvPr>
            <p:cNvSpPr/>
            <p:nvPr/>
          </p:nvSpPr>
          <p:spPr bwMode="ltGray">
            <a:xfrm>
              <a:off x="8532494" y="5791200"/>
              <a:ext cx="279400" cy="279400"/>
            </a:xfrm>
            <a:custGeom>
              <a:avLst/>
              <a:gdLst>
                <a:gd name="connsiteX0" fmla="*/ 139700 w 279400"/>
                <a:gd name="connsiteY0" fmla="*/ 279400 h 279400"/>
                <a:gd name="connsiteX1" fmla="*/ 279400 w 279400"/>
                <a:gd name="connsiteY1" fmla="*/ 139700 h 279400"/>
                <a:gd name="connsiteX2" fmla="*/ 139700 w 279400"/>
                <a:gd name="connsiteY2" fmla="*/ 0 h 279400"/>
                <a:gd name="connsiteX3" fmla="*/ 0 w 279400"/>
                <a:gd name="connsiteY3" fmla="*/ 139700 h 279400"/>
                <a:gd name="connsiteX4" fmla="*/ 139700 w 279400"/>
                <a:gd name="connsiteY4" fmla="*/ 27940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00" h="279400">
                  <a:moveTo>
                    <a:pt x="139700" y="279400"/>
                  </a:moveTo>
                  <a:cubicBezTo>
                    <a:pt x="217170" y="279400"/>
                    <a:pt x="279400" y="216535"/>
                    <a:pt x="279400" y="139700"/>
                  </a:cubicBezTo>
                  <a:cubicBezTo>
                    <a:pt x="279400" y="62865"/>
                    <a:pt x="216536" y="0"/>
                    <a:pt x="139700" y="0"/>
                  </a:cubicBezTo>
                  <a:cubicBezTo>
                    <a:pt x="62230" y="0"/>
                    <a:pt x="0" y="62865"/>
                    <a:pt x="0" y="139700"/>
                  </a:cubicBezTo>
                  <a:cubicBezTo>
                    <a:pt x="0" y="216535"/>
                    <a:pt x="62230" y="279400"/>
                    <a:pt x="139700" y="27940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64906D9E-3EC1-4B02-8DAC-116DC3161786}"/>
                </a:ext>
              </a:extLst>
            </p:cNvPr>
            <p:cNvSpPr/>
            <p:nvPr/>
          </p:nvSpPr>
          <p:spPr bwMode="ltGray">
            <a:xfrm>
              <a:off x="8178164" y="5802630"/>
              <a:ext cx="256540" cy="256540"/>
            </a:xfrm>
            <a:custGeom>
              <a:avLst/>
              <a:gdLst>
                <a:gd name="connsiteX0" fmla="*/ 256540 w 256540"/>
                <a:gd name="connsiteY0" fmla="*/ 128270 h 256540"/>
                <a:gd name="connsiteX1" fmla="*/ 128271 w 256540"/>
                <a:gd name="connsiteY1" fmla="*/ 256540 h 256540"/>
                <a:gd name="connsiteX2" fmla="*/ 1 w 256540"/>
                <a:gd name="connsiteY2" fmla="*/ 128270 h 256540"/>
                <a:gd name="connsiteX3" fmla="*/ 128271 w 256540"/>
                <a:gd name="connsiteY3" fmla="*/ 0 h 256540"/>
                <a:gd name="connsiteX4" fmla="*/ 256540 w 256540"/>
                <a:gd name="connsiteY4" fmla="*/ 128270 h 256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6540" h="256540">
                  <a:moveTo>
                    <a:pt x="256540" y="128270"/>
                  </a:moveTo>
                  <a:cubicBezTo>
                    <a:pt x="256540" y="199111"/>
                    <a:pt x="199112" y="256540"/>
                    <a:pt x="128271" y="256540"/>
                  </a:cubicBezTo>
                  <a:cubicBezTo>
                    <a:pt x="57429" y="256540"/>
                    <a:pt x="1" y="199112"/>
                    <a:pt x="1" y="128270"/>
                  </a:cubicBezTo>
                  <a:cubicBezTo>
                    <a:pt x="1" y="57429"/>
                    <a:pt x="57429" y="0"/>
                    <a:pt x="128271" y="0"/>
                  </a:cubicBezTo>
                  <a:cubicBezTo>
                    <a:pt x="199112" y="0"/>
                    <a:pt x="256540" y="57428"/>
                    <a:pt x="256540" y="12827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E57B6A4E-B158-438E-952A-F0924482EB0D}"/>
                </a:ext>
              </a:extLst>
            </p:cNvPr>
            <p:cNvSpPr/>
            <p:nvPr/>
          </p:nvSpPr>
          <p:spPr bwMode="ltGray">
            <a:xfrm>
              <a:off x="7833359" y="5824220"/>
              <a:ext cx="213359" cy="213359"/>
            </a:xfrm>
            <a:custGeom>
              <a:avLst/>
              <a:gdLst>
                <a:gd name="connsiteX0" fmla="*/ 106680 w 213359"/>
                <a:gd name="connsiteY0" fmla="*/ 213360 h 213359"/>
                <a:gd name="connsiteX1" fmla="*/ 213360 w 213359"/>
                <a:gd name="connsiteY1" fmla="*/ 106680 h 213359"/>
                <a:gd name="connsiteX2" fmla="*/ 106680 w 213359"/>
                <a:gd name="connsiteY2" fmla="*/ 0 h 213359"/>
                <a:gd name="connsiteX3" fmla="*/ 0 w 213359"/>
                <a:gd name="connsiteY3" fmla="*/ 106680 h 213359"/>
                <a:gd name="connsiteX4" fmla="*/ 106680 w 213359"/>
                <a:gd name="connsiteY4" fmla="*/ 213360 h 213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59" h="213359">
                  <a:moveTo>
                    <a:pt x="106680" y="213360"/>
                  </a:moveTo>
                  <a:cubicBezTo>
                    <a:pt x="165735" y="213360"/>
                    <a:pt x="213360" y="165735"/>
                    <a:pt x="213360" y="106680"/>
                  </a:cubicBezTo>
                  <a:cubicBezTo>
                    <a:pt x="213360" y="47625"/>
                    <a:pt x="165735" y="0"/>
                    <a:pt x="106680" y="0"/>
                  </a:cubicBezTo>
                  <a:cubicBezTo>
                    <a:pt x="47625" y="0"/>
                    <a:pt x="0" y="47625"/>
                    <a:pt x="0" y="106680"/>
                  </a:cubicBezTo>
                  <a:cubicBezTo>
                    <a:pt x="0" y="165735"/>
                    <a:pt x="48260" y="213360"/>
                    <a:pt x="106680" y="21336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B5DE983A-BE79-4ED0-AB4D-42CAB932518A}"/>
                </a:ext>
              </a:extLst>
            </p:cNvPr>
            <p:cNvSpPr/>
            <p:nvPr/>
          </p:nvSpPr>
          <p:spPr bwMode="ltGray">
            <a:xfrm>
              <a:off x="7493000" y="5849620"/>
              <a:ext cx="162559" cy="162559"/>
            </a:xfrm>
            <a:custGeom>
              <a:avLst/>
              <a:gdLst>
                <a:gd name="connsiteX0" fmla="*/ 162560 w 162559"/>
                <a:gd name="connsiteY0" fmla="*/ 81280 h 162559"/>
                <a:gd name="connsiteX1" fmla="*/ 81280 w 162559"/>
                <a:gd name="connsiteY1" fmla="*/ 162560 h 162559"/>
                <a:gd name="connsiteX2" fmla="*/ -1 w 162559"/>
                <a:gd name="connsiteY2" fmla="*/ 81280 h 162559"/>
                <a:gd name="connsiteX3" fmla="*/ 81280 w 162559"/>
                <a:gd name="connsiteY3" fmla="*/ 0 h 162559"/>
                <a:gd name="connsiteX4" fmla="*/ 162560 w 162559"/>
                <a:gd name="connsiteY4" fmla="*/ 81280 h 162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559" h="162559">
                  <a:moveTo>
                    <a:pt x="162560" y="81280"/>
                  </a:moveTo>
                  <a:cubicBezTo>
                    <a:pt x="162560" y="126170"/>
                    <a:pt x="126170" y="162560"/>
                    <a:pt x="81280" y="162560"/>
                  </a:cubicBezTo>
                  <a:cubicBezTo>
                    <a:pt x="36390" y="162560"/>
                    <a:pt x="-1" y="126170"/>
                    <a:pt x="-1" y="81280"/>
                  </a:cubicBezTo>
                  <a:cubicBezTo>
                    <a:pt x="-1" y="36390"/>
                    <a:pt x="36389" y="0"/>
                    <a:pt x="81280" y="0"/>
                  </a:cubicBezTo>
                  <a:cubicBezTo>
                    <a:pt x="126169" y="0"/>
                    <a:pt x="162560" y="36390"/>
                    <a:pt x="162560" y="8128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D3601FE6-0DC6-406A-BDB7-4CAE424751B7}"/>
                </a:ext>
              </a:extLst>
            </p:cNvPr>
            <p:cNvSpPr/>
            <p:nvPr/>
          </p:nvSpPr>
          <p:spPr bwMode="ltGray">
            <a:xfrm>
              <a:off x="7155815" y="5878195"/>
              <a:ext cx="105409" cy="105409"/>
            </a:xfrm>
            <a:custGeom>
              <a:avLst/>
              <a:gdLst>
                <a:gd name="connsiteX0" fmla="*/ 52705 w 105409"/>
                <a:gd name="connsiteY0" fmla="*/ 105410 h 105409"/>
                <a:gd name="connsiteX1" fmla="*/ 105410 w 105409"/>
                <a:gd name="connsiteY1" fmla="*/ 52705 h 105409"/>
                <a:gd name="connsiteX2" fmla="*/ 52705 w 105409"/>
                <a:gd name="connsiteY2" fmla="*/ 0 h 105409"/>
                <a:gd name="connsiteX3" fmla="*/ 0 w 105409"/>
                <a:gd name="connsiteY3" fmla="*/ 52705 h 105409"/>
                <a:gd name="connsiteX4" fmla="*/ 52705 w 105409"/>
                <a:gd name="connsiteY4" fmla="*/ 105410 h 10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409" h="105409">
                  <a:moveTo>
                    <a:pt x="52705" y="105410"/>
                  </a:moveTo>
                  <a:cubicBezTo>
                    <a:pt x="81915" y="105410"/>
                    <a:pt x="105410" y="81915"/>
                    <a:pt x="105410" y="52705"/>
                  </a:cubicBezTo>
                  <a:cubicBezTo>
                    <a:pt x="105410" y="23495"/>
                    <a:pt x="81915" y="0"/>
                    <a:pt x="52705" y="0"/>
                  </a:cubicBezTo>
                  <a:cubicBezTo>
                    <a:pt x="23495" y="0"/>
                    <a:pt x="0" y="23495"/>
                    <a:pt x="0" y="52705"/>
                  </a:cubicBezTo>
                  <a:cubicBezTo>
                    <a:pt x="0" y="81915"/>
                    <a:pt x="23495" y="105410"/>
                    <a:pt x="52705" y="10541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C445272B-3B3B-4923-924F-520BF7A0A881}"/>
                </a:ext>
              </a:extLst>
            </p:cNvPr>
            <p:cNvSpPr/>
            <p:nvPr/>
          </p:nvSpPr>
          <p:spPr bwMode="ltGray">
            <a:xfrm>
              <a:off x="6814819" y="5902959"/>
              <a:ext cx="55880" cy="55880"/>
            </a:xfrm>
            <a:custGeom>
              <a:avLst/>
              <a:gdLst>
                <a:gd name="connsiteX0" fmla="*/ 27940 w 55880"/>
                <a:gd name="connsiteY0" fmla="*/ 55880 h 55880"/>
                <a:gd name="connsiteX1" fmla="*/ 55880 w 55880"/>
                <a:gd name="connsiteY1" fmla="*/ 27940 h 55880"/>
                <a:gd name="connsiteX2" fmla="*/ 27940 w 55880"/>
                <a:gd name="connsiteY2" fmla="*/ 0 h 55880"/>
                <a:gd name="connsiteX3" fmla="*/ 0 w 55880"/>
                <a:gd name="connsiteY3" fmla="*/ 27940 h 55880"/>
                <a:gd name="connsiteX4" fmla="*/ 27940 w 55880"/>
                <a:gd name="connsiteY4" fmla="*/ 55880 h 5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880" h="55880">
                  <a:moveTo>
                    <a:pt x="27940" y="55880"/>
                  </a:moveTo>
                  <a:cubicBezTo>
                    <a:pt x="43815" y="55880"/>
                    <a:pt x="55880" y="43180"/>
                    <a:pt x="55880" y="27940"/>
                  </a:cubicBezTo>
                  <a:cubicBezTo>
                    <a:pt x="55880" y="12700"/>
                    <a:pt x="43180" y="0"/>
                    <a:pt x="27940" y="0"/>
                  </a:cubicBezTo>
                  <a:cubicBezTo>
                    <a:pt x="12700" y="0"/>
                    <a:pt x="0" y="12700"/>
                    <a:pt x="0" y="27940"/>
                  </a:cubicBezTo>
                  <a:cubicBezTo>
                    <a:pt x="0" y="43180"/>
                    <a:pt x="12065" y="55880"/>
                    <a:pt x="27940" y="5588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5DBDA549-468B-4FC7-9E14-9FB7D286CA3B}"/>
                </a:ext>
              </a:extLst>
            </p:cNvPr>
            <p:cNvSpPr/>
            <p:nvPr/>
          </p:nvSpPr>
          <p:spPr bwMode="ltGray">
            <a:xfrm>
              <a:off x="11570970" y="5535930"/>
              <a:ext cx="57150" cy="57150"/>
            </a:xfrm>
            <a:custGeom>
              <a:avLst/>
              <a:gdLst>
                <a:gd name="connsiteX0" fmla="*/ 57150 w 57150"/>
                <a:gd name="connsiteY0" fmla="*/ 28575 h 57150"/>
                <a:gd name="connsiteX1" fmla="*/ 28575 w 57150"/>
                <a:gd name="connsiteY1" fmla="*/ 57150 h 57150"/>
                <a:gd name="connsiteX2" fmla="*/ 0 w 57150"/>
                <a:gd name="connsiteY2" fmla="*/ 28575 h 57150"/>
                <a:gd name="connsiteX3" fmla="*/ 28575 w 57150"/>
                <a:gd name="connsiteY3" fmla="*/ 0 h 57150"/>
                <a:gd name="connsiteX4" fmla="*/ 57150 w 57150"/>
                <a:gd name="connsiteY4" fmla="*/ 28575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57150">
                  <a:moveTo>
                    <a:pt x="57150" y="28575"/>
                  </a:moveTo>
                  <a:cubicBezTo>
                    <a:pt x="57150" y="44357"/>
                    <a:pt x="44356" y="57150"/>
                    <a:pt x="28575" y="57150"/>
                  </a:cubicBezTo>
                  <a:cubicBezTo>
                    <a:pt x="12793" y="57150"/>
                    <a:pt x="0" y="44357"/>
                    <a:pt x="0" y="28575"/>
                  </a:cubicBezTo>
                  <a:cubicBezTo>
                    <a:pt x="0" y="12793"/>
                    <a:pt x="12793" y="0"/>
                    <a:pt x="28575" y="0"/>
                  </a:cubicBezTo>
                  <a:cubicBezTo>
                    <a:pt x="44356" y="0"/>
                    <a:pt x="57150" y="12793"/>
                    <a:pt x="57150" y="2857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E4B1A40A-0BB5-406D-8E0A-192604FD6375}"/>
                </a:ext>
              </a:extLst>
            </p:cNvPr>
            <p:cNvSpPr/>
            <p:nvPr/>
          </p:nvSpPr>
          <p:spPr bwMode="ltGray">
            <a:xfrm>
              <a:off x="11182985" y="5514340"/>
              <a:ext cx="100330" cy="100329"/>
            </a:xfrm>
            <a:custGeom>
              <a:avLst/>
              <a:gdLst>
                <a:gd name="connsiteX0" fmla="*/ 100330 w 100330"/>
                <a:gd name="connsiteY0" fmla="*/ 50165 h 100329"/>
                <a:gd name="connsiteX1" fmla="*/ 50165 w 100330"/>
                <a:gd name="connsiteY1" fmla="*/ 100330 h 100329"/>
                <a:gd name="connsiteX2" fmla="*/ 0 w 100330"/>
                <a:gd name="connsiteY2" fmla="*/ 50165 h 100329"/>
                <a:gd name="connsiteX3" fmla="*/ 50165 w 100330"/>
                <a:gd name="connsiteY3" fmla="*/ 0 h 100329"/>
                <a:gd name="connsiteX4" fmla="*/ 100330 w 100330"/>
                <a:gd name="connsiteY4" fmla="*/ 50165 h 100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330" h="100329">
                  <a:moveTo>
                    <a:pt x="100330" y="50165"/>
                  </a:moveTo>
                  <a:cubicBezTo>
                    <a:pt x="100330" y="77870"/>
                    <a:pt x="77870" y="100330"/>
                    <a:pt x="50165" y="100330"/>
                  </a:cubicBezTo>
                  <a:cubicBezTo>
                    <a:pt x="22460" y="100330"/>
                    <a:pt x="0" y="77871"/>
                    <a:pt x="0" y="50165"/>
                  </a:cubicBezTo>
                  <a:cubicBezTo>
                    <a:pt x="0" y="22460"/>
                    <a:pt x="22460" y="0"/>
                    <a:pt x="50165" y="0"/>
                  </a:cubicBezTo>
                  <a:cubicBezTo>
                    <a:pt x="77870" y="0"/>
                    <a:pt x="100330" y="22459"/>
                    <a:pt x="100330" y="5016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9D29980-09EC-48B5-A37C-3F05AC2F27D8}"/>
                </a:ext>
              </a:extLst>
            </p:cNvPr>
            <p:cNvSpPr/>
            <p:nvPr/>
          </p:nvSpPr>
          <p:spPr bwMode="ltGray">
            <a:xfrm>
              <a:off x="10791825" y="5488940"/>
              <a:ext cx="151130" cy="151129"/>
            </a:xfrm>
            <a:custGeom>
              <a:avLst/>
              <a:gdLst>
                <a:gd name="connsiteX0" fmla="*/ 151130 w 151130"/>
                <a:gd name="connsiteY0" fmla="*/ 75565 h 151129"/>
                <a:gd name="connsiteX1" fmla="*/ 75565 w 151130"/>
                <a:gd name="connsiteY1" fmla="*/ 151130 h 151129"/>
                <a:gd name="connsiteX2" fmla="*/ 0 w 151130"/>
                <a:gd name="connsiteY2" fmla="*/ 75565 h 151129"/>
                <a:gd name="connsiteX3" fmla="*/ 75565 w 151130"/>
                <a:gd name="connsiteY3" fmla="*/ 0 h 151129"/>
                <a:gd name="connsiteX4" fmla="*/ 151130 w 151130"/>
                <a:gd name="connsiteY4" fmla="*/ 75565 h 151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130" h="151129">
                  <a:moveTo>
                    <a:pt x="151130" y="75565"/>
                  </a:moveTo>
                  <a:cubicBezTo>
                    <a:pt x="151130" y="117298"/>
                    <a:pt x="117299" y="151130"/>
                    <a:pt x="75565" y="151130"/>
                  </a:cubicBezTo>
                  <a:cubicBezTo>
                    <a:pt x="33832" y="151130"/>
                    <a:pt x="0" y="117298"/>
                    <a:pt x="0" y="75565"/>
                  </a:cubicBezTo>
                  <a:cubicBezTo>
                    <a:pt x="0" y="33831"/>
                    <a:pt x="33831" y="0"/>
                    <a:pt x="75565" y="0"/>
                  </a:cubicBezTo>
                  <a:cubicBezTo>
                    <a:pt x="117298" y="0"/>
                    <a:pt x="151130" y="33831"/>
                    <a:pt x="151130" y="7556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B5BD1386-7F4A-470B-8DC8-91A43FD455C0}"/>
                </a:ext>
              </a:extLst>
            </p:cNvPr>
            <p:cNvSpPr/>
            <p:nvPr/>
          </p:nvSpPr>
          <p:spPr bwMode="ltGray">
            <a:xfrm>
              <a:off x="10404475" y="5467984"/>
              <a:ext cx="194309" cy="194310"/>
            </a:xfrm>
            <a:custGeom>
              <a:avLst/>
              <a:gdLst>
                <a:gd name="connsiteX0" fmla="*/ 97155 w 194309"/>
                <a:gd name="connsiteY0" fmla="*/ 194310 h 194310"/>
                <a:gd name="connsiteX1" fmla="*/ 194310 w 194309"/>
                <a:gd name="connsiteY1" fmla="*/ 97155 h 194310"/>
                <a:gd name="connsiteX2" fmla="*/ 97155 w 194309"/>
                <a:gd name="connsiteY2" fmla="*/ 0 h 194310"/>
                <a:gd name="connsiteX3" fmla="*/ 0 w 194309"/>
                <a:gd name="connsiteY3" fmla="*/ 97155 h 194310"/>
                <a:gd name="connsiteX4" fmla="*/ 97155 w 194309"/>
                <a:gd name="connsiteY4" fmla="*/ 194310 h 194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309" h="194310">
                  <a:moveTo>
                    <a:pt x="97155" y="194310"/>
                  </a:moveTo>
                  <a:cubicBezTo>
                    <a:pt x="151130" y="194310"/>
                    <a:pt x="194310" y="150495"/>
                    <a:pt x="194310" y="97155"/>
                  </a:cubicBezTo>
                  <a:cubicBezTo>
                    <a:pt x="194310" y="43180"/>
                    <a:pt x="150495" y="0"/>
                    <a:pt x="97155" y="0"/>
                  </a:cubicBezTo>
                  <a:cubicBezTo>
                    <a:pt x="43180" y="0"/>
                    <a:pt x="0" y="43815"/>
                    <a:pt x="0" y="97155"/>
                  </a:cubicBezTo>
                  <a:cubicBezTo>
                    <a:pt x="0" y="150495"/>
                    <a:pt x="43180" y="194310"/>
                    <a:pt x="97155" y="19431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0D187D4C-6B8B-4C7E-8634-3C7BE3A562AF}"/>
                </a:ext>
              </a:extLst>
            </p:cNvPr>
            <p:cNvSpPr/>
            <p:nvPr/>
          </p:nvSpPr>
          <p:spPr bwMode="ltGray">
            <a:xfrm>
              <a:off x="10020935" y="5449570"/>
              <a:ext cx="229869" cy="229870"/>
            </a:xfrm>
            <a:custGeom>
              <a:avLst/>
              <a:gdLst>
                <a:gd name="connsiteX0" fmla="*/ 229870 w 229869"/>
                <a:gd name="connsiteY0" fmla="*/ 114935 h 229870"/>
                <a:gd name="connsiteX1" fmla="*/ 114935 w 229869"/>
                <a:gd name="connsiteY1" fmla="*/ 229870 h 229870"/>
                <a:gd name="connsiteX2" fmla="*/ 1 w 229869"/>
                <a:gd name="connsiteY2" fmla="*/ 114935 h 229870"/>
                <a:gd name="connsiteX3" fmla="*/ 114935 w 229869"/>
                <a:gd name="connsiteY3" fmla="*/ 0 h 229870"/>
                <a:gd name="connsiteX4" fmla="*/ 229870 w 229869"/>
                <a:gd name="connsiteY4" fmla="*/ 114935 h 229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9869" h="229870">
                  <a:moveTo>
                    <a:pt x="229870" y="114935"/>
                  </a:moveTo>
                  <a:cubicBezTo>
                    <a:pt x="229870" y="178412"/>
                    <a:pt x="178412" y="229870"/>
                    <a:pt x="114935" y="229870"/>
                  </a:cubicBezTo>
                  <a:cubicBezTo>
                    <a:pt x="51459" y="229870"/>
                    <a:pt x="1" y="178412"/>
                    <a:pt x="1" y="114935"/>
                  </a:cubicBezTo>
                  <a:cubicBezTo>
                    <a:pt x="1" y="51458"/>
                    <a:pt x="51459" y="0"/>
                    <a:pt x="114935" y="0"/>
                  </a:cubicBezTo>
                  <a:cubicBezTo>
                    <a:pt x="178412" y="0"/>
                    <a:pt x="229870" y="51458"/>
                    <a:pt x="229870" y="11493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97354302-7B5C-4F33-A1A4-3CF1C6F8068D}"/>
                </a:ext>
              </a:extLst>
            </p:cNvPr>
            <p:cNvSpPr/>
            <p:nvPr/>
          </p:nvSpPr>
          <p:spPr bwMode="ltGray">
            <a:xfrm>
              <a:off x="9645015" y="5439409"/>
              <a:ext cx="250190" cy="250190"/>
            </a:xfrm>
            <a:custGeom>
              <a:avLst/>
              <a:gdLst>
                <a:gd name="connsiteX0" fmla="*/ 125095 w 250190"/>
                <a:gd name="connsiteY0" fmla="*/ 250190 h 250190"/>
                <a:gd name="connsiteX1" fmla="*/ 250190 w 250190"/>
                <a:gd name="connsiteY1" fmla="*/ 125095 h 250190"/>
                <a:gd name="connsiteX2" fmla="*/ 125095 w 250190"/>
                <a:gd name="connsiteY2" fmla="*/ 0 h 250190"/>
                <a:gd name="connsiteX3" fmla="*/ 0 w 250190"/>
                <a:gd name="connsiteY3" fmla="*/ 125095 h 250190"/>
                <a:gd name="connsiteX4" fmla="*/ 125095 w 250190"/>
                <a:gd name="connsiteY4" fmla="*/ 250190 h 250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190" h="250190">
                  <a:moveTo>
                    <a:pt x="125095" y="250190"/>
                  </a:moveTo>
                  <a:cubicBezTo>
                    <a:pt x="194310" y="250190"/>
                    <a:pt x="250190" y="194310"/>
                    <a:pt x="250190" y="125095"/>
                  </a:cubicBezTo>
                  <a:cubicBezTo>
                    <a:pt x="250190" y="55880"/>
                    <a:pt x="194310" y="0"/>
                    <a:pt x="125095" y="0"/>
                  </a:cubicBezTo>
                  <a:cubicBezTo>
                    <a:pt x="55880" y="0"/>
                    <a:pt x="0" y="55880"/>
                    <a:pt x="0" y="125095"/>
                  </a:cubicBezTo>
                  <a:cubicBezTo>
                    <a:pt x="0" y="194310"/>
                    <a:pt x="55880" y="250190"/>
                    <a:pt x="125095" y="25019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21A91951-965F-4570-B0BB-57499F7AEFCC}"/>
                </a:ext>
              </a:extLst>
            </p:cNvPr>
            <p:cNvSpPr/>
            <p:nvPr/>
          </p:nvSpPr>
          <p:spPr bwMode="ltGray">
            <a:xfrm>
              <a:off x="9273540" y="5434330"/>
              <a:ext cx="260350" cy="260350"/>
            </a:xfrm>
            <a:custGeom>
              <a:avLst/>
              <a:gdLst>
                <a:gd name="connsiteX0" fmla="*/ 260350 w 260350"/>
                <a:gd name="connsiteY0" fmla="*/ 130175 h 260350"/>
                <a:gd name="connsiteX1" fmla="*/ 130175 w 260350"/>
                <a:gd name="connsiteY1" fmla="*/ 260350 h 260350"/>
                <a:gd name="connsiteX2" fmla="*/ 0 w 260350"/>
                <a:gd name="connsiteY2" fmla="*/ 130175 h 260350"/>
                <a:gd name="connsiteX3" fmla="*/ 130175 w 260350"/>
                <a:gd name="connsiteY3" fmla="*/ 0 h 260350"/>
                <a:gd name="connsiteX4" fmla="*/ 260350 w 260350"/>
                <a:gd name="connsiteY4" fmla="*/ 130175 h 26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350" h="260350">
                  <a:moveTo>
                    <a:pt x="260350" y="130175"/>
                  </a:moveTo>
                  <a:cubicBezTo>
                    <a:pt x="260350" y="202069"/>
                    <a:pt x="202068" y="260350"/>
                    <a:pt x="130175" y="260350"/>
                  </a:cubicBezTo>
                  <a:cubicBezTo>
                    <a:pt x="58282" y="260350"/>
                    <a:pt x="0" y="202069"/>
                    <a:pt x="0" y="130175"/>
                  </a:cubicBezTo>
                  <a:cubicBezTo>
                    <a:pt x="0" y="58281"/>
                    <a:pt x="58282" y="0"/>
                    <a:pt x="130175" y="0"/>
                  </a:cubicBezTo>
                  <a:cubicBezTo>
                    <a:pt x="202068" y="0"/>
                    <a:pt x="260350" y="58281"/>
                    <a:pt x="260350" y="13017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2DE1054E-721D-410A-9063-B394A05D6737}"/>
                </a:ext>
              </a:extLst>
            </p:cNvPr>
            <p:cNvSpPr/>
            <p:nvPr/>
          </p:nvSpPr>
          <p:spPr bwMode="ltGray">
            <a:xfrm>
              <a:off x="8909684" y="5436234"/>
              <a:ext cx="256540" cy="256540"/>
            </a:xfrm>
            <a:custGeom>
              <a:avLst/>
              <a:gdLst>
                <a:gd name="connsiteX0" fmla="*/ 128270 w 256540"/>
                <a:gd name="connsiteY0" fmla="*/ 256540 h 256540"/>
                <a:gd name="connsiteX1" fmla="*/ 256540 w 256540"/>
                <a:gd name="connsiteY1" fmla="*/ 128270 h 256540"/>
                <a:gd name="connsiteX2" fmla="*/ 128270 w 256540"/>
                <a:gd name="connsiteY2" fmla="*/ 0 h 256540"/>
                <a:gd name="connsiteX3" fmla="*/ 0 w 256540"/>
                <a:gd name="connsiteY3" fmla="*/ 128270 h 256540"/>
                <a:gd name="connsiteX4" fmla="*/ 128270 w 256540"/>
                <a:gd name="connsiteY4" fmla="*/ 256540 h 256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6540" h="256540">
                  <a:moveTo>
                    <a:pt x="128270" y="256540"/>
                  </a:moveTo>
                  <a:cubicBezTo>
                    <a:pt x="198755" y="256540"/>
                    <a:pt x="256540" y="199390"/>
                    <a:pt x="256540" y="128270"/>
                  </a:cubicBezTo>
                  <a:cubicBezTo>
                    <a:pt x="256540" y="57150"/>
                    <a:pt x="199390" y="0"/>
                    <a:pt x="128270" y="0"/>
                  </a:cubicBezTo>
                  <a:cubicBezTo>
                    <a:pt x="57150" y="0"/>
                    <a:pt x="0" y="57150"/>
                    <a:pt x="0" y="128270"/>
                  </a:cubicBezTo>
                  <a:cubicBezTo>
                    <a:pt x="0" y="199390"/>
                    <a:pt x="57785" y="256540"/>
                    <a:pt x="128270" y="25654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CE4A6E57-2C10-4B00-8BEB-1BB65F4B706F}"/>
                </a:ext>
              </a:extLst>
            </p:cNvPr>
            <p:cNvSpPr/>
            <p:nvPr/>
          </p:nvSpPr>
          <p:spPr bwMode="ltGray">
            <a:xfrm>
              <a:off x="8550909" y="5443220"/>
              <a:ext cx="242570" cy="242570"/>
            </a:xfrm>
            <a:custGeom>
              <a:avLst/>
              <a:gdLst>
                <a:gd name="connsiteX0" fmla="*/ 121285 w 242570"/>
                <a:gd name="connsiteY0" fmla="*/ 242570 h 242570"/>
                <a:gd name="connsiteX1" fmla="*/ 242570 w 242570"/>
                <a:gd name="connsiteY1" fmla="*/ 121285 h 242570"/>
                <a:gd name="connsiteX2" fmla="*/ 121285 w 242570"/>
                <a:gd name="connsiteY2" fmla="*/ 0 h 242570"/>
                <a:gd name="connsiteX3" fmla="*/ 0 w 242570"/>
                <a:gd name="connsiteY3" fmla="*/ 121285 h 242570"/>
                <a:gd name="connsiteX4" fmla="*/ 121285 w 242570"/>
                <a:gd name="connsiteY4" fmla="*/ 242570 h 24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570" h="242570">
                  <a:moveTo>
                    <a:pt x="121285" y="242570"/>
                  </a:moveTo>
                  <a:cubicBezTo>
                    <a:pt x="187960" y="242570"/>
                    <a:pt x="242570" y="188595"/>
                    <a:pt x="242570" y="121285"/>
                  </a:cubicBezTo>
                  <a:cubicBezTo>
                    <a:pt x="242570" y="53975"/>
                    <a:pt x="188595" y="0"/>
                    <a:pt x="121285" y="0"/>
                  </a:cubicBezTo>
                  <a:cubicBezTo>
                    <a:pt x="54610" y="0"/>
                    <a:pt x="0" y="53975"/>
                    <a:pt x="0" y="121285"/>
                  </a:cubicBezTo>
                  <a:cubicBezTo>
                    <a:pt x="0" y="188595"/>
                    <a:pt x="53975" y="242570"/>
                    <a:pt x="121285" y="24257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C8B4D255-A61A-4A6E-8F8D-302E06E83D20}"/>
                </a:ext>
              </a:extLst>
            </p:cNvPr>
            <p:cNvSpPr/>
            <p:nvPr/>
          </p:nvSpPr>
          <p:spPr bwMode="ltGray">
            <a:xfrm>
              <a:off x="8199119" y="5457190"/>
              <a:ext cx="214630" cy="214629"/>
            </a:xfrm>
            <a:custGeom>
              <a:avLst/>
              <a:gdLst>
                <a:gd name="connsiteX0" fmla="*/ 214630 w 214630"/>
                <a:gd name="connsiteY0" fmla="*/ 107315 h 214629"/>
                <a:gd name="connsiteX1" fmla="*/ 107315 w 214630"/>
                <a:gd name="connsiteY1" fmla="*/ 214630 h 214629"/>
                <a:gd name="connsiteX2" fmla="*/ 0 w 214630"/>
                <a:gd name="connsiteY2" fmla="*/ 107315 h 214629"/>
                <a:gd name="connsiteX3" fmla="*/ 107315 w 214630"/>
                <a:gd name="connsiteY3" fmla="*/ 0 h 214629"/>
                <a:gd name="connsiteX4" fmla="*/ 214630 w 214630"/>
                <a:gd name="connsiteY4" fmla="*/ 107315 h 214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630" h="214629">
                  <a:moveTo>
                    <a:pt x="214630" y="107315"/>
                  </a:moveTo>
                  <a:cubicBezTo>
                    <a:pt x="214630" y="166583"/>
                    <a:pt x="166583" y="214630"/>
                    <a:pt x="107315" y="214630"/>
                  </a:cubicBezTo>
                  <a:cubicBezTo>
                    <a:pt x="48046" y="214630"/>
                    <a:pt x="0" y="166583"/>
                    <a:pt x="0" y="107315"/>
                  </a:cubicBezTo>
                  <a:cubicBezTo>
                    <a:pt x="0" y="48046"/>
                    <a:pt x="48046" y="0"/>
                    <a:pt x="107315" y="0"/>
                  </a:cubicBezTo>
                  <a:cubicBezTo>
                    <a:pt x="166583" y="0"/>
                    <a:pt x="214630" y="48046"/>
                    <a:pt x="214630" y="10731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5A75A72D-0BFF-419D-8C7A-9DCA50EA1CB1}"/>
                </a:ext>
              </a:extLst>
            </p:cNvPr>
            <p:cNvSpPr/>
            <p:nvPr/>
          </p:nvSpPr>
          <p:spPr bwMode="ltGray">
            <a:xfrm>
              <a:off x="7854315" y="5478780"/>
              <a:ext cx="171450" cy="171450"/>
            </a:xfrm>
            <a:custGeom>
              <a:avLst/>
              <a:gdLst>
                <a:gd name="connsiteX0" fmla="*/ 171450 w 171450"/>
                <a:gd name="connsiteY0" fmla="*/ 85725 h 171450"/>
                <a:gd name="connsiteX1" fmla="*/ 85725 w 171450"/>
                <a:gd name="connsiteY1" fmla="*/ 171450 h 171450"/>
                <a:gd name="connsiteX2" fmla="*/ 0 w 171450"/>
                <a:gd name="connsiteY2" fmla="*/ 85725 h 171450"/>
                <a:gd name="connsiteX3" fmla="*/ 85725 w 171450"/>
                <a:gd name="connsiteY3" fmla="*/ 0 h 171450"/>
                <a:gd name="connsiteX4" fmla="*/ 171450 w 171450"/>
                <a:gd name="connsiteY4" fmla="*/ 85725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171450">
                  <a:moveTo>
                    <a:pt x="171450" y="85725"/>
                  </a:moveTo>
                  <a:cubicBezTo>
                    <a:pt x="171450" y="133070"/>
                    <a:pt x="133070" y="171450"/>
                    <a:pt x="85725" y="171450"/>
                  </a:cubicBezTo>
                  <a:cubicBezTo>
                    <a:pt x="38381" y="171450"/>
                    <a:pt x="0" y="133070"/>
                    <a:pt x="0" y="85725"/>
                  </a:cubicBezTo>
                  <a:cubicBezTo>
                    <a:pt x="0" y="38380"/>
                    <a:pt x="38381" y="0"/>
                    <a:pt x="85725" y="0"/>
                  </a:cubicBezTo>
                  <a:cubicBezTo>
                    <a:pt x="133070" y="0"/>
                    <a:pt x="171450" y="38380"/>
                    <a:pt x="171450" y="8572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76ED6024-2FA3-45D4-9EED-2172574AA897}"/>
                </a:ext>
              </a:extLst>
            </p:cNvPr>
            <p:cNvSpPr/>
            <p:nvPr/>
          </p:nvSpPr>
          <p:spPr bwMode="ltGray">
            <a:xfrm>
              <a:off x="7512050" y="5502275"/>
              <a:ext cx="124459" cy="124459"/>
            </a:xfrm>
            <a:custGeom>
              <a:avLst/>
              <a:gdLst>
                <a:gd name="connsiteX0" fmla="*/ 124460 w 124459"/>
                <a:gd name="connsiteY0" fmla="*/ 62230 h 124459"/>
                <a:gd name="connsiteX1" fmla="*/ 62230 w 124459"/>
                <a:gd name="connsiteY1" fmla="*/ 124460 h 124459"/>
                <a:gd name="connsiteX2" fmla="*/ -1 w 124459"/>
                <a:gd name="connsiteY2" fmla="*/ 62230 h 124459"/>
                <a:gd name="connsiteX3" fmla="*/ 62230 w 124459"/>
                <a:gd name="connsiteY3" fmla="*/ 0 h 124459"/>
                <a:gd name="connsiteX4" fmla="*/ 124460 w 124459"/>
                <a:gd name="connsiteY4" fmla="*/ 62230 h 124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59" h="124459">
                  <a:moveTo>
                    <a:pt x="124460" y="62230"/>
                  </a:moveTo>
                  <a:cubicBezTo>
                    <a:pt x="124460" y="96599"/>
                    <a:pt x="96599" y="124460"/>
                    <a:pt x="62230" y="124460"/>
                  </a:cubicBezTo>
                  <a:cubicBezTo>
                    <a:pt x="27861" y="124460"/>
                    <a:pt x="-1" y="96598"/>
                    <a:pt x="-1" y="62230"/>
                  </a:cubicBezTo>
                  <a:cubicBezTo>
                    <a:pt x="-1" y="27861"/>
                    <a:pt x="27860" y="0"/>
                    <a:pt x="62230" y="0"/>
                  </a:cubicBezTo>
                  <a:cubicBezTo>
                    <a:pt x="96598" y="0"/>
                    <a:pt x="124460" y="27861"/>
                    <a:pt x="124460" y="6223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C84B5571-C256-47BA-A347-7883058358A2}"/>
                </a:ext>
              </a:extLst>
            </p:cNvPr>
            <p:cNvSpPr/>
            <p:nvPr/>
          </p:nvSpPr>
          <p:spPr bwMode="ltGray">
            <a:xfrm>
              <a:off x="7169784" y="5526404"/>
              <a:ext cx="77470" cy="77470"/>
            </a:xfrm>
            <a:custGeom>
              <a:avLst/>
              <a:gdLst>
                <a:gd name="connsiteX0" fmla="*/ 38735 w 77470"/>
                <a:gd name="connsiteY0" fmla="*/ 77470 h 77470"/>
                <a:gd name="connsiteX1" fmla="*/ 77470 w 77470"/>
                <a:gd name="connsiteY1" fmla="*/ 38735 h 77470"/>
                <a:gd name="connsiteX2" fmla="*/ 38735 w 77470"/>
                <a:gd name="connsiteY2" fmla="*/ 0 h 77470"/>
                <a:gd name="connsiteX3" fmla="*/ 0 w 77470"/>
                <a:gd name="connsiteY3" fmla="*/ 38735 h 77470"/>
                <a:gd name="connsiteX4" fmla="*/ 38735 w 77470"/>
                <a:gd name="connsiteY4" fmla="*/ 77470 h 77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470" h="77470">
                  <a:moveTo>
                    <a:pt x="38735" y="77470"/>
                  </a:moveTo>
                  <a:cubicBezTo>
                    <a:pt x="60325" y="77470"/>
                    <a:pt x="77470" y="60325"/>
                    <a:pt x="77470" y="38735"/>
                  </a:cubicBezTo>
                  <a:cubicBezTo>
                    <a:pt x="77470" y="17145"/>
                    <a:pt x="60325" y="0"/>
                    <a:pt x="38735" y="0"/>
                  </a:cubicBezTo>
                  <a:cubicBezTo>
                    <a:pt x="17145" y="0"/>
                    <a:pt x="0" y="17145"/>
                    <a:pt x="0" y="38735"/>
                  </a:cubicBezTo>
                  <a:cubicBezTo>
                    <a:pt x="0" y="60325"/>
                    <a:pt x="17145" y="77470"/>
                    <a:pt x="38735" y="7747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5210692E-5F4A-4AEB-88DD-6BE4623203A7}"/>
                </a:ext>
              </a:extLst>
            </p:cNvPr>
            <p:cNvSpPr/>
            <p:nvPr/>
          </p:nvSpPr>
          <p:spPr bwMode="ltGray">
            <a:xfrm>
              <a:off x="6822440" y="5544184"/>
              <a:ext cx="40640" cy="40640"/>
            </a:xfrm>
            <a:custGeom>
              <a:avLst/>
              <a:gdLst>
                <a:gd name="connsiteX0" fmla="*/ 20320 w 40640"/>
                <a:gd name="connsiteY0" fmla="*/ 40640 h 40640"/>
                <a:gd name="connsiteX1" fmla="*/ 40640 w 40640"/>
                <a:gd name="connsiteY1" fmla="*/ 20320 h 40640"/>
                <a:gd name="connsiteX2" fmla="*/ 20320 w 40640"/>
                <a:gd name="connsiteY2" fmla="*/ 0 h 40640"/>
                <a:gd name="connsiteX3" fmla="*/ 0 w 40640"/>
                <a:gd name="connsiteY3" fmla="*/ 20320 h 40640"/>
                <a:gd name="connsiteX4" fmla="*/ 20320 w 40640"/>
                <a:gd name="connsiteY4" fmla="*/ 40640 h 40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40" h="40640">
                  <a:moveTo>
                    <a:pt x="20320" y="40640"/>
                  </a:moveTo>
                  <a:cubicBezTo>
                    <a:pt x="31115" y="40640"/>
                    <a:pt x="40640" y="31750"/>
                    <a:pt x="40640" y="20320"/>
                  </a:cubicBezTo>
                  <a:cubicBezTo>
                    <a:pt x="40640" y="9525"/>
                    <a:pt x="31750" y="0"/>
                    <a:pt x="20320" y="0"/>
                  </a:cubicBezTo>
                  <a:cubicBezTo>
                    <a:pt x="8890" y="0"/>
                    <a:pt x="0" y="8890"/>
                    <a:pt x="0" y="20320"/>
                  </a:cubicBezTo>
                  <a:cubicBezTo>
                    <a:pt x="0" y="31750"/>
                    <a:pt x="8890" y="40640"/>
                    <a:pt x="20320" y="4064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6DF4E676-FA94-498C-B55F-7687E7F77D5D}"/>
                </a:ext>
              </a:extLst>
            </p:cNvPr>
            <p:cNvSpPr/>
            <p:nvPr/>
          </p:nvSpPr>
          <p:spPr bwMode="ltGray">
            <a:xfrm>
              <a:off x="11581130" y="5180965"/>
              <a:ext cx="35559" cy="35559"/>
            </a:xfrm>
            <a:custGeom>
              <a:avLst/>
              <a:gdLst>
                <a:gd name="connsiteX0" fmla="*/ 35560 w 35559"/>
                <a:gd name="connsiteY0" fmla="*/ 17780 h 35559"/>
                <a:gd name="connsiteX1" fmla="*/ 17780 w 35559"/>
                <a:gd name="connsiteY1" fmla="*/ 0 h 35559"/>
                <a:gd name="connsiteX2" fmla="*/ 0 w 35559"/>
                <a:gd name="connsiteY2" fmla="*/ 17780 h 35559"/>
                <a:gd name="connsiteX3" fmla="*/ 17780 w 35559"/>
                <a:gd name="connsiteY3" fmla="*/ 35560 h 35559"/>
                <a:gd name="connsiteX4" fmla="*/ 35560 w 35559"/>
                <a:gd name="connsiteY4" fmla="*/ 17780 h 35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559" h="35559">
                  <a:moveTo>
                    <a:pt x="35560" y="17780"/>
                  </a:moveTo>
                  <a:cubicBezTo>
                    <a:pt x="35560" y="8255"/>
                    <a:pt x="27939" y="0"/>
                    <a:pt x="17780" y="0"/>
                  </a:cubicBezTo>
                  <a:cubicBezTo>
                    <a:pt x="7620" y="0"/>
                    <a:pt x="0" y="7620"/>
                    <a:pt x="0" y="17780"/>
                  </a:cubicBezTo>
                  <a:cubicBezTo>
                    <a:pt x="0" y="27305"/>
                    <a:pt x="7620" y="35560"/>
                    <a:pt x="17780" y="35560"/>
                  </a:cubicBezTo>
                  <a:cubicBezTo>
                    <a:pt x="27939" y="35560"/>
                    <a:pt x="35560" y="27940"/>
                    <a:pt x="35560" y="1778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FE98450F-3BE5-4A61-A2CC-C23ED9712160}"/>
                </a:ext>
              </a:extLst>
            </p:cNvPr>
            <p:cNvSpPr/>
            <p:nvPr/>
          </p:nvSpPr>
          <p:spPr bwMode="ltGray">
            <a:xfrm>
              <a:off x="11200765" y="5166359"/>
              <a:ext cx="64769" cy="64770"/>
            </a:xfrm>
            <a:custGeom>
              <a:avLst/>
              <a:gdLst>
                <a:gd name="connsiteX0" fmla="*/ 0 w 64769"/>
                <a:gd name="connsiteY0" fmla="*/ 32385 h 64770"/>
                <a:gd name="connsiteX1" fmla="*/ 32385 w 64769"/>
                <a:gd name="connsiteY1" fmla="*/ 64770 h 64770"/>
                <a:gd name="connsiteX2" fmla="*/ 64770 w 64769"/>
                <a:gd name="connsiteY2" fmla="*/ 32385 h 64770"/>
                <a:gd name="connsiteX3" fmla="*/ 32385 w 64769"/>
                <a:gd name="connsiteY3" fmla="*/ 0 h 64770"/>
                <a:gd name="connsiteX4" fmla="*/ 0 w 64769"/>
                <a:gd name="connsiteY4" fmla="*/ 32385 h 64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769" h="64770">
                  <a:moveTo>
                    <a:pt x="0" y="32385"/>
                  </a:moveTo>
                  <a:cubicBezTo>
                    <a:pt x="0" y="50165"/>
                    <a:pt x="14605" y="64770"/>
                    <a:pt x="32385" y="64770"/>
                  </a:cubicBezTo>
                  <a:cubicBezTo>
                    <a:pt x="50165" y="64770"/>
                    <a:pt x="64770" y="50165"/>
                    <a:pt x="64770" y="32385"/>
                  </a:cubicBezTo>
                  <a:cubicBezTo>
                    <a:pt x="64770" y="14605"/>
                    <a:pt x="50165" y="0"/>
                    <a:pt x="32385" y="0"/>
                  </a:cubicBezTo>
                  <a:cubicBezTo>
                    <a:pt x="14605" y="0"/>
                    <a:pt x="0" y="14605"/>
                    <a:pt x="0" y="3238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BFECEE85-3775-4695-B7FB-8D57FAEAEB58}"/>
                </a:ext>
              </a:extLst>
            </p:cNvPr>
            <p:cNvSpPr/>
            <p:nvPr/>
          </p:nvSpPr>
          <p:spPr bwMode="ltGray">
            <a:xfrm>
              <a:off x="10815955" y="5147309"/>
              <a:ext cx="102869" cy="102870"/>
            </a:xfrm>
            <a:custGeom>
              <a:avLst/>
              <a:gdLst>
                <a:gd name="connsiteX0" fmla="*/ 0 w 102869"/>
                <a:gd name="connsiteY0" fmla="*/ 51435 h 102870"/>
                <a:gd name="connsiteX1" fmla="*/ 51435 w 102869"/>
                <a:gd name="connsiteY1" fmla="*/ 102870 h 102870"/>
                <a:gd name="connsiteX2" fmla="*/ 102870 w 102869"/>
                <a:gd name="connsiteY2" fmla="*/ 51435 h 102870"/>
                <a:gd name="connsiteX3" fmla="*/ 51435 w 102869"/>
                <a:gd name="connsiteY3" fmla="*/ 0 h 102870"/>
                <a:gd name="connsiteX4" fmla="*/ 0 w 102869"/>
                <a:gd name="connsiteY4" fmla="*/ 51435 h 102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9" h="102870">
                  <a:moveTo>
                    <a:pt x="0" y="51435"/>
                  </a:moveTo>
                  <a:cubicBezTo>
                    <a:pt x="0" y="80010"/>
                    <a:pt x="22860" y="102870"/>
                    <a:pt x="51435" y="102870"/>
                  </a:cubicBezTo>
                  <a:cubicBezTo>
                    <a:pt x="80010" y="102870"/>
                    <a:pt x="102870" y="80010"/>
                    <a:pt x="102870" y="51435"/>
                  </a:cubicBezTo>
                  <a:cubicBezTo>
                    <a:pt x="102870" y="22860"/>
                    <a:pt x="80010" y="0"/>
                    <a:pt x="51435" y="0"/>
                  </a:cubicBezTo>
                  <a:cubicBezTo>
                    <a:pt x="22860" y="0"/>
                    <a:pt x="0" y="22860"/>
                    <a:pt x="0" y="5143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CEED21DC-4DA5-4B3D-9E57-9DCD2253EC02}"/>
                </a:ext>
              </a:extLst>
            </p:cNvPr>
            <p:cNvSpPr/>
            <p:nvPr/>
          </p:nvSpPr>
          <p:spPr bwMode="ltGray">
            <a:xfrm>
              <a:off x="10430509" y="5127625"/>
              <a:ext cx="142240" cy="142240"/>
            </a:xfrm>
            <a:custGeom>
              <a:avLst/>
              <a:gdLst>
                <a:gd name="connsiteX0" fmla="*/ 71120 w 142240"/>
                <a:gd name="connsiteY0" fmla="*/ 142240 h 142240"/>
                <a:gd name="connsiteX1" fmla="*/ 142240 w 142240"/>
                <a:gd name="connsiteY1" fmla="*/ 71120 h 142240"/>
                <a:gd name="connsiteX2" fmla="*/ 71120 w 142240"/>
                <a:gd name="connsiteY2" fmla="*/ 0 h 142240"/>
                <a:gd name="connsiteX3" fmla="*/ 0 w 142240"/>
                <a:gd name="connsiteY3" fmla="*/ 71120 h 142240"/>
                <a:gd name="connsiteX4" fmla="*/ 71120 w 142240"/>
                <a:gd name="connsiteY4" fmla="*/ 142240 h 142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240" h="142240">
                  <a:moveTo>
                    <a:pt x="71120" y="142240"/>
                  </a:moveTo>
                  <a:cubicBezTo>
                    <a:pt x="110490" y="142240"/>
                    <a:pt x="142240" y="110490"/>
                    <a:pt x="142240" y="71120"/>
                  </a:cubicBezTo>
                  <a:cubicBezTo>
                    <a:pt x="142240" y="31750"/>
                    <a:pt x="110490" y="0"/>
                    <a:pt x="71120" y="0"/>
                  </a:cubicBezTo>
                  <a:cubicBezTo>
                    <a:pt x="31750" y="0"/>
                    <a:pt x="0" y="31750"/>
                    <a:pt x="0" y="71120"/>
                  </a:cubicBezTo>
                  <a:cubicBezTo>
                    <a:pt x="0" y="110490"/>
                    <a:pt x="31750" y="142240"/>
                    <a:pt x="71120" y="14224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F52EF416-4A9F-4340-80CD-7B25882F93FB}"/>
                </a:ext>
              </a:extLst>
            </p:cNvPr>
            <p:cNvSpPr/>
            <p:nvPr/>
          </p:nvSpPr>
          <p:spPr bwMode="ltGray">
            <a:xfrm>
              <a:off x="10048875" y="5112384"/>
              <a:ext cx="173990" cy="173990"/>
            </a:xfrm>
            <a:custGeom>
              <a:avLst/>
              <a:gdLst>
                <a:gd name="connsiteX0" fmla="*/ 86995 w 173990"/>
                <a:gd name="connsiteY0" fmla="*/ 173990 h 173990"/>
                <a:gd name="connsiteX1" fmla="*/ 173990 w 173990"/>
                <a:gd name="connsiteY1" fmla="*/ 86995 h 173990"/>
                <a:gd name="connsiteX2" fmla="*/ 86995 w 173990"/>
                <a:gd name="connsiteY2" fmla="*/ 0 h 173990"/>
                <a:gd name="connsiteX3" fmla="*/ 0 w 173990"/>
                <a:gd name="connsiteY3" fmla="*/ 86995 h 173990"/>
                <a:gd name="connsiteX4" fmla="*/ 86995 w 173990"/>
                <a:gd name="connsiteY4" fmla="*/ 173990 h 173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" h="173990">
                  <a:moveTo>
                    <a:pt x="86995" y="173990"/>
                  </a:moveTo>
                  <a:cubicBezTo>
                    <a:pt x="135255" y="173990"/>
                    <a:pt x="173990" y="134620"/>
                    <a:pt x="173990" y="86995"/>
                  </a:cubicBezTo>
                  <a:cubicBezTo>
                    <a:pt x="173990" y="39370"/>
                    <a:pt x="134620" y="0"/>
                    <a:pt x="86995" y="0"/>
                  </a:cubicBezTo>
                  <a:cubicBezTo>
                    <a:pt x="38735" y="0"/>
                    <a:pt x="0" y="39370"/>
                    <a:pt x="0" y="86995"/>
                  </a:cubicBezTo>
                  <a:cubicBezTo>
                    <a:pt x="0" y="134620"/>
                    <a:pt x="38735" y="173990"/>
                    <a:pt x="86995" y="17399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BF17DDAB-124C-451F-910E-B4FEC4A58C0D}"/>
                </a:ext>
              </a:extLst>
            </p:cNvPr>
            <p:cNvSpPr/>
            <p:nvPr/>
          </p:nvSpPr>
          <p:spPr bwMode="ltGray">
            <a:xfrm>
              <a:off x="9671684" y="5100954"/>
              <a:ext cx="195580" cy="195579"/>
            </a:xfrm>
            <a:custGeom>
              <a:avLst/>
              <a:gdLst>
                <a:gd name="connsiteX0" fmla="*/ 0 w 195580"/>
                <a:gd name="connsiteY0" fmla="*/ 97790 h 195579"/>
                <a:gd name="connsiteX1" fmla="*/ 97790 w 195580"/>
                <a:gd name="connsiteY1" fmla="*/ 195580 h 195579"/>
                <a:gd name="connsiteX2" fmla="*/ 195580 w 195580"/>
                <a:gd name="connsiteY2" fmla="*/ 97790 h 195579"/>
                <a:gd name="connsiteX3" fmla="*/ 97790 w 195580"/>
                <a:gd name="connsiteY3" fmla="*/ 0 h 195579"/>
                <a:gd name="connsiteX4" fmla="*/ 0 w 195580"/>
                <a:gd name="connsiteY4" fmla="*/ 97790 h 195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" h="195579">
                  <a:moveTo>
                    <a:pt x="0" y="97790"/>
                  </a:moveTo>
                  <a:cubicBezTo>
                    <a:pt x="0" y="151765"/>
                    <a:pt x="43815" y="195580"/>
                    <a:pt x="97790" y="195580"/>
                  </a:cubicBezTo>
                  <a:cubicBezTo>
                    <a:pt x="151765" y="195580"/>
                    <a:pt x="195580" y="151765"/>
                    <a:pt x="195580" y="97790"/>
                  </a:cubicBezTo>
                  <a:cubicBezTo>
                    <a:pt x="195580" y="43815"/>
                    <a:pt x="151765" y="0"/>
                    <a:pt x="97790" y="0"/>
                  </a:cubicBezTo>
                  <a:cubicBezTo>
                    <a:pt x="43815" y="0"/>
                    <a:pt x="0" y="43815"/>
                    <a:pt x="0" y="9779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F4040FF1-C833-4FE2-B91F-7BC2371E976A}"/>
                </a:ext>
              </a:extLst>
            </p:cNvPr>
            <p:cNvSpPr/>
            <p:nvPr/>
          </p:nvSpPr>
          <p:spPr bwMode="ltGray">
            <a:xfrm>
              <a:off x="9301480" y="5096510"/>
              <a:ext cx="204469" cy="204470"/>
            </a:xfrm>
            <a:custGeom>
              <a:avLst/>
              <a:gdLst>
                <a:gd name="connsiteX0" fmla="*/ 204470 w 204469"/>
                <a:gd name="connsiteY0" fmla="*/ 102235 h 204470"/>
                <a:gd name="connsiteX1" fmla="*/ 102235 w 204469"/>
                <a:gd name="connsiteY1" fmla="*/ 204470 h 204470"/>
                <a:gd name="connsiteX2" fmla="*/ 0 w 204469"/>
                <a:gd name="connsiteY2" fmla="*/ 102235 h 204470"/>
                <a:gd name="connsiteX3" fmla="*/ 102235 w 204469"/>
                <a:gd name="connsiteY3" fmla="*/ 0 h 204470"/>
                <a:gd name="connsiteX4" fmla="*/ 204470 w 204469"/>
                <a:gd name="connsiteY4" fmla="*/ 102235 h 204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469" h="204470">
                  <a:moveTo>
                    <a:pt x="204470" y="102235"/>
                  </a:moveTo>
                  <a:cubicBezTo>
                    <a:pt x="204470" y="158698"/>
                    <a:pt x="158698" y="204470"/>
                    <a:pt x="102235" y="204470"/>
                  </a:cubicBezTo>
                  <a:cubicBezTo>
                    <a:pt x="45773" y="204470"/>
                    <a:pt x="0" y="158698"/>
                    <a:pt x="0" y="102235"/>
                  </a:cubicBezTo>
                  <a:cubicBezTo>
                    <a:pt x="0" y="45772"/>
                    <a:pt x="45773" y="0"/>
                    <a:pt x="102235" y="0"/>
                  </a:cubicBezTo>
                  <a:cubicBezTo>
                    <a:pt x="158698" y="0"/>
                    <a:pt x="204470" y="45772"/>
                    <a:pt x="204470" y="10223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BF1A8F3D-F1F6-4F9B-B400-D68FCA106F96}"/>
                </a:ext>
              </a:extLst>
            </p:cNvPr>
            <p:cNvSpPr/>
            <p:nvPr/>
          </p:nvSpPr>
          <p:spPr bwMode="ltGray">
            <a:xfrm>
              <a:off x="8936990" y="5097779"/>
              <a:ext cx="201929" cy="201929"/>
            </a:xfrm>
            <a:custGeom>
              <a:avLst/>
              <a:gdLst>
                <a:gd name="connsiteX0" fmla="*/ 100965 w 201929"/>
                <a:gd name="connsiteY0" fmla="*/ 201930 h 201929"/>
                <a:gd name="connsiteX1" fmla="*/ 201930 w 201929"/>
                <a:gd name="connsiteY1" fmla="*/ 100965 h 201929"/>
                <a:gd name="connsiteX2" fmla="*/ 100965 w 201929"/>
                <a:gd name="connsiteY2" fmla="*/ 0 h 201929"/>
                <a:gd name="connsiteX3" fmla="*/ 0 w 201929"/>
                <a:gd name="connsiteY3" fmla="*/ 100965 h 201929"/>
                <a:gd name="connsiteX4" fmla="*/ 100965 w 201929"/>
                <a:gd name="connsiteY4" fmla="*/ 201930 h 201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929" h="201929">
                  <a:moveTo>
                    <a:pt x="100965" y="201930"/>
                  </a:moveTo>
                  <a:cubicBezTo>
                    <a:pt x="156845" y="201930"/>
                    <a:pt x="201930" y="156845"/>
                    <a:pt x="201930" y="100965"/>
                  </a:cubicBezTo>
                  <a:cubicBezTo>
                    <a:pt x="201930" y="45085"/>
                    <a:pt x="156845" y="0"/>
                    <a:pt x="100965" y="0"/>
                  </a:cubicBezTo>
                  <a:cubicBezTo>
                    <a:pt x="45085" y="0"/>
                    <a:pt x="0" y="45085"/>
                    <a:pt x="0" y="100965"/>
                  </a:cubicBezTo>
                  <a:cubicBezTo>
                    <a:pt x="0" y="156845"/>
                    <a:pt x="45085" y="201930"/>
                    <a:pt x="100965" y="20193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FC2CBAD7-6C60-40B5-A2C9-B1EE6AC78D33}"/>
                </a:ext>
              </a:extLst>
            </p:cNvPr>
            <p:cNvSpPr/>
            <p:nvPr/>
          </p:nvSpPr>
          <p:spPr bwMode="ltGray">
            <a:xfrm>
              <a:off x="8578850" y="5106034"/>
              <a:ext cx="186690" cy="186690"/>
            </a:xfrm>
            <a:custGeom>
              <a:avLst/>
              <a:gdLst>
                <a:gd name="connsiteX0" fmla="*/ 93345 w 186690"/>
                <a:gd name="connsiteY0" fmla="*/ 186690 h 186690"/>
                <a:gd name="connsiteX1" fmla="*/ 186690 w 186690"/>
                <a:gd name="connsiteY1" fmla="*/ 93345 h 186690"/>
                <a:gd name="connsiteX2" fmla="*/ 93345 w 186690"/>
                <a:gd name="connsiteY2" fmla="*/ 0 h 186690"/>
                <a:gd name="connsiteX3" fmla="*/ 0 w 186690"/>
                <a:gd name="connsiteY3" fmla="*/ 93345 h 186690"/>
                <a:gd name="connsiteX4" fmla="*/ 93345 w 186690"/>
                <a:gd name="connsiteY4" fmla="*/ 186690 h 186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690" h="186690">
                  <a:moveTo>
                    <a:pt x="93345" y="186690"/>
                  </a:moveTo>
                  <a:cubicBezTo>
                    <a:pt x="144780" y="186690"/>
                    <a:pt x="186690" y="144780"/>
                    <a:pt x="186690" y="93345"/>
                  </a:cubicBezTo>
                  <a:cubicBezTo>
                    <a:pt x="186690" y="41910"/>
                    <a:pt x="144780" y="0"/>
                    <a:pt x="93345" y="0"/>
                  </a:cubicBezTo>
                  <a:cubicBezTo>
                    <a:pt x="41910" y="0"/>
                    <a:pt x="0" y="41910"/>
                    <a:pt x="0" y="93345"/>
                  </a:cubicBezTo>
                  <a:cubicBezTo>
                    <a:pt x="0" y="144780"/>
                    <a:pt x="41275" y="186690"/>
                    <a:pt x="93345" y="18669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D3E5C908-5FA8-471B-97C3-37B80EFD6608}"/>
                </a:ext>
              </a:extLst>
            </p:cNvPr>
            <p:cNvSpPr/>
            <p:nvPr/>
          </p:nvSpPr>
          <p:spPr bwMode="ltGray">
            <a:xfrm>
              <a:off x="8226425" y="5118734"/>
              <a:ext cx="160019" cy="160020"/>
            </a:xfrm>
            <a:custGeom>
              <a:avLst/>
              <a:gdLst>
                <a:gd name="connsiteX0" fmla="*/ 80010 w 160019"/>
                <a:gd name="connsiteY0" fmla="*/ 160020 h 160020"/>
                <a:gd name="connsiteX1" fmla="*/ 160020 w 160019"/>
                <a:gd name="connsiteY1" fmla="*/ 80010 h 160020"/>
                <a:gd name="connsiteX2" fmla="*/ 80010 w 160019"/>
                <a:gd name="connsiteY2" fmla="*/ 0 h 160020"/>
                <a:gd name="connsiteX3" fmla="*/ 0 w 160019"/>
                <a:gd name="connsiteY3" fmla="*/ 80010 h 160020"/>
                <a:gd name="connsiteX4" fmla="*/ 80010 w 160019"/>
                <a:gd name="connsiteY4" fmla="*/ 160020 h 160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19" h="160020">
                  <a:moveTo>
                    <a:pt x="80010" y="160020"/>
                  </a:moveTo>
                  <a:cubicBezTo>
                    <a:pt x="123825" y="160020"/>
                    <a:pt x="160020" y="124460"/>
                    <a:pt x="160020" y="80010"/>
                  </a:cubicBezTo>
                  <a:cubicBezTo>
                    <a:pt x="160020" y="35560"/>
                    <a:pt x="124460" y="0"/>
                    <a:pt x="80010" y="0"/>
                  </a:cubicBezTo>
                  <a:cubicBezTo>
                    <a:pt x="35560" y="0"/>
                    <a:pt x="0" y="35560"/>
                    <a:pt x="0" y="80010"/>
                  </a:cubicBezTo>
                  <a:cubicBezTo>
                    <a:pt x="0" y="124460"/>
                    <a:pt x="35560" y="160020"/>
                    <a:pt x="80010" y="16002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368971A6-5B4C-4676-81D9-7E1FAFB743AE}"/>
                </a:ext>
              </a:extLst>
            </p:cNvPr>
            <p:cNvSpPr/>
            <p:nvPr/>
          </p:nvSpPr>
          <p:spPr bwMode="ltGray">
            <a:xfrm>
              <a:off x="7879080" y="5137784"/>
              <a:ext cx="121919" cy="121920"/>
            </a:xfrm>
            <a:custGeom>
              <a:avLst/>
              <a:gdLst>
                <a:gd name="connsiteX0" fmla="*/ 60960 w 121919"/>
                <a:gd name="connsiteY0" fmla="*/ 121920 h 121920"/>
                <a:gd name="connsiteX1" fmla="*/ 121920 w 121919"/>
                <a:gd name="connsiteY1" fmla="*/ 60960 h 121920"/>
                <a:gd name="connsiteX2" fmla="*/ 60960 w 121919"/>
                <a:gd name="connsiteY2" fmla="*/ 0 h 121920"/>
                <a:gd name="connsiteX3" fmla="*/ 0 w 121919"/>
                <a:gd name="connsiteY3" fmla="*/ 60960 h 121920"/>
                <a:gd name="connsiteX4" fmla="*/ 60960 w 121919"/>
                <a:gd name="connsiteY4" fmla="*/ 121920 h 12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919" h="121920">
                  <a:moveTo>
                    <a:pt x="60960" y="121920"/>
                  </a:moveTo>
                  <a:cubicBezTo>
                    <a:pt x="94614" y="121920"/>
                    <a:pt x="121920" y="94615"/>
                    <a:pt x="121920" y="60960"/>
                  </a:cubicBezTo>
                  <a:cubicBezTo>
                    <a:pt x="121920" y="27305"/>
                    <a:pt x="94614" y="0"/>
                    <a:pt x="60960" y="0"/>
                  </a:cubicBezTo>
                  <a:cubicBezTo>
                    <a:pt x="27305" y="0"/>
                    <a:pt x="0" y="27305"/>
                    <a:pt x="0" y="60960"/>
                  </a:cubicBezTo>
                  <a:cubicBezTo>
                    <a:pt x="0" y="94615"/>
                    <a:pt x="27305" y="121920"/>
                    <a:pt x="60960" y="12192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F75425E5-CFA8-4841-A457-5F0CBD906B7E}"/>
                </a:ext>
              </a:extLst>
            </p:cNvPr>
            <p:cNvSpPr/>
            <p:nvPr/>
          </p:nvSpPr>
          <p:spPr bwMode="ltGray">
            <a:xfrm>
              <a:off x="7532369" y="5156834"/>
              <a:ext cx="83820" cy="83820"/>
            </a:xfrm>
            <a:custGeom>
              <a:avLst/>
              <a:gdLst>
                <a:gd name="connsiteX0" fmla="*/ 41911 w 83820"/>
                <a:gd name="connsiteY0" fmla="*/ 83820 h 83820"/>
                <a:gd name="connsiteX1" fmla="*/ 83820 w 83820"/>
                <a:gd name="connsiteY1" fmla="*/ 41910 h 83820"/>
                <a:gd name="connsiteX2" fmla="*/ 41911 w 83820"/>
                <a:gd name="connsiteY2" fmla="*/ 0 h 83820"/>
                <a:gd name="connsiteX3" fmla="*/ 0 w 83820"/>
                <a:gd name="connsiteY3" fmla="*/ 41910 h 83820"/>
                <a:gd name="connsiteX4" fmla="*/ 41911 w 83820"/>
                <a:gd name="connsiteY4" fmla="*/ 83820 h 83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820" h="83820">
                  <a:moveTo>
                    <a:pt x="41911" y="83820"/>
                  </a:moveTo>
                  <a:cubicBezTo>
                    <a:pt x="65405" y="83820"/>
                    <a:pt x="83820" y="64770"/>
                    <a:pt x="83820" y="41910"/>
                  </a:cubicBezTo>
                  <a:cubicBezTo>
                    <a:pt x="83820" y="18415"/>
                    <a:pt x="64770" y="0"/>
                    <a:pt x="41911" y="0"/>
                  </a:cubicBezTo>
                  <a:cubicBezTo>
                    <a:pt x="19050" y="0"/>
                    <a:pt x="0" y="19050"/>
                    <a:pt x="0" y="41910"/>
                  </a:cubicBezTo>
                  <a:cubicBezTo>
                    <a:pt x="0" y="65405"/>
                    <a:pt x="19050" y="83820"/>
                    <a:pt x="41911" y="8382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F912B7EE-0657-4055-81F4-6713170E0A4F}"/>
                </a:ext>
              </a:extLst>
            </p:cNvPr>
            <p:cNvSpPr/>
            <p:nvPr/>
          </p:nvSpPr>
          <p:spPr bwMode="ltGray">
            <a:xfrm>
              <a:off x="7183755" y="5173979"/>
              <a:ext cx="49529" cy="49529"/>
            </a:xfrm>
            <a:custGeom>
              <a:avLst/>
              <a:gdLst>
                <a:gd name="connsiteX0" fmla="*/ 24764 w 49529"/>
                <a:gd name="connsiteY0" fmla="*/ 49530 h 49529"/>
                <a:gd name="connsiteX1" fmla="*/ 49530 w 49529"/>
                <a:gd name="connsiteY1" fmla="*/ 24765 h 49529"/>
                <a:gd name="connsiteX2" fmla="*/ 24764 w 49529"/>
                <a:gd name="connsiteY2" fmla="*/ 0 h 49529"/>
                <a:gd name="connsiteX3" fmla="*/ 0 w 49529"/>
                <a:gd name="connsiteY3" fmla="*/ 24765 h 49529"/>
                <a:gd name="connsiteX4" fmla="*/ 24764 w 49529"/>
                <a:gd name="connsiteY4" fmla="*/ 49530 h 4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29" h="49529">
                  <a:moveTo>
                    <a:pt x="24764" y="49530"/>
                  </a:moveTo>
                  <a:cubicBezTo>
                    <a:pt x="38100" y="49530"/>
                    <a:pt x="49530" y="38735"/>
                    <a:pt x="49530" y="24765"/>
                  </a:cubicBezTo>
                  <a:cubicBezTo>
                    <a:pt x="49530" y="11430"/>
                    <a:pt x="38735" y="0"/>
                    <a:pt x="24764" y="0"/>
                  </a:cubicBezTo>
                  <a:cubicBezTo>
                    <a:pt x="11430" y="0"/>
                    <a:pt x="0" y="10795"/>
                    <a:pt x="0" y="24765"/>
                  </a:cubicBezTo>
                  <a:cubicBezTo>
                    <a:pt x="0" y="38735"/>
                    <a:pt x="11430" y="49530"/>
                    <a:pt x="24764" y="4953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9B3151BF-101B-4101-A928-B5A8F6E83E5A}"/>
                </a:ext>
              </a:extLst>
            </p:cNvPr>
            <p:cNvSpPr/>
            <p:nvPr/>
          </p:nvSpPr>
          <p:spPr bwMode="ltGray">
            <a:xfrm>
              <a:off x="11215369" y="4814570"/>
              <a:ext cx="36830" cy="36829"/>
            </a:xfrm>
            <a:custGeom>
              <a:avLst/>
              <a:gdLst>
                <a:gd name="connsiteX0" fmla="*/ 0 w 36830"/>
                <a:gd name="connsiteY0" fmla="*/ 18415 h 36829"/>
                <a:gd name="connsiteX1" fmla="*/ 18415 w 36830"/>
                <a:gd name="connsiteY1" fmla="*/ 36830 h 36829"/>
                <a:gd name="connsiteX2" fmla="*/ 36830 w 36830"/>
                <a:gd name="connsiteY2" fmla="*/ 18415 h 36829"/>
                <a:gd name="connsiteX3" fmla="*/ 18415 w 36830"/>
                <a:gd name="connsiteY3" fmla="*/ 0 h 36829"/>
                <a:gd name="connsiteX4" fmla="*/ 0 w 36830"/>
                <a:gd name="connsiteY4" fmla="*/ 18415 h 3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30" h="36829">
                  <a:moveTo>
                    <a:pt x="0" y="18415"/>
                  </a:moveTo>
                  <a:cubicBezTo>
                    <a:pt x="0" y="28575"/>
                    <a:pt x="8255" y="36830"/>
                    <a:pt x="18415" y="36830"/>
                  </a:cubicBezTo>
                  <a:cubicBezTo>
                    <a:pt x="28575" y="36830"/>
                    <a:pt x="36830" y="28575"/>
                    <a:pt x="36830" y="18415"/>
                  </a:cubicBezTo>
                  <a:cubicBezTo>
                    <a:pt x="36830" y="8255"/>
                    <a:pt x="28575" y="0"/>
                    <a:pt x="18415" y="0"/>
                  </a:cubicBezTo>
                  <a:cubicBezTo>
                    <a:pt x="8255" y="0"/>
                    <a:pt x="0" y="8255"/>
                    <a:pt x="0" y="1841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7B22DE07-A305-4F27-B869-C502AAC506B4}"/>
                </a:ext>
              </a:extLst>
            </p:cNvPr>
            <p:cNvSpPr/>
            <p:nvPr/>
          </p:nvSpPr>
          <p:spPr bwMode="ltGray">
            <a:xfrm>
              <a:off x="10836909" y="4802504"/>
              <a:ext cx="60959" cy="60960"/>
            </a:xfrm>
            <a:custGeom>
              <a:avLst/>
              <a:gdLst>
                <a:gd name="connsiteX0" fmla="*/ 30480 w 60959"/>
                <a:gd name="connsiteY0" fmla="*/ 60960 h 60960"/>
                <a:gd name="connsiteX1" fmla="*/ 60960 w 60959"/>
                <a:gd name="connsiteY1" fmla="*/ 30480 h 60960"/>
                <a:gd name="connsiteX2" fmla="*/ 30480 w 60959"/>
                <a:gd name="connsiteY2" fmla="*/ 0 h 60960"/>
                <a:gd name="connsiteX3" fmla="*/ 0 w 60959"/>
                <a:gd name="connsiteY3" fmla="*/ 30480 h 60960"/>
                <a:gd name="connsiteX4" fmla="*/ 30480 w 60959"/>
                <a:gd name="connsiteY4" fmla="*/ 60960 h 6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59" h="60960">
                  <a:moveTo>
                    <a:pt x="30480" y="60960"/>
                  </a:moveTo>
                  <a:cubicBezTo>
                    <a:pt x="47625" y="60960"/>
                    <a:pt x="60960" y="46990"/>
                    <a:pt x="60960" y="30480"/>
                  </a:cubicBezTo>
                  <a:cubicBezTo>
                    <a:pt x="60960" y="13335"/>
                    <a:pt x="46990" y="0"/>
                    <a:pt x="30480" y="0"/>
                  </a:cubicBezTo>
                  <a:cubicBezTo>
                    <a:pt x="13970" y="0"/>
                    <a:pt x="0" y="13970"/>
                    <a:pt x="0" y="30480"/>
                  </a:cubicBezTo>
                  <a:cubicBezTo>
                    <a:pt x="0" y="47625"/>
                    <a:pt x="13970" y="60960"/>
                    <a:pt x="30480" y="6096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C2DC2B85-1F6F-490A-A422-E48EAC2A5B60}"/>
                </a:ext>
              </a:extLst>
            </p:cNvPr>
            <p:cNvSpPr/>
            <p:nvPr/>
          </p:nvSpPr>
          <p:spPr bwMode="ltGray">
            <a:xfrm>
              <a:off x="10456544" y="4787900"/>
              <a:ext cx="90170" cy="90170"/>
            </a:xfrm>
            <a:custGeom>
              <a:avLst/>
              <a:gdLst>
                <a:gd name="connsiteX0" fmla="*/ 0 w 90170"/>
                <a:gd name="connsiteY0" fmla="*/ 45085 h 90170"/>
                <a:gd name="connsiteX1" fmla="*/ 45086 w 90170"/>
                <a:gd name="connsiteY1" fmla="*/ 90170 h 90170"/>
                <a:gd name="connsiteX2" fmla="*/ 90170 w 90170"/>
                <a:gd name="connsiteY2" fmla="*/ 45085 h 90170"/>
                <a:gd name="connsiteX3" fmla="*/ 45086 w 90170"/>
                <a:gd name="connsiteY3" fmla="*/ 0 h 90170"/>
                <a:gd name="connsiteX4" fmla="*/ 0 w 90170"/>
                <a:gd name="connsiteY4" fmla="*/ 45085 h 90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170" h="90170">
                  <a:moveTo>
                    <a:pt x="0" y="45085"/>
                  </a:moveTo>
                  <a:cubicBezTo>
                    <a:pt x="0" y="69850"/>
                    <a:pt x="20320" y="90170"/>
                    <a:pt x="45086" y="90170"/>
                  </a:cubicBezTo>
                  <a:cubicBezTo>
                    <a:pt x="69850" y="90170"/>
                    <a:pt x="90170" y="69850"/>
                    <a:pt x="90170" y="45085"/>
                  </a:cubicBezTo>
                  <a:cubicBezTo>
                    <a:pt x="90170" y="20320"/>
                    <a:pt x="69850" y="0"/>
                    <a:pt x="45086" y="0"/>
                  </a:cubicBezTo>
                  <a:cubicBezTo>
                    <a:pt x="20320" y="0"/>
                    <a:pt x="0" y="20320"/>
                    <a:pt x="0" y="4508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98AE3489-53A8-4384-9267-91D8F863AD7F}"/>
                </a:ext>
              </a:extLst>
            </p:cNvPr>
            <p:cNvSpPr/>
            <p:nvPr/>
          </p:nvSpPr>
          <p:spPr bwMode="ltGray">
            <a:xfrm>
              <a:off x="10078719" y="4775834"/>
              <a:ext cx="114300" cy="114300"/>
            </a:xfrm>
            <a:custGeom>
              <a:avLst/>
              <a:gdLst>
                <a:gd name="connsiteX0" fmla="*/ 0 w 114300"/>
                <a:gd name="connsiteY0" fmla="*/ 57150 h 114300"/>
                <a:gd name="connsiteX1" fmla="*/ 57150 w 114300"/>
                <a:gd name="connsiteY1" fmla="*/ 114300 h 114300"/>
                <a:gd name="connsiteX2" fmla="*/ 114300 w 114300"/>
                <a:gd name="connsiteY2" fmla="*/ 57150 h 114300"/>
                <a:gd name="connsiteX3" fmla="*/ 57150 w 114300"/>
                <a:gd name="connsiteY3" fmla="*/ 0 h 114300"/>
                <a:gd name="connsiteX4" fmla="*/ 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0" y="57150"/>
                  </a:moveTo>
                  <a:cubicBezTo>
                    <a:pt x="0" y="88900"/>
                    <a:pt x="25400" y="114300"/>
                    <a:pt x="57150" y="114300"/>
                  </a:cubicBezTo>
                  <a:cubicBezTo>
                    <a:pt x="88900" y="114300"/>
                    <a:pt x="114300" y="88900"/>
                    <a:pt x="114300" y="57150"/>
                  </a:cubicBezTo>
                  <a:cubicBezTo>
                    <a:pt x="114300" y="25400"/>
                    <a:pt x="88900" y="0"/>
                    <a:pt x="57150" y="0"/>
                  </a:cubicBezTo>
                  <a:cubicBezTo>
                    <a:pt x="25400" y="0"/>
                    <a:pt x="0" y="25400"/>
                    <a:pt x="0" y="5715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7755A882-1719-4E73-8E9A-113C5F6DC104}"/>
                </a:ext>
              </a:extLst>
            </p:cNvPr>
            <p:cNvSpPr/>
            <p:nvPr/>
          </p:nvSpPr>
          <p:spPr bwMode="ltGray">
            <a:xfrm>
              <a:off x="9704069" y="4766945"/>
              <a:ext cx="132080" cy="132079"/>
            </a:xfrm>
            <a:custGeom>
              <a:avLst/>
              <a:gdLst>
                <a:gd name="connsiteX0" fmla="*/ 66040 w 132080"/>
                <a:gd name="connsiteY0" fmla="*/ 132080 h 132079"/>
                <a:gd name="connsiteX1" fmla="*/ 132080 w 132080"/>
                <a:gd name="connsiteY1" fmla="*/ 66040 h 132079"/>
                <a:gd name="connsiteX2" fmla="*/ 66040 w 132080"/>
                <a:gd name="connsiteY2" fmla="*/ 0 h 132079"/>
                <a:gd name="connsiteX3" fmla="*/ 0 w 132080"/>
                <a:gd name="connsiteY3" fmla="*/ 66040 h 132079"/>
                <a:gd name="connsiteX4" fmla="*/ 66040 w 132080"/>
                <a:gd name="connsiteY4" fmla="*/ 132080 h 132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80" h="132079">
                  <a:moveTo>
                    <a:pt x="66040" y="132080"/>
                  </a:moveTo>
                  <a:cubicBezTo>
                    <a:pt x="102236" y="132080"/>
                    <a:pt x="132080" y="102870"/>
                    <a:pt x="132080" y="66040"/>
                  </a:cubicBezTo>
                  <a:cubicBezTo>
                    <a:pt x="132080" y="29845"/>
                    <a:pt x="102870" y="0"/>
                    <a:pt x="66040" y="0"/>
                  </a:cubicBezTo>
                  <a:cubicBezTo>
                    <a:pt x="29845" y="0"/>
                    <a:pt x="0" y="29210"/>
                    <a:pt x="0" y="66040"/>
                  </a:cubicBezTo>
                  <a:cubicBezTo>
                    <a:pt x="0" y="102235"/>
                    <a:pt x="29211" y="132080"/>
                    <a:pt x="66040" y="13208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357DFBBA-78DE-41CE-A9F1-77B5A00889A7}"/>
                </a:ext>
              </a:extLst>
            </p:cNvPr>
            <p:cNvSpPr/>
            <p:nvPr/>
          </p:nvSpPr>
          <p:spPr bwMode="ltGray">
            <a:xfrm>
              <a:off x="9333865" y="4762500"/>
              <a:ext cx="140969" cy="140970"/>
            </a:xfrm>
            <a:custGeom>
              <a:avLst/>
              <a:gdLst>
                <a:gd name="connsiteX0" fmla="*/ 0 w 140969"/>
                <a:gd name="connsiteY0" fmla="*/ 70485 h 140970"/>
                <a:gd name="connsiteX1" fmla="*/ 70485 w 140969"/>
                <a:gd name="connsiteY1" fmla="*/ 140970 h 140970"/>
                <a:gd name="connsiteX2" fmla="*/ 140970 w 140969"/>
                <a:gd name="connsiteY2" fmla="*/ 70485 h 140970"/>
                <a:gd name="connsiteX3" fmla="*/ 70485 w 140969"/>
                <a:gd name="connsiteY3" fmla="*/ 0 h 140970"/>
                <a:gd name="connsiteX4" fmla="*/ 0 w 140969"/>
                <a:gd name="connsiteY4" fmla="*/ 70485 h 14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969" h="140970">
                  <a:moveTo>
                    <a:pt x="0" y="70485"/>
                  </a:moveTo>
                  <a:cubicBezTo>
                    <a:pt x="0" y="109220"/>
                    <a:pt x="31750" y="140970"/>
                    <a:pt x="70485" y="140970"/>
                  </a:cubicBezTo>
                  <a:cubicBezTo>
                    <a:pt x="109220" y="140970"/>
                    <a:pt x="140970" y="109220"/>
                    <a:pt x="140970" y="70485"/>
                  </a:cubicBezTo>
                  <a:cubicBezTo>
                    <a:pt x="140970" y="31750"/>
                    <a:pt x="109220" y="0"/>
                    <a:pt x="70485" y="0"/>
                  </a:cubicBezTo>
                  <a:cubicBezTo>
                    <a:pt x="31750" y="0"/>
                    <a:pt x="0" y="31750"/>
                    <a:pt x="0" y="7048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032C007E-A1F5-480B-9560-5DE24DA0872C}"/>
                </a:ext>
              </a:extLst>
            </p:cNvPr>
            <p:cNvSpPr/>
            <p:nvPr/>
          </p:nvSpPr>
          <p:spPr bwMode="ltGray">
            <a:xfrm>
              <a:off x="8969375" y="4764404"/>
              <a:ext cx="137159" cy="137160"/>
            </a:xfrm>
            <a:custGeom>
              <a:avLst/>
              <a:gdLst>
                <a:gd name="connsiteX0" fmla="*/ 0 w 137159"/>
                <a:gd name="connsiteY0" fmla="*/ 68580 h 137160"/>
                <a:gd name="connsiteX1" fmla="*/ 68580 w 137159"/>
                <a:gd name="connsiteY1" fmla="*/ 137160 h 137160"/>
                <a:gd name="connsiteX2" fmla="*/ 137160 w 137159"/>
                <a:gd name="connsiteY2" fmla="*/ 68580 h 137160"/>
                <a:gd name="connsiteX3" fmla="*/ 68580 w 137159"/>
                <a:gd name="connsiteY3" fmla="*/ 0 h 137160"/>
                <a:gd name="connsiteX4" fmla="*/ 0 w 137159"/>
                <a:gd name="connsiteY4" fmla="*/ 68580 h 13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159" h="137160">
                  <a:moveTo>
                    <a:pt x="0" y="68580"/>
                  </a:moveTo>
                  <a:cubicBezTo>
                    <a:pt x="0" y="106680"/>
                    <a:pt x="30480" y="137160"/>
                    <a:pt x="68580" y="137160"/>
                  </a:cubicBezTo>
                  <a:cubicBezTo>
                    <a:pt x="106680" y="137160"/>
                    <a:pt x="137160" y="106680"/>
                    <a:pt x="137160" y="68580"/>
                  </a:cubicBezTo>
                  <a:cubicBezTo>
                    <a:pt x="137160" y="30480"/>
                    <a:pt x="106680" y="0"/>
                    <a:pt x="68580" y="0"/>
                  </a:cubicBezTo>
                  <a:cubicBezTo>
                    <a:pt x="30480" y="0"/>
                    <a:pt x="0" y="31115"/>
                    <a:pt x="0" y="6858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42542FFB-85B3-4CD0-8B5F-ECEAA81978EA}"/>
                </a:ext>
              </a:extLst>
            </p:cNvPr>
            <p:cNvSpPr/>
            <p:nvPr/>
          </p:nvSpPr>
          <p:spPr bwMode="ltGray">
            <a:xfrm>
              <a:off x="8609965" y="4770755"/>
              <a:ext cx="124459" cy="124459"/>
            </a:xfrm>
            <a:custGeom>
              <a:avLst/>
              <a:gdLst>
                <a:gd name="connsiteX0" fmla="*/ 124460 w 124459"/>
                <a:gd name="connsiteY0" fmla="*/ 62230 h 124459"/>
                <a:gd name="connsiteX1" fmla="*/ 62230 w 124459"/>
                <a:gd name="connsiteY1" fmla="*/ 124460 h 124459"/>
                <a:gd name="connsiteX2" fmla="*/ -1 w 124459"/>
                <a:gd name="connsiteY2" fmla="*/ 62230 h 124459"/>
                <a:gd name="connsiteX3" fmla="*/ 62230 w 124459"/>
                <a:gd name="connsiteY3" fmla="*/ 0 h 124459"/>
                <a:gd name="connsiteX4" fmla="*/ 124460 w 124459"/>
                <a:gd name="connsiteY4" fmla="*/ 62230 h 124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59" h="124459">
                  <a:moveTo>
                    <a:pt x="124460" y="62230"/>
                  </a:moveTo>
                  <a:cubicBezTo>
                    <a:pt x="124460" y="96599"/>
                    <a:pt x="96599" y="124460"/>
                    <a:pt x="62230" y="124460"/>
                  </a:cubicBezTo>
                  <a:cubicBezTo>
                    <a:pt x="27861" y="124460"/>
                    <a:pt x="-1" y="96598"/>
                    <a:pt x="-1" y="62230"/>
                  </a:cubicBezTo>
                  <a:cubicBezTo>
                    <a:pt x="-1" y="27861"/>
                    <a:pt x="27860" y="0"/>
                    <a:pt x="62230" y="0"/>
                  </a:cubicBezTo>
                  <a:cubicBezTo>
                    <a:pt x="96598" y="0"/>
                    <a:pt x="124460" y="27861"/>
                    <a:pt x="124460" y="6223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B43D5F0D-E772-4E08-B5A3-53416C73D173}"/>
                </a:ext>
              </a:extLst>
            </p:cNvPr>
            <p:cNvSpPr/>
            <p:nvPr/>
          </p:nvSpPr>
          <p:spPr bwMode="ltGray">
            <a:xfrm>
              <a:off x="8255634" y="4782184"/>
              <a:ext cx="101600" cy="101600"/>
            </a:xfrm>
            <a:custGeom>
              <a:avLst/>
              <a:gdLst>
                <a:gd name="connsiteX0" fmla="*/ 50800 w 101600"/>
                <a:gd name="connsiteY0" fmla="*/ 101600 h 101600"/>
                <a:gd name="connsiteX1" fmla="*/ 101600 w 101600"/>
                <a:gd name="connsiteY1" fmla="*/ 50800 h 101600"/>
                <a:gd name="connsiteX2" fmla="*/ 50800 w 101600"/>
                <a:gd name="connsiteY2" fmla="*/ 0 h 101600"/>
                <a:gd name="connsiteX3" fmla="*/ 0 w 101600"/>
                <a:gd name="connsiteY3" fmla="*/ 50800 h 101600"/>
                <a:gd name="connsiteX4" fmla="*/ 50800 w 101600"/>
                <a:gd name="connsiteY4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600" h="101600">
                  <a:moveTo>
                    <a:pt x="50800" y="101600"/>
                  </a:moveTo>
                  <a:cubicBezTo>
                    <a:pt x="78740" y="101600"/>
                    <a:pt x="101600" y="78740"/>
                    <a:pt x="101600" y="50800"/>
                  </a:cubicBezTo>
                  <a:cubicBezTo>
                    <a:pt x="101600" y="22860"/>
                    <a:pt x="78740" y="0"/>
                    <a:pt x="50800" y="0"/>
                  </a:cubicBezTo>
                  <a:cubicBezTo>
                    <a:pt x="22860" y="0"/>
                    <a:pt x="0" y="22860"/>
                    <a:pt x="0" y="50800"/>
                  </a:cubicBezTo>
                  <a:cubicBezTo>
                    <a:pt x="0" y="78740"/>
                    <a:pt x="22225" y="101600"/>
                    <a:pt x="50800" y="10160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8F3E2A19-1F67-44F5-9ACF-4BF72955DE29}"/>
                </a:ext>
              </a:extLst>
            </p:cNvPr>
            <p:cNvSpPr/>
            <p:nvPr/>
          </p:nvSpPr>
          <p:spPr bwMode="ltGray">
            <a:xfrm>
              <a:off x="7903209" y="4796154"/>
              <a:ext cx="73659" cy="73660"/>
            </a:xfrm>
            <a:custGeom>
              <a:avLst/>
              <a:gdLst>
                <a:gd name="connsiteX0" fmla="*/ 36830 w 73659"/>
                <a:gd name="connsiteY0" fmla="*/ 73660 h 73660"/>
                <a:gd name="connsiteX1" fmla="*/ 73660 w 73659"/>
                <a:gd name="connsiteY1" fmla="*/ 36830 h 73660"/>
                <a:gd name="connsiteX2" fmla="*/ 36830 w 73659"/>
                <a:gd name="connsiteY2" fmla="*/ 0 h 73660"/>
                <a:gd name="connsiteX3" fmla="*/ 0 w 73659"/>
                <a:gd name="connsiteY3" fmla="*/ 36830 h 73660"/>
                <a:gd name="connsiteX4" fmla="*/ 36830 w 73659"/>
                <a:gd name="connsiteY4" fmla="*/ 73660 h 73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659" h="73660">
                  <a:moveTo>
                    <a:pt x="36830" y="73660"/>
                  </a:moveTo>
                  <a:cubicBezTo>
                    <a:pt x="57150" y="73660"/>
                    <a:pt x="73660" y="57150"/>
                    <a:pt x="73660" y="36830"/>
                  </a:cubicBezTo>
                  <a:cubicBezTo>
                    <a:pt x="73660" y="16510"/>
                    <a:pt x="57150" y="0"/>
                    <a:pt x="36830" y="0"/>
                  </a:cubicBezTo>
                  <a:cubicBezTo>
                    <a:pt x="16510" y="0"/>
                    <a:pt x="0" y="16510"/>
                    <a:pt x="0" y="36830"/>
                  </a:cubicBezTo>
                  <a:cubicBezTo>
                    <a:pt x="0" y="57150"/>
                    <a:pt x="16510" y="73660"/>
                    <a:pt x="36830" y="7366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5FE44E59-EA7E-4B2A-A9DC-C8FEDDB62B60}"/>
                </a:ext>
              </a:extLst>
            </p:cNvPr>
            <p:cNvSpPr/>
            <p:nvPr/>
          </p:nvSpPr>
          <p:spPr bwMode="ltGray">
            <a:xfrm>
              <a:off x="7549515" y="4808220"/>
              <a:ext cx="49529" cy="49529"/>
            </a:xfrm>
            <a:custGeom>
              <a:avLst/>
              <a:gdLst>
                <a:gd name="connsiteX0" fmla="*/ 24765 w 49529"/>
                <a:gd name="connsiteY0" fmla="*/ 49530 h 49529"/>
                <a:gd name="connsiteX1" fmla="*/ 49530 w 49529"/>
                <a:gd name="connsiteY1" fmla="*/ 24765 h 49529"/>
                <a:gd name="connsiteX2" fmla="*/ 24765 w 49529"/>
                <a:gd name="connsiteY2" fmla="*/ 0 h 49529"/>
                <a:gd name="connsiteX3" fmla="*/ 0 w 49529"/>
                <a:gd name="connsiteY3" fmla="*/ 24765 h 49529"/>
                <a:gd name="connsiteX4" fmla="*/ 24765 w 49529"/>
                <a:gd name="connsiteY4" fmla="*/ 49530 h 4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29" h="49529">
                  <a:moveTo>
                    <a:pt x="24765" y="49530"/>
                  </a:moveTo>
                  <a:cubicBezTo>
                    <a:pt x="38100" y="49530"/>
                    <a:pt x="49530" y="38735"/>
                    <a:pt x="49530" y="24765"/>
                  </a:cubicBezTo>
                  <a:cubicBezTo>
                    <a:pt x="49530" y="10795"/>
                    <a:pt x="38735" y="0"/>
                    <a:pt x="24765" y="0"/>
                  </a:cubicBezTo>
                  <a:cubicBezTo>
                    <a:pt x="10795" y="0"/>
                    <a:pt x="0" y="10795"/>
                    <a:pt x="0" y="24765"/>
                  </a:cubicBezTo>
                  <a:cubicBezTo>
                    <a:pt x="0" y="38735"/>
                    <a:pt x="11430" y="49530"/>
                    <a:pt x="24765" y="4953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CE2691F5-9CC3-48DF-BED2-9D03941C09ED}"/>
                </a:ext>
              </a:extLst>
            </p:cNvPr>
            <p:cNvSpPr/>
            <p:nvPr/>
          </p:nvSpPr>
          <p:spPr bwMode="ltGray">
            <a:xfrm>
              <a:off x="10852150" y="4451350"/>
              <a:ext cx="31750" cy="31750"/>
            </a:xfrm>
            <a:custGeom>
              <a:avLst/>
              <a:gdLst>
                <a:gd name="connsiteX0" fmla="*/ 0 w 31750"/>
                <a:gd name="connsiteY0" fmla="*/ 15875 h 31750"/>
                <a:gd name="connsiteX1" fmla="*/ 15875 w 31750"/>
                <a:gd name="connsiteY1" fmla="*/ 31750 h 31750"/>
                <a:gd name="connsiteX2" fmla="*/ 31750 w 31750"/>
                <a:gd name="connsiteY2" fmla="*/ 15875 h 31750"/>
                <a:gd name="connsiteX3" fmla="*/ 15875 w 31750"/>
                <a:gd name="connsiteY3" fmla="*/ 0 h 31750"/>
                <a:gd name="connsiteX4" fmla="*/ 0 w 31750"/>
                <a:gd name="connsiteY4" fmla="*/ 15875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750" h="31750">
                  <a:moveTo>
                    <a:pt x="0" y="15875"/>
                  </a:moveTo>
                  <a:cubicBezTo>
                    <a:pt x="0" y="24765"/>
                    <a:pt x="6985" y="31750"/>
                    <a:pt x="15875" y="31750"/>
                  </a:cubicBezTo>
                  <a:cubicBezTo>
                    <a:pt x="24765" y="31750"/>
                    <a:pt x="31750" y="24765"/>
                    <a:pt x="31750" y="15875"/>
                  </a:cubicBezTo>
                  <a:cubicBezTo>
                    <a:pt x="31750" y="6985"/>
                    <a:pt x="24765" y="0"/>
                    <a:pt x="15875" y="0"/>
                  </a:cubicBezTo>
                  <a:cubicBezTo>
                    <a:pt x="6985" y="0"/>
                    <a:pt x="0" y="6985"/>
                    <a:pt x="0" y="1587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FBFEF638-24B1-4851-BEDE-9AB44193853D}"/>
                </a:ext>
              </a:extLst>
            </p:cNvPr>
            <p:cNvSpPr/>
            <p:nvPr/>
          </p:nvSpPr>
          <p:spPr bwMode="ltGray">
            <a:xfrm>
              <a:off x="10477500" y="4443095"/>
              <a:ext cx="48259" cy="48259"/>
            </a:xfrm>
            <a:custGeom>
              <a:avLst/>
              <a:gdLst>
                <a:gd name="connsiteX0" fmla="*/ 48260 w 48259"/>
                <a:gd name="connsiteY0" fmla="*/ 24130 h 48259"/>
                <a:gd name="connsiteX1" fmla="*/ 24130 w 48259"/>
                <a:gd name="connsiteY1" fmla="*/ 0 h 48259"/>
                <a:gd name="connsiteX2" fmla="*/ 0 w 48259"/>
                <a:gd name="connsiteY2" fmla="*/ 24130 h 48259"/>
                <a:gd name="connsiteX3" fmla="*/ 24130 w 48259"/>
                <a:gd name="connsiteY3" fmla="*/ 48260 h 48259"/>
                <a:gd name="connsiteX4" fmla="*/ 48260 w 48259"/>
                <a:gd name="connsiteY4" fmla="*/ 24130 h 48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259" h="48259">
                  <a:moveTo>
                    <a:pt x="48260" y="24130"/>
                  </a:moveTo>
                  <a:cubicBezTo>
                    <a:pt x="48260" y="10795"/>
                    <a:pt x="37465" y="0"/>
                    <a:pt x="24130" y="0"/>
                  </a:cubicBezTo>
                  <a:cubicBezTo>
                    <a:pt x="10795" y="0"/>
                    <a:pt x="0" y="10795"/>
                    <a:pt x="0" y="24130"/>
                  </a:cubicBezTo>
                  <a:cubicBezTo>
                    <a:pt x="0" y="37465"/>
                    <a:pt x="10795" y="48260"/>
                    <a:pt x="24130" y="48260"/>
                  </a:cubicBezTo>
                  <a:cubicBezTo>
                    <a:pt x="37465" y="47625"/>
                    <a:pt x="48260" y="37465"/>
                    <a:pt x="48260" y="2413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6A0BB597-E644-4B29-AE0B-28943BCB8DBB}"/>
                </a:ext>
              </a:extLst>
            </p:cNvPr>
            <p:cNvSpPr/>
            <p:nvPr/>
          </p:nvSpPr>
          <p:spPr bwMode="ltGray">
            <a:xfrm>
              <a:off x="10104119" y="4435475"/>
              <a:ext cx="63500" cy="63500"/>
            </a:xfrm>
            <a:custGeom>
              <a:avLst/>
              <a:gdLst>
                <a:gd name="connsiteX0" fmla="*/ 63500 w 63500"/>
                <a:gd name="connsiteY0" fmla="*/ 31750 h 63500"/>
                <a:gd name="connsiteX1" fmla="*/ 31750 w 63500"/>
                <a:gd name="connsiteY1" fmla="*/ 0 h 63500"/>
                <a:gd name="connsiteX2" fmla="*/ 0 w 63500"/>
                <a:gd name="connsiteY2" fmla="*/ 31750 h 63500"/>
                <a:gd name="connsiteX3" fmla="*/ 31750 w 63500"/>
                <a:gd name="connsiteY3" fmla="*/ 63500 h 63500"/>
                <a:gd name="connsiteX4" fmla="*/ 63500 w 63500"/>
                <a:gd name="connsiteY4" fmla="*/ 317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63500">
                  <a:moveTo>
                    <a:pt x="63500" y="31750"/>
                  </a:moveTo>
                  <a:cubicBezTo>
                    <a:pt x="63500" y="13970"/>
                    <a:pt x="48895" y="0"/>
                    <a:pt x="31750" y="0"/>
                  </a:cubicBezTo>
                  <a:cubicBezTo>
                    <a:pt x="14605" y="0"/>
                    <a:pt x="0" y="14605"/>
                    <a:pt x="0" y="31750"/>
                  </a:cubicBezTo>
                  <a:cubicBezTo>
                    <a:pt x="0" y="48895"/>
                    <a:pt x="14605" y="63500"/>
                    <a:pt x="31750" y="63500"/>
                  </a:cubicBezTo>
                  <a:cubicBezTo>
                    <a:pt x="48895" y="63500"/>
                    <a:pt x="63500" y="49530"/>
                    <a:pt x="63500" y="3175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9E76A325-E041-48AA-B364-77BC2CD53B35}"/>
                </a:ext>
              </a:extLst>
            </p:cNvPr>
            <p:cNvSpPr/>
            <p:nvPr/>
          </p:nvSpPr>
          <p:spPr bwMode="ltGray">
            <a:xfrm>
              <a:off x="9732009" y="4429742"/>
              <a:ext cx="74930" cy="74947"/>
            </a:xfrm>
            <a:custGeom>
              <a:avLst/>
              <a:gdLst>
                <a:gd name="connsiteX0" fmla="*/ 0 w 74930"/>
                <a:gd name="connsiteY0" fmla="*/ 37482 h 74947"/>
                <a:gd name="connsiteX1" fmla="*/ 37465 w 74930"/>
                <a:gd name="connsiteY1" fmla="*/ 74947 h 74947"/>
                <a:gd name="connsiteX2" fmla="*/ 74930 w 74930"/>
                <a:gd name="connsiteY2" fmla="*/ 37482 h 74947"/>
                <a:gd name="connsiteX3" fmla="*/ 37465 w 74930"/>
                <a:gd name="connsiteY3" fmla="*/ 17 h 74947"/>
                <a:gd name="connsiteX4" fmla="*/ 0 w 74930"/>
                <a:gd name="connsiteY4" fmla="*/ 37482 h 74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930" h="74947">
                  <a:moveTo>
                    <a:pt x="0" y="37482"/>
                  </a:moveTo>
                  <a:cubicBezTo>
                    <a:pt x="0" y="58437"/>
                    <a:pt x="17145" y="74947"/>
                    <a:pt x="37465" y="74947"/>
                  </a:cubicBezTo>
                  <a:cubicBezTo>
                    <a:pt x="58420" y="74947"/>
                    <a:pt x="74930" y="57802"/>
                    <a:pt x="74930" y="37482"/>
                  </a:cubicBezTo>
                  <a:cubicBezTo>
                    <a:pt x="74930" y="16527"/>
                    <a:pt x="57785" y="17"/>
                    <a:pt x="37465" y="17"/>
                  </a:cubicBezTo>
                  <a:cubicBezTo>
                    <a:pt x="17145" y="-618"/>
                    <a:pt x="0" y="16527"/>
                    <a:pt x="0" y="37482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1CCC65EB-E149-41CD-A1D3-75DC1D3B89B1}"/>
                </a:ext>
              </a:extLst>
            </p:cNvPr>
            <p:cNvSpPr/>
            <p:nvPr/>
          </p:nvSpPr>
          <p:spPr bwMode="ltGray">
            <a:xfrm>
              <a:off x="9363709" y="4427220"/>
              <a:ext cx="80009" cy="80009"/>
            </a:xfrm>
            <a:custGeom>
              <a:avLst/>
              <a:gdLst>
                <a:gd name="connsiteX0" fmla="*/ 0 w 80009"/>
                <a:gd name="connsiteY0" fmla="*/ 40005 h 80009"/>
                <a:gd name="connsiteX1" fmla="*/ 40005 w 80009"/>
                <a:gd name="connsiteY1" fmla="*/ 80010 h 80009"/>
                <a:gd name="connsiteX2" fmla="*/ 80010 w 80009"/>
                <a:gd name="connsiteY2" fmla="*/ 40005 h 80009"/>
                <a:gd name="connsiteX3" fmla="*/ 40005 w 80009"/>
                <a:gd name="connsiteY3" fmla="*/ 0 h 80009"/>
                <a:gd name="connsiteX4" fmla="*/ 0 w 80009"/>
                <a:gd name="connsiteY4" fmla="*/ 40005 h 8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009" h="80009">
                  <a:moveTo>
                    <a:pt x="0" y="40005"/>
                  </a:moveTo>
                  <a:cubicBezTo>
                    <a:pt x="0" y="62230"/>
                    <a:pt x="17780" y="80010"/>
                    <a:pt x="40005" y="80010"/>
                  </a:cubicBezTo>
                  <a:cubicBezTo>
                    <a:pt x="62230" y="80010"/>
                    <a:pt x="80010" y="62230"/>
                    <a:pt x="80010" y="40005"/>
                  </a:cubicBezTo>
                  <a:cubicBezTo>
                    <a:pt x="80010" y="17780"/>
                    <a:pt x="62230" y="0"/>
                    <a:pt x="40005" y="0"/>
                  </a:cubicBezTo>
                  <a:cubicBezTo>
                    <a:pt x="17780" y="0"/>
                    <a:pt x="0" y="17780"/>
                    <a:pt x="0" y="4000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1220EE9D-4B98-4788-8D79-F680B4B15521}"/>
                </a:ext>
              </a:extLst>
            </p:cNvPr>
            <p:cNvSpPr/>
            <p:nvPr/>
          </p:nvSpPr>
          <p:spPr bwMode="ltGray">
            <a:xfrm>
              <a:off x="8998584" y="4427854"/>
              <a:ext cx="78740" cy="78740"/>
            </a:xfrm>
            <a:custGeom>
              <a:avLst/>
              <a:gdLst>
                <a:gd name="connsiteX0" fmla="*/ 0 w 78740"/>
                <a:gd name="connsiteY0" fmla="*/ 39370 h 78740"/>
                <a:gd name="connsiteX1" fmla="*/ 39370 w 78740"/>
                <a:gd name="connsiteY1" fmla="*/ 78740 h 78740"/>
                <a:gd name="connsiteX2" fmla="*/ 78740 w 78740"/>
                <a:gd name="connsiteY2" fmla="*/ 39370 h 78740"/>
                <a:gd name="connsiteX3" fmla="*/ 39370 w 78740"/>
                <a:gd name="connsiteY3" fmla="*/ 0 h 78740"/>
                <a:gd name="connsiteX4" fmla="*/ 0 w 78740"/>
                <a:gd name="connsiteY4" fmla="*/ 39370 h 7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740" h="78740">
                  <a:moveTo>
                    <a:pt x="0" y="39370"/>
                  </a:moveTo>
                  <a:cubicBezTo>
                    <a:pt x="0" y="60960"/>
                    <a:pt x="17780" y="78740"/>
                    <a:pt x="39370" y="78740"/>
                  </a:cubicBezTo>
                  <a:cubicBezTo>
                    <a:pt x="60960" y="78740"/>
                    <a:pt x="78740" y="60960"/>
                    <a:pt x="78740" y="39370"/>
                  </a:cubicBezTo>
                  <a:cubicBezTo>
                    <a:pt x="78740" y="17780"/>
                    <a:pt x="60960" y="0"/>
                    <a:pt x="39370" y="0"/>
                  </a:cubicBezTo>
                  <a:cubicBezTo>
                    <a:pt x="17780" y="0"/>
                    <a:pt x="0" y="17145"/>
                    <a:pt x="0" y="3937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FA370B7E-CCD1-4EFF-A616-937380922E27}"/>
                </a:ext>
              </a:extLst>
            </p:cNvPr>
            <p:cNvSpPr/>
            <p:nvPr/>
          </p:nvSpPr>
          <p:spPr bwMode="ltGray">
            <a:xfrm>
              <a:off x="8637269" y="4432916"/>
              <a:ext cx="68580" cy="68598"/>
            </a:xfrm>
            <a:custGeom>
              <a:avLst/>
              <a:gdLst>
                <a:gd name="connsiteX0" fmla="*/ 0 w 68580"/>
                <a:gd name="connsiteY0" fmla="*/ 34309 h 68598"/>
                <a:gd name="connsiteX1" fmla="*/ 34290 w 68580"/>
                <a:gd name="connsiteY1" fmla="*/ 68599 h 68598"/>
                <a:gd name="connsiteX2" fmla="*/ 68580 w 68580"/>
                <a:gd name="connsiteY2" fmla="*/ 34309 h 68598"/>
                <a:gd name="connsiteX3" fmla="*/ 34290 w 68580"/>
                <a:gd name="connsiteY3" fmla="*/ 18 h 68598"/>
                <a:gd name="connsiteX4" fmla="*/ 0 w 68580"/>
                <a:gd name="connsiteY4" fmla="*/ 34309 h 68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80" h="68598">
                  <a:moveTo>
                    <a:pt x="0" y="34309"/>
                  </a:moveTo>
                  <a:cubicBezTo>
                    <a:pt x="0" y="53359"/>
                    <a:pt x="15240" y="68599"/>
                    <a:pt x="34290" y="68599"/>
                  </a:cubicBezTo>
                  <a:cubicBezTo>
                    <a:pt x="53340" y="68599"/>
                    <a:pt x="68580" y="53359"/>
                    <a:pt x="68580" y="34309"/>
                  </a:cubicBezTo>
                  <a:cubicBezTo>
                    <a:pt x="68580" y="15259"/>
                    <a:pt x="53340" y="18"/>
                    <a:pt x="34290" y="18"/>
                  </a:cubicBezTo>
                  <a:cubicBezTo>
                    <a:pt x="15875" y="-616"/>
                    <a:pt x="0" y="15259"/>
                    <a:pt x="0" y="34309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7832FC7D-F665-4ADD-861D-B44ECA7DF95E}"/>
                </a:ext>
              </a:extLst>
            </p:cNvPr>
            <p:cNvSpPr/>
            <p:nvPr/>
          </p:nvSpPr>
          <p:spPr bwMode="ltGray">
            <a:xfrm>
              <a:off x="8278494" y="4439284"/>
              <a:ext cx="55880" cy="55245"/>
            </a:xfrm>
            <a:custGeom>
              <a:avLst/>
              <a:gdLst>
                <a:gd name="connsiteX0" fmla="*/ 27940 w 55880"/>
                <a:gd name="connsiteY0" fmla="*/ 55245 h 55245"/>
                <a:gd name="connsiteX1" fmla="*/ 55880 w 55880"/>
                <a:gd name="connsiteY1" fmla="*/ 27940 h 55245"/>
                <a:gd name="connsiteX2" fmla="*/ 27940 w 55880"/>
                <a:gd name="connsiteY2" fmla="*/ 0 h 55245"/>
                <a:gd name="connsiteX3" fmla="*/ 0 w 55880"/>
                <a:gd name="connsiteY3" fmla="*/ 27940 h 55245"/>
                <a:gd name="connsiteX4" fmla="*/ 27940 w 55880"/>
                <a:gd name="connsiteY4" fmla="*/ 55245 h 5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880" h="55245">
                  <a:moveTo>
                    <a:pt x="27940" y="55245"/>
                  </a:moveTo>
                  <a:cubicBezTo>
                    <a:pt x="43180" y="55245"/>
                    <a:pt x="55880" y="43180"/>
                    <a:pt x="55880" y="27940"/>
                  </a:cubicBezTo>
                  <a:cubicBezTo>
                    <a:pt x="55880" y="12700"/>
                    <a:pt x="43815" y="0"/>
                    <a:pt x="27940" y="0"/>
                  </a:cubicBezTo>
                  <a:cubicBezTo>
                    <a:pt x="12065" y="0"/>
                    <a:pt x="0" y="12065"/>
                    <a:pt x="0" y="27940"/>
                  </a:cubicBezTo>
                  <a:cubicBezTo>
                    <a:pt x="0" y="43180"/>
                    <a:pt x="12700" y="55245"/>
                    <a:pt x="27940" y="5524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3F6BE1B8-990B-4AFC-A478-E05838378D83}"/>
                </a:ext>
              </a:extLst>
            </p:cNvPr>
            <p:cNvSpPr/>
            <p:nvPr/>
          </p:nvSpPr>
          <p:spPr bwMode="ltGray">
            <a:xfrm>
              <a:off x="7920355" y="4446904"/>
              <a:ext cx="39369" cy="39370"/>
            </a:xfrm>
            <a:custGeom>
              <a:avLst/>
              <a:gdLst>
                <a:gd name="connsiteX0" fmla="*/ 19685 w 39369"/>
                <a:gd name="connsiteY0" fmla="*/ 39370 h 39370"/>
                <a:gd name="connsiteX1" fmla="*/ 39370 w 39369"/>
                <a:gd name="connsiteY1" fmla="*/ 19685 h 39370"/>
                <a:gd name="connsiteX2" fmla="*/ 19685 w 39369"/>
                <a:gd name="connsiteY2" fmla="*/ 0 h 39370"/>
                <a:gd name="connsiteX3" fmla="*/ 0 w 39369"/>
                <a:gd name="connsiteY3" fmla="*/ 19685 h 39370"/>
                <a:gd name="connsiteX4" fmla="*/ 19685 w 39369"/>
                <a:gd name="connsiteY4" fmla="*/ 39370 h 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69" h="39370">
                  <a:moveTo>
                    <a:pt x="19685" y="39370"/>
                  </a:moveTo>
                  <a:cubicBezTo>
                    <a:pt x="30480" y="39370"/>
                    <a:pt x="39370" y="30480"/>
                    <a:pt x="39370" y="19685"/>
                  </a:cubicBezTo>
                  <a:cubicBezTo>
                    <a:pt x="39370" y="8890"/>
                    <a:pt x="30480" y="0"/>
                    <a:pt x="19685" y="0"/>
                  </a:cubicBezTo>
                  <a:cubicBezTo>
                    <a:pt x="8889" y="0"/>
                    <a:pt x="0" y="8890"/>
                    <a:pt x="0" y="19685"/>
                  </a:cubicBezTo>
                  <a:cubicBezTo>
                    <a:pt x="635" y="31115"/>
                    <a:pt x="8889" y="39370"/>
                    <a:pt x="19685" y="3937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BFE9BF1B-A4E3-4ED8-8F26-8BC610660147}"/>
                </a:ext>
              </a:extLst>
            </p:cNvPr>
            <p:cNvSpPr/>
            <p:nvPr/>
          </p:nvSpPr>
          <p:spPr bwMode="ltGray">
            <a:xfrm>
              <a:off x="9752330" y="4084320"/>
              <a:ext cx="34289" cy="34289"/>
            </a:xfrm>
            <a:custGeom>
              <a:avLst/>
              <a:gdLst>
                <a:gd name="connsiteX0" fmla="*/ 34289 w 34289"/>
                <a:gd name="connsiteY0" fmla="*/ 17145 h 34289"/>
                <a:gd name="connsiteX1" fmla="*/ 17145 w 34289"/>
                <a:gd name="connsiteY1" fmla="*/ 0 h 34289"/>
                <a:gd name="connsiteX2" fmla="*/ 0 w 34289"/>
                <a:gd name="connsiteY2" fmla="*/ 17145 h 34289"/>
                <a:gd name="connsiteX3" fmla="*/ 17145 w 34289"/>
                <a:gd name="connsiteY3" fmla="*/ 34290 h 34289"/>
                <a:gd name="connsiteX4" fmla="*/ 34289 w 34289"/>
                <a:gd name="connsiteY4" fmla="*/ 17145 h 34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89" h="34289">
                  <a:moveTo>
                    <a:pt x="34289" y="17145"/>
                  </a:moveTo>
                  <a:cubicBezTo>
                    <a:pt x="34289" y="7620"/>
                    <a:pt x="26670" y="0"/>
                    <a:pt x="17145" y="0"/>
                  </a:cubicBezTo>
                  <a:cubicBezTo>
                    <a:pt x="7620" y="0"/>
                    <a:pt x="0" y="7620"/>
                    <a:pt x="0" y="17145"/>
                  </a:cubicBezTo>
                  <a:cubicBezTo>
                    <a:pt x="0" y="26670"/>
                    <a:pt x="7620" y="34290"/>
                    <a:pt x="17145" y="34290"/>
                  </a:cubicBezTo>
                  <a:cubicBezTo>
                    <a:pt x="26670" y="33655"/>
                    <a:pt x="34289" y="26035"/>
                    <a:pt x="34289" y="1714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9619B62B-9C0D-4373-B582-2320994C9461}"/>
                </a:ext>
              </a:extLst>
            </p:cNvPr>
            <p:cNvSpPr/>
            <p:nvPr/>
          </p:nvSpPr>
          <p:spPr bwMode="ltGray">
            <a:xfrm>
              <a:off x="9385934" y="4083050"/>
              <a:ext cx="36830" cy="36829"/>
            </a:xfrm>
            <a:custGeom>
              <a:avLst/>
              <a:gdLst>
                <a:gd name="connsiteX0" fmla="*/ 0 w 36830"/>
                <a:gd name="connsiteY0" fmla="*/ 18415 h 36829"/>
                <a:gd name="connsiteX1" fmla="*/ 18415 w 36830"/>
                <a:gd name="connsiteY1" fmla="*/ 36830 h 36829"/>
                <a:gd name="connsiteX2" fmla="*/ 36830 w 36830"/>
                <a:gd name="connsiteY2" fmla="*/ 18415 h 36829"/>
                <a:gd name="connsiteX3" fmla="*/ 18415 w 36830"/>
                <a:gd name="connsiteY3" fmla="*/ 0 h 36829"/>
                <a:gd name="connsiteX4" fmla="*/ 0 w 36830"/>
                <a:gd name="connsiteY4" fmla="*/ 18415 h 3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30" h="36829">
                  <a:moveTo>
                    <a:pt x="0" y="18415"/>
                  </a:moveTo>
                  <a:cubicBezTo>
                    <a:pt x="0" y="28575"/>
                    <a:pt x="8255" y="36830"/>
                    <a:pt x="18415" y="36830"/>
                  </a:cubicBezTo>
                  <a:cubicBezTo>
                    <a:pt x="28575" y="36830"/>
                    <a:pt x="36830" y="28575"/>
                    <a:pt x="36830" y="18415"/>
                  </a:cubicBezTo>
                  <a:cubicBezTo>
                    <a:pt x="36830" y="8255"/>
                    <a:pt x="28575" y="0"/>
                    <a:pt x="18415" y="0"/>
                  </a:cubicBezTo>
                  <a:cubicBezTo>
                    <a:pt x="8255" y="0"/>
                    <a:pt x="0" y="8255"/>
                    <a:pt x="0" y="1841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EA2B8C91-26F4-43BC-8EF9-E1F0F3F93F9C}"/>
                </a:ext>
              </a:extLst>
            </p:cNvPr>
            <p:cNvSpPr/>
            <p:nvPr/>
          </p:nvSpPr>
          <p:spPr bwMode="ltGray">
            <a:xfrm>
              <a:off x="9020175" y="4083684"/>
              <a:ext cx="35559" cy="35560"/>
            </a:xfrm>
            <a:custGeom>
              <a:avLst/>
              <a:gdLst>
                <a:gd name="connsiteX0" fmla="*/ 17780 w 35559"/>
                <a:gd name="connsiteY0" fmla="*/ 0 h 35560"/>
                <a:gd name="connsiteX1" fmla="*/ 0 w 35559"/>
                <a:gd name="connsiteY1" fmla="*/ 17780 h 35560"/>
                <a:gd name="connsiteX2" fmla="*/ 17780 w 35559"/>
                <a:gd name="connsiteY2" fmla="*/ 35560 h 35560"/>
                <a:gd name="connsiteX3" fmla="*/ 35560 w 35559"/>
                <a:gd name="connsiteY3" fmla="*/ 17780 h 35560"/>
                <a:gd name="connsiteX4" fmla="*/ 17780 w 35559"/>
                <a:gd name="connsiteY4" fmla="*/ 0 h 35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559" h="35560">
                  <a:moveTo>
                    <a:pt x="17780" y="0"/>
                  </a:moveTo>
                  <a:cubicBezTo>
                    <a:pt x="8255" y="0"/>
                    <a:pt x="0" y="7620"/>
                    <a:pt x="0" y="17780"/>
                  </a:cubicBezTo>
                  <a:cubicBezTo>
                    <a:pt x="0" y="27305"/>
                    <a:pt x="7620" y="35560"/>
                    <a:pt x="17780" y="35560"/>
                  </a:cubicBezTo>
                  <a:cubicBezTo>
                    <a:pt x="27940" y="35560"/>
                    <a:pt x="35560" y="27940"/>
                    <a:pt x="35560" y="17780"/>
                  </a:cubicBezTo>
                  <a:cubicBezTo>
                    <a:pt x="35560" y="7620"/>
                    <a:pt x="27305" y="0"/>
                    <a:pt x="17780" y="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F9158478-82D0-448F-A943-DE7A40771237}"/>
                </a:ext>
              </a:extLst>
            </p:cNvPr>
            <p:cNvSpPr/>
            <p:nvPr/>
          </p:nvSpPr>
          <p:spPr bwMode="ltGray">
            <a:xfrm>
              <a:off x="8656319" y="4085590"/>
              <a:ext cx="31750" cy="31750"/>
            </a:xfrm>
            <a:custGeom>
              <a:avLst/>
              <a:gdLst>
                <a:gd name="connsiteX0" fmla="*/ 31750 w 31750"/>
                <a:gd name="connsiteY0" fmla="*/ 15875 h 31750"/>
                <a:gd name="connsiteX1" fmla="*/ 15875 w 31750"/>
                <a:gd name="connsiteY1" fmla="*/ 0 h 31750"/>
                <a:gd name="connsiteX2" fmla="*/ 0 w 31750"/>
                <a:gd name="connsiteY2" fmla="*/ 15875 h 31750"/>
                <a:gd name="connsiteX3" fmla="*/ 15875 w 31750"/>
                <a:gd name="connsiteY3" fmla="*/ 31750 h 31750"/>
                <a:gd name="connsiteX4" fmla="*/ 31750 w 31750"/>
                <a:gd name="connsiteY4" fmla="*/ 15875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750" h="31750">
                  <a:moveTo>
                    <a:pt x="31750" y="15875"/>
                  </a:moveTo>
                  <a:cubicBezTo>
                    <a:pt x="31750" y="6985"/>
                    <a:pt x="24765" y="0"/>
                    <a:pt x="15875" y="0"/>
                  </a:cubicBezTo>
                  <a:cubicBezTo>
                    <a:pt x="6986" y="0"/>
                    <a:pt x="0" y="6985"/>
                    <a:pt x="0" y="15875"/>
                  </a:cubicBezTo>
                  <a:cubicBezTo>
                    <a:pt x="0" y="24765"/>
                    <a:pt x="6986" y="31750"/>
                    <a:pt x="15875" y="31750"/>
                  </a:cubicBezTo>
                  <a:cubicBezTo>
                    <a:pt x="24130" y="31115"/>
                    <a:pt x="31750" y="24130"/>
                    <a:pt x="31750" y="1587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277B97F5-FD94-4E2C-8021-537DCA3F9EF7}"/>
                </a:ext>
              </a:extLst>
            </p:cNvPr>
            <p:cNvSpPr/>
            <p:nvPr/>
          </p:nvSpPr>
          <p:spPr bwMode="ltGray">
            <a:xfrm>
              <a:off x="81914" y="6521450"/>
              <a:ext cx="299719" cy="299719"/>
            </a:xfrm>
            <a:custGeom>
              <a:avLst/>
              <a:gdLst>
                <a:gd name="connsiteX0" fmla="*/ 149860 w 299719"/>
                <a:gd name="connsiteY0" fmla="*/ 0 h 299719"/>
                <a:gd name="connsiteX1" fmla="*/ 0 w 299719"/>
                <a:gd name="connsiteY1" fmla="*/ 149860 h 299719"/>
                <a:gd name="connsiteX2" fmla="*/ 149860 w 299719"/>
                <a:gd name="connsiteY2" fmla="*/ 299720 h 299719"/>
                <a:gd name="connsiteX3" fmla="*/ 299720 w 299719"/>
                <a:gd name="connsiteY3" fmla="*/ 149860 h 299719"/>
                <a:gd name="connsiteX4" fmla="*/ 149860 w 299719"/>
                <a:gd name="connsiteY4" fmla="*/ 0 h 299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9719" h="299719">
                  <a:moveTo>
                    <a:pt x="149860" y="0"/>
                  </a:moveTo>
                  <a:cubicBezTo>
                    <a:pt x="67310" y="0"/>
                    <a:pt x="0" y="67310"/>
                    <a:pt x="0" y="149860"/>
                  </a:cubicBezTo>
                  <a:cubicBezTo>
                    <a:pt x="0" y="232410"/>
                    <a:pt x="67310" y="299720"/>
                    <a:pt x="149860" y="299720"/>
                  </a:cubicBezTo>
                  <a:cubicBezTo>
                    <a:pt x="232410" y="299720"/>
                    <a:pt x="299720" y="232410"/>
                    <a:pt x="299720" y="149860"/>
                  </a:cubicBezTo>
                  <a:cubicBezTo>
                    <a:pt x="299720" y="67310"/>
                    <a:pt x="232410" y="0"/>
                    <a:pt x="149860" y="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4E28BC07-84B3-40B1-8AB1-02342BF89FF0}"/>
                </a:ext>
              </a:extLst>
            </p:cNvPr>
            <p:cNvSpPr/>
            <p:nvPr/>
          </p:nvSpPr>
          <p:spPr bwMode="ltGray">
            <a:xfrm rot="20802852">
              <a:off x="92348" y="6165509"/>
              <a:ext cx="279389" cy="279389"/>
            </a:xfrm>
            <a:custGeom>
              <a:avLst/>
              <a:gdLst>
                <a:gd name="connsiteX0" fmla="*/ 279390 w 279389"/>
                <a:gd name="connsiteY0" fmla="*/ 139695 h 279389"/>
                <a:gd name="connsiteX1" fmla="*/ 139695 w 279389"/>
                <a:gd name="connsiteY1" fmla="*/ 279390 h 279389"/>
                <a:gd name="connsiteX2" fmla="*/ 0 w 279389"/>
                <a:gd name="connsiteY2" fmla="*/ 139695 h 279389"/>
                <a:gd name="connsiteX3" fmla="*/ 139695 w 279389"/>
                <a:gd name="connsiteY3" fmla="*/ 0 h 279389"/>
                <a:gd name="connsiteX4" fmla="*/ 279390 w 279389"/>
                <a:gd name="connsiteY4" fmla="*/ 139695 h 27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389" h="279389">
                  <a:moveTo>
                    <a:pt x="279390" y="139695"/>
                  </a:moveTo>
                  <a:cubicBezTo>
                    <a:pt x="279390" y="216846"/>
                    <a:pt x="216846" y="279390"/>
                    <a:pt x="139695" y="279390"/>
                  </a:cubicBezTo>
                  <a:cubicBezTo>
                    <a:pt x="62544" y="279390"/>
                    <a:pt x="0" y="216846"/>
                    <a:pt x="0" y="139695"/>
                  </a:cubicBezTo>
                  <a:cubicBezTo>
                    <a:pt x="0" y="62543"/>
                    <a:pt x="62544" y="0"/>
                    <a:pt x="139695" y="0"/>
                  </a:cubicBezTo>
                  <a:cubicBezTo>
                    <a:pt x="216846" y="0"/>
                    <a:pt x="279390" y="62543"/>
                    <a:pt x="279390" y="139695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692FAB03-AA27-4C8D-93A4-0E5198B9AD2A}"/>
                </a:ext>
              </a:extLst>
            </p:cNvPr>
            <p:cNvSpPr/>
            <p:nvPr/>
          </p:nvSpPr>
          <p:spPr bwMode="ltGray">
            <a:xfrm>
              <a:off x="110489" y="5818504"/>
              <a:ext cx="242569" cy="242570"/>
            </a:xfrm>
            <a:custGeom>
              <a:avLst/>
              <a:gdLst>
                <a:gd name="connsiteX0" fmla="*/ 121285 w 242569"/>
                <a:gd name="connsiteY0" fmla="*/ 242570 h 242570"/>
                <a:gd name="connsiteX1" fmla="*/ 242570 w 242569"/>
                <a:gd name="connsiteY1" fmla="*/ 121285 h 242570"/>
                <a:gd name="connsiteX2" fmla="*/ 121285 w 242569"/>
                <a:gd name="connsiteY2" fmla="*/ 0 h 242570"/>
                <a:gd name="connsiteX3" fmla="*/ 0 w 242569"/>
                <a:gd name="connsiteY3" fmla="*/ 121285 h 242570"/>
                <a:gd name="connsiteX4" fmla="*/ 121285 w 242569"/>
                <a:gd name="connsiteY4" fmla="*/ 242570 h 24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569" h="242570">
                  <a:moveTo>
                    <a:pt x="121285" y="242570"/>
                  </a:moveTo>
                  <a:cubicBezTo>
                    <a:pt x="187960" y="242570"/>
                    <a:pt x="242570" y="188595"/>
                    <a:pt x="242570" y="121285"/>
                  </a:cubicBezTo>
                  <a:cubicBezTo>
                    <a:pt x="242570" y="54610"/>
                    <a:pt x="188595" y="0"/>
                    <a:pt x="121285" y="0"/>
                  </a:cubicBezTo>
                  <a:cubicBezTo>
                    <a:pt x="53975" y="0"/>
                    <a:pt x="0" y="53975"/>
                    <a:pt x="0" y="121285"/>
                  </a:cubicBezTo>
                  <a:cubicBezTo>
                    <a:pt x="0" y="187960"/>
                    <a:pt x="53975" y="242570"/>
                    <a:pt x="121285" y="24257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423D2E4E-62EA-43E7-B35A-58BED98BE7FF}"/>
                </a:ext>
              </a:extLst>
            </p:cNvPr>
            <p:cNvSpPr/>
            <p:nvPr/>
          </p:nvSpPr>
          <p:spPr bwMode="ltGray">
            <a:xfrm>
              <a:off x="136525" y="5478779"/>
              <a:ext cx="190500" cy="190500"/>
            </a:xfrm>
            <a:custGeom>
              <a:avLst/>
              <a:gdLst>
                <a:gd name="connsiteX0" fmla="*/ 95250 w 190500"/>
                <a:gd name="connsiteY0" fmla="*/ 190500 h 190500"/>
                <a:gd name="connsiteX1" fmla="*/ 190500 w 190500"/>
                <a:gd name="connsiteY1" fmla="*/ 95250 h 190500"/>
                <a:gd name="connsiteX2" fmla="*/ 95250 w 190500"/>
                <a:gd name="connsiteY2" fmla="*/ 0 h 190500"/>
                <a:gd name="connsiteX3" fmla="*/ 0 w 190500"/>
                <a:gd name="connsiteY3" fmla="*/ 95250 h 190500"/>
                <a:gd name="connsiteX4" fmla="*/ 95250 w 190500"/>
                <a:gd name="connsiteY4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90500">
                  <a:moveTo>
                    <a:pt x="95250" y="190500"/>
                  </a:moveTo>
                  <a:cubicBezTo>
                    <a:pt x="147955" y="190500"/>
                    <a:pt x="190500" y="147955"/>
                    <a:pt x="190500" y="95250"/>
                  </a:cubicBezTo>
                  <a:cubicBezTo>
                    <a:pt x="190500" y="42545"/>
                    <a:pt x="147955" y="0"/>
                    <a:pt x="95250" y="0"/>
                  </a:cubicBezTo>
                  <a:cubicBezTo>
                    <a:pt x="42545" y="0"/>
                    <a:pt x="0" y="42545"/>
                    <a:pt x="0" y="95250"/>
                  </a:cubicBezTo>
                  <a:cubicBezTo>
                    <a:pt x="0" y="147955"/>
                    <a:pt x="42545" y="190500"/>
                    <a:pt x="95250" y="19050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A62CC361-8FBE-4006-A750-A625E7847304}"/>
                </a:ext>
              </a:extLst>
            </p:cNvPr>
            <p:cNvSpPr/>
            <p:nvPr/>
          </p:nvSpPr>
          <p:spPr bwMode="ltGray">
            <a:xfrm>
              <a:off x="166370" y="5142229"/>
              <a:ext cx="130809" cy="130810"/>
            </a:xfrm>
            <a:custGeom>
              <a:avLst/>
              <a:gdLst>
                <a:gd name="connsiteX0" fmla="*/ 65405 w 130809"/>
                <a:gd name="connsiteY0" fmla="*/ 130810 h 130810"/>
                <a:gd name="connsiteX1" fmla="*/ 130810 w 130809"/>
                <a:gd name="connsiteY1" fmla="*/ 65405 h 130810"/>
                <a:gd name="connsiteX2" fmla="*/ 65405 w 130809"/>
                <a:gd name="connsiteY2" fmla="*/ 0 h 130810"/>
                <a:gd name="connsiteX3" fmla="*/ 0 w 130809"/>
                <a:gd name="connsiteY3" fmla="*/ 65405 h 130810"/>
                <a:gd name="connsiteX4" fmla="*/ 65405 w 130809"/>
                <a:gd name="connsiteY4" fmla="*/ 130810 h 130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809" h="130810">
                  <a:moveTo>
                    <a:pt x="65405" y="130810"/>
                  </a:moveTo>
                  <a:cubicBezTo>
                    <a:pt x="101600" y="130810"/>
                    <a:pt x="130810" y="101600"/>
                    <a:pt x="130810" y="65405"/>
                  </a:cubicBezTo>
                  <a:cubicBezTo>
                    <a:pt x="130810" y="29210"/>
                    <a:pt x="101600" y="0"/>
                    <a:pt x="65405" y="0"/>
                  </a:cubicBezTo>
                  <a:cubicBezTo>
                    <a:pt x="29210" y="0"/>
                    <a:pt x="0" y="29210"/>
                    <a:pt x="0" y="65405"/>
                  </a:cubicBezTo>
                  <a:cubicBezTo>
                    <a:pt x="0" y="101600"/>
                    <a:pt x="29210" y="130810"/>
                    <a:pt x="65405" y="13081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C8D7D5EB-61BA-4412-A828-88101E0F104C}"/>
                </a:ext>
              </a:extLst>
            </p:cNvPr>
            <p:cNvSpPr/>
            <p:nvPr/>
          </p:nvSpPr>
          <p:spPr bwMode="ltGray">
            <a:xfrm>
              <a:off x="195562" y="4806315"/>
              <a:ext cx="72407" cy="72389"/>
            </a:xfrm>
            <a:custGeom>
              <a:avLst/>
              <a:gdLst>
                <a:gd name="connsiteX0" fmla="*/ 36213 w 72407"/>
                <a:gd name="connsiteY0" fmla="*/ 72390 h 72389"/>
                <a:gd name="connsiteX1" fmla="*/ 72408 w 72407"/>
                <a:gd name="connsiteY1" fmla="*/ 36195 h 72389"/>
                <a:gd name="connsiteX2" fmla="*/ 36213 w 72407"/>
                <a:gd name="connsiteY2" fmla="*/ 0 h 72389"/>
                <a:gd name="connsiteX3" fmla="*/ 18 w 72407"/>
                <a:gd name="connsiteY3" fmla="*/ 36195 h 72389"/>
                <a:gd name="connsiteX4" fmla="*/ 36213 w 72407"/>
                <a:gd name="connsiteY4" fmla="*/ 72390 h 72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407" h="72389">
                  <a:moveTo>
                    <a:pt x="36213" y="72390"/>
                  </a:moveTo>
                  <a:cubicBezTo>
                    <a:pt x="56533" y="72390"/>
                    <a:pt x="72408" y="55880"/>
                    <a:pt x="72408" y="36195"/>
                  </a:cubicBezTo>
                  <a:cubicBezTo>
                    <a:pt x="72408" y="15875"/>
                    <a:pt x="55898" y="0"/>
                    <a:pt x="36213" y="0"/>
                  </a:cubicBezTo>
                  <a:cubicBezTo>
                    <a:pt x="15893" y="0"/>
                    <a:pt x="18" y="16510"/>
                    <a:pt x="18" y="36195"/>
                  </a:cubicBezTo>
                  <a:cubicBezTo>
                    <a:pt x="-617" y="55880"/>
                    <a:pt x="15893" y="72390"/>
                    <a:pt x="36213" y="7239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2491E348-D6C2-4C0A-AAC6-3B2DF41A6B51}"/>
                </a:ext>
              </a:extLst>
            </p:cNvPr>
            <p:cNvSpPr/>
            <p:nvPr/>
          </p:nvSpPr>
          <p:spPr bwMode="ltGray">
            <a:xfrm>
              <a:off x="214629" y="4458970"/>
              <a:ext cx="34290" cy="34289"/>
            </a:xfrm>
            <a:custGeom>
              <a:avLst/>
              <a:gdLst>
                <a:gd name="connsiteX0" fmla="*/ 17145 w 34290"/>
                <a:gd name="connsiteY0" fmla="*/ 34290 h 34289"/>
                <a:gd name="connsiteX1" fmla="*/ 34290 w 34290"/>
                <a:gd name="connsiteY1" fmla="*/ 17145 h 34289"/>
                <a:gd name="connsiteX2" fmla="*/ 17145 w 34290"/>
                <a:gd name="connsiteY2" fmla="*/ 0 h 34289"/>
                <a:gd name="connsiteX3" fmla="*/ 0 w 34290"/>
                <a:gd name="connsiteY3" fmla="*/ 17145 h 34289"/>
                <a:gd name="connsiteX4" fmla="*/ 17145 w 34290"/>
                <a:gd name="connsiteY4" fmla="*/ 34290 h 34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90" h="34289">
                  <a:moveTo>
                    <a:pt x="17145" y="34290"/>
                  </a:moveTo>
                  <a:cubicBezTo>
                    <a:pt x="26670" y="34290"/>
                    <a:pt x="34290" y="26670"/>
                    <a:pt x="34290" y="17145"/>
                  </a:cubicBezTo>
                  <a:cubicBezTo>
                    <a:pt x="34290" y="7620"/>
                    <a:pt x="26670" y="0"/>
                    <a:pt x="17145" y="0"/>
                  </a:cubicBezTo>
                  <a:cubicBezTo>
                    <a:pt x="7620" y="0"/>
                    <a:pt x="0" y="7620"/>
                    <a:pt x="0" y="17145"/>
                  </a:cubicBezTo>
                  <a:cubicBezTo>
                    <a:pt x="0" y="26670"/>
                    <a:pt x="7620" y="34290"/>
                    <a:pt x="17145" y="3429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138F84A4-58D2-4338-866E-E40B4E5C0FDF}"/>
                </a:ext>
              </a:extLst>
            </p:cNvPr>
            <p:cNvSpPr/>
            <p:nvPr/>
          </p:nvSpPr>
          <p:spPr bwMode="ltGray">
            <a:xfrm>
              <a:off x="457834" y="6531609"/>
              <a:ext cx="279400" cy="279400"/>
            </a:xfrm>
            <a:custGeom>
              <a:avLst/>
              <a:gdLst>
                <a:gd name="connsiteX0" fmla="*/ 139700 w 279400"/>
                <a:gd name="connsiteY0" fmla="*/ 0 h 279400"/>
                <a:gd name="connsiteX1" fmla="*/ 0 w 279400"/>
                <a:gd name="connsiteY1" fmla="*/ 139700 h 279400"/>
                <a:gd name="connsiteX2" fmla="*/ 139700 w 279400"/>
                <a:gd name="connsiteY2" fmla="*/ 279400 h 279400"/>
                <a:gd name="connsiteX3" fmla="*/ 279400 w 279400"/>
                <a:gd name="connsiteY3" fmla="*/ 139700 h 279400"/>
                <a:gd name="connsiteX4" fmla="*/ 139700 w 279400"/>
                <a:gd name="connsiteY4" fmla="*/ 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00" h="279400">
                  <a:moveTo>
                    <a:pt x="139700" y="0"/>
                  </a:moveTo>
                  <a:cubicBezTo>
                    <a:pt x="62230" y="0"/>
                    <a:pt x="0" y="62865"/>
                    <a:pt x="0" y="139700"/>
                  </a:cubicBezTo>
                  <a:cubicBezTo>
                    <a:pt x="0" y="216535"/>
                    <a:pt x="62865" y="279400"/>
                    <a:pt x="139700" y="279400"/>
                  </a:cubicBezTo>
                  <a:cubicBezTo>
                    <a:pt x="217170" y="279400"/>
                    <a:pt x="279400" y="216535"/>
                    <a:pt x="279400" y="139700"/>
                  </a:cubicBezTo>
                  <a:cubicBezTo>
                    <a:pt x="279400" y="62865"/>
                    <a:pt x="217170" y="0"/>
                    <a:pt x="139700" y="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820DD35A-7898-4614-BDF0-B8D254E38794}"/>
                </a:ext>
              </a:extLst>
            </p:cNvPr>
            <p:cNvSpPr/>
            <p:nvPr/>
          </p:nvSpPr>
          <p:spPr bwMode="ltGray">
            <a:xfrm>
              <a:off x="469264" y="6177280"/>
              <a:ext cx="256540" cy="256540"/>
            </a:xfrm>
            <a:custGeom>
              <a:avLst/>
              <a:gdLst>
                <a:gd name="connsiteX0" fmla="*/ 256540 w 256540"/>
                <a:gd name="connsiteY0" fmla="*/ 128270 h 256540"/>
                <a:gd name="connsiteX1" fmla="*/ 128270 w 256540"/>
                <a:gd name="connsiteY1" fmla="*/ 256540 h 256540"/>
                <a:gd name="connsiteX2" fmla="*/ 0 w 256540"/>
                <a:gd name="connsiteY2" fmla="*/ 128270 h 256540"/>
                <a:gd name="connsiteX3" fmla="*/ 128270 w 256540"/>
                <a:gd name="connsiteY3" fmla="*/ 0 h 256540"/>
                <a:gd name="connsiteX4" fmla="*/ 256540 w 256540"/>
                <a:gd name="connsiteY4" fmla="*/ 128270 h 256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6540" h="256540">
                  <a:moveTo>
                    <a:pt x="256540" y="128270"/>
                  </a:moveTo>
                  <a:cubicBezTo>
                    <a:pt x="256540" y="199111"/>
                    <a:pt x="199112" y="256540"/>
                    <a:pt x="128270" y="256540"/>
                  </a:cubicBezTo>
                  <a:cubicBezTo>
                    <a:pt x="57428" y="256540"/>
                    <a:pt x="0" y="199112"/>
                    <a:pt x="0" y="128270"/>
                  </a:cubicBezTo>
                  <a:cubicBezTo>
                    <a:pt x="0" y="57429"/>
                    <a:pt x="57428" y="0"/>
                    <a:pt x="128270" y="0"/>
                  </a:cubicBezTo>
                  <a:cubicBezTo>
                    <a:pt x="199112" y="0"/>
                    <a:pt x="256540" y="57428"/>
                    <a:pt x="256540" y="12827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1FE98CD3-D1C2-4469-9500-76738C32E0B0}"/>
                </a:ext>
              </a:extLst>
            </p:cNvPr>
            <p:cNvSpPr/>
            <p:nvPr/>
          </p:nvSpPr>
          <p:spPr bwMode="ltGray">
            <a:xfrm>
              <a:off x="490855" y="5833109"/>
              <a:ext cx="213359" cy="213360"/>
            </a:xfrm>
            <a:custGeom>
              <a:avLst/>
              <a:gdLst>
                <a:gd name="connsiteX0" fmla="*/ 106680 w 213359"/>
                <a:gd name="connsiteY0" fmla="*/ 213360 h 213360"/>
                <a:gd name="connsiteX1" fmla="*/ 213360 w 213359"/>
                <a:gd name="connsiteY1" fmla="*/ 106680 h 213360"/>
                <a:gd name="connsiteX2" fmla="*/ 106680 w 213359"/>
                <a:gd name="connsiteY2" fmla="*/ 0 h 213360"/>
                <a:gd name="connsiteX3" fmla="*/ 0 w 213359"/>
                <a:gd name="connsiteY3" fmla="*/ 106680 h 213360"/>
                <a:gd name="connsiteX4" fmla="*/ 106680 w 213359"/>
                <a:gd name="connsiteY4" fmla="*/ 213360 h 213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59" h="213360">
                  <a:moveTo>
                    <a:pt x="106680" y="213360"/>
                  </a:moveTo>
                  <a:cubicBezTo>
                    <a:pt x="165735" y="213360"/>
                    <a:pt x="213360" y="165735"/>
                    <a:pt x="213360" y="106680"/>
                  </a:cubicBezTo>
                  <a:cubicBezTo>
                    <a:pt x="213360" y="47625"/>
                    <a:pt x="165735" y="0"/>
                    <a:pt x="106680" y="0"/>
                  </a:cubicBezTo>
                  <a:cubicBezTo>
                    <a:pt x="47625" y="0"/>
                    <a:pt x="0" y="47625"/>
                    <a:pt x="0" y="106680"/>
                  </a:cubicBezTo>
                  <a:cubicBezTo>
                    <a:pt x="0" y="165735"/>
                    <a:pt x="47625" y="213360"/>
                    <a:pt x="106680" y="21336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DF9F1BEB-651C-412A-86ED-2B8C40C224C8}"/>
                </a:ext>
              </a:extLst>
            </p:cNvPr>
            <p:cNvSpPr/>
            <p:nvPr/>
          </p:nvSpPr>
          <p:spPr bwMode="ltGray">
            <a:xfrm>
              <a:off x="516255" y="5492115"/>
              <a:ext cx="162559" cy="162559"/>
            </a:xfrm>
            <a:custGeom>
              <a:avLst/>
              <a:gdLst>
                <a:gd name="connsiteX0" fmla="*/ 81280 w 162559"/>
                <a:gd name="connsiteY0" fmla="*/ 162560 h 162559"/>
                <a:gd name="connsiteX1" fmla="*/ 162560 w 162559"/>
                <a:gd name="connsiteY1" fmla="*/ 81280 h 162559"/>
                <a:gd name="connsiteX2" fmla="*/ 81280 w 162559"/>
                <a:gd name="connsiteY2" fmla="*/ 0 h 162559"/>
                <a:gd name="connsiteX3" fmla="*/ 0 w 162559"/>
                <a:gd name="connsiteY3" fmla="*/ 81280 h 162559"/>
                <a:gd name="connsiteX4" fmla="*/ 81280 w 162559"/>
                <a:gd name="connsiteY4" fmla="*/ 162560 h 162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559" h="162559">
                  <a:moveTo>
                    <a:pt x="81280" y="162560"/>
                  </a:moveTo>
                  <a:cubicBezTo>
                    <a:pt x="125730" y="162560"/>
                    <a:pt x="162560" y="126365"/>
                    <a:pt x="162560" y="81280"/>
                  </a:cubicBezTo>
                  <a:cubicBezTo>
                    <a:pt x="162560" y="36830"/>
                    <a:pt x="126365" y="0"/>
                    <a:pt x="81280" y="0"/>
                  </a:cubicBezTo>
                  <a:cubicBezTo>
                    <a:pt x="36195" y="0"/>
                    <a:pt x="0" y="36195"/>
                    <a:pt x="0" y="81280"/>
                  </a:cubicBezTo>
                  <a:cubicBezTo>
                    <a:pt x="635" y="126365"/>
                    <a:pt x="36830" y="162560"/>
                    <a:pt x="81280" y="16256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F184621D-2DC8-491F-BE05-44D96DCBD0A9}"/>
                </a:ext>
              </a:extLst>
            </p:cNvPr>
            <p:cNvSpPr/>
            <p:nvPr/>
          </p:nvSpPr>
          <p:spPr bwMode="ltGray">
            <a:xfrm>
              <a:off x="544830" y="5154930"/>
              <a:ext cx="105409" cy="105409"/>
            </a:xfrm>
            <a:custGeom>
              <a:avLst/>
              <a:gdLst>
                <a:gd name="connsiteX0" fmla="*/ 105410 w 105409"/>
                <a:gd name="connsiteY0" fmla="*/ 52705 h 105409"/>
                <a:gd name="connsiteX1" fmla="*/ 52705 w 105409"/>
                <a:gd name="connsiteY1" fmla="*/ 105410 h 105409"/>
                <a:gd name="connsiteX2" fmla="*/ 0 w 105409"/>
                <a:gd name="connsiteY2" fmla="*/ 52705 h 105409"/>
                <a:gd name="connsiteX3" fmla="*/ 52705 w 105409"/>
                <a:gd name="connsiteY3" fmla="*/ 0 h 105409"/>
                <a:gd name="connsiteX4" fmla="*/ 105410 w 105409"/>
                <a:gd name="connsiteY4" fmla="*/ 52705 h 10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409" h="105409">
                  <a:moveTo>
                    <a:pt x="105410" y="52705"/>
                  </a:moveTo>
                  <a:cubicBezTo>
                    <a:pt x="105410" y="81813"/>
                    <a:pt x="81813" y="105410"/>
                    <a:pt x="52705" y="105410"/>
                  </a:cubicBezTo>
                  <a:cubicBezTo>
                    <a:pt x="23597" y="105410"/>
                    <a:pt x="0" y="81813"/>
                    <a:pt x="0" y="52705"/>
                  </a:cubicBezTo>
                  <a:cubicBezTo>
                    <a:pt x="0" y="23597"/>
                    <a:pt x="23597" y="0"/>
                    <a:pt x="52705" y="0"/>
                  </a:cubicBezTo>
                  <a:cubicBezTo>
                    <a:pt x="81813" y="0"/>
                    <a:pt x="105410" y="23597"/>
                    <a:pt x="105410" y="52705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CC224B2B-5112-4E5B-A6E1-655F92724ECE}"/>
                </a:ext>
              </a:extLst>
            </p:cNvPr>
            <p:cNvSpPr/>
            <p:nvPr/>
          </p:nvSpPr>
          <p:spPr bwMode="ltGray">
            <a:xfrm>
              <a:off x="569594" y="4813935"/>
              <a:ext cx="55880" cy="55879"/>
            </a:xfrm>
            <a:custGeom>
              <a:avLst/>
              <a:gdLst>
                <a:gd name="connsiteX0" fmla="*/ 55880 w 55880"/>
                <a:gd name="connsiteY0" fmla="*/ 27940 h 55879"/>
                <a:gd name="connsiteX1" fmla="*/ 27940 w 55880"/>
                <a:gd name="connsiteY1" fmla="*/ 55880 h 55879"/>
                <a:gd name="connsiteX2" fmla="*/ 0 w 55880"/>
                <a:gd name="connsiteY2" fmla="*/ 27940 h 55879"/>
                <a:gd name="connsiteX3" fmla="*/ 27940 w 55880"/>
                <a:gd name="connsiteY3" fmla="*/ 0 h 55879"/>
                <a:gd name="connsiteX4" fmla="*/ 55880 w 55880"/>
                <a:gd name="connsiteY4" fmla="*/ 27940 h 55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880" h="55879">
                  <a:moveTo>
                    <a:pt x="55880" y="27940"/>
                  </a:moveTo>
                  <a:cubicBezTo>
                    <a:pt x="55880" y="43371"/>
                    <a:pt x="43371" y="55880"/>
                    <a:pt x="27940" y="55880"/>
                  </a:cubicBezTo>
                  <a:cubicBezTo>
                    <a:pt x="12509" y="55880"/>
                    <a:pt x="0" y="43371"/>
                    <a:pt x="0" y="27940"/>
                  </a:cubicBezTo>
                  <a:cubicBezTo>
                    <a:pt x="0" y="12509"/>
                    <a:pt x="12509" y="0"/>
                    <a:pt x="27940" y="0"/>
                  </a:cubicBezTo>
                  <a:cubicBezTo>
                    <a:pt x="43371" y="0"/>
                    <a:pt x="55880" y="12509"/>
                    <a:pt x="55880" y="2794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2AA5A0E6-8773-4F5A-B86B-9012948A88D7}"/>
                </a:ext>
              </a:extLst>
            </p:cNvPr>
            <p:cNvSpPr/>
            <p:nvPr/>
          </p:nvSpPr>
          <p:spPr bwMode="ltGray">
            <a:xfrm>
              <a:off x="842010" y="6550659"/>
              <a:ext cx="242569" cy="242570"/>
            </a:xfrm>
            <a:custGeom>
              <a:avLst/>
              <a:gdLst>
                <a:gd name="connsiteX0" fmla="*/ 121285 w 242569"/>
                <a:gd name="connsiteY0" fmla="*/ 0 h 242570"/>
                <a:gd name="connsiteX1" fmla="*/ 0 w 242569"/>
                <a:gd name="connsiteY1" fmla="*/ 121285 h 242570"/>
                <a:gd name="connsiteX2" fmla="*/ 121285 w 242569"/>
                <a:gd name="connsiteY2" fmla="*/ 242570 h 242570"/>
                <a:gd name="connsiteX3" fmla="*/ 242570 w 242569"/>
                <a:gd name="connsiteY3" fmla="*/ 121285 h 242570"/>
                <a:gd name="connsiteX4" fmla="*/ 121285 w 242569"/>
                <a:gd name="connsiteY4" fmla="*/ 0 h 24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569" h="242570">
                  <a:moveTo>
                    <a:pt x="121285" y="0"/>
                  </a:moveTo>
                  <a:cubicBezTo>
                    <a:pt x="54610" y="0"/>
                    <a:pt x="0" y="53975"/>
                    <a:pt x="0" y="121285"/>
                  </a:cubicBezTo>
                  <a:cubicBezTo>
                    <a:pt x="0" y="187960"/>
                    <a:pt x="53975" y="242570"/>
                    <a:pt x="121285" y="242570"/>
                  </a:cubicBezTo>
                  <a:cubicBezTo>
                    <a:pt x="188595" y="242570"/>
                    <a:pt x="242570" y="188595"/>
                    <a:pt x="242570" y="121285"/>
                  </a:cubicBezTo>
                  <a:cubicBezTo>
                    <a:pt x="242570" y="53975"/>
                    <a:pt x="188595" y="0"/>
                    <a:pt x="121285" y="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5F41A250-8C39-49A1-AA75-032C64AFADEE}"/>
                </a:ext>
              </a:extLst>
            </p:cNvPr>
            <p:cNvSpPr/>
            <p:nvPr/>
          </p:nvSpPr>
          <p:spPr bwMode="ltGray">
            <a:xfrm>
              <a:off x="855979" y="6198235"/>
              <a:ext cx="214630" cy="214629"/>
            </a:xfrm>
            <a:custGeom>
              <a:avLst/>
              <a:gdLst>
                <a:gd name="connsiteX0" fmla="*/ 214630 w 214630"/>
                <a:gd name="connsiteY0" fmla="*/ 107315 h 214629"/>
                <a:gd name="connsiteX1" fmla="*/ 107315 w 214630"/>
                <a:gd name="connsiteY1" fmla="*/ 214630 h 214629"/>
                <a:gd name="connsiteX2" fmla="*/ 0 w 214630"/>
                <a:gd name="connsiteY2" fmla="*/ 107315 h 214629"/>
                <a:gd name="connsiteX3" fmla="*/ 107315 w 214630"/>
                <a:gd name="connsiteY3" fmla="*/ 0 h 214629"/>
                <a:gd name="connsiteX4" fmla="*/ 214630 w 214630"/>
                <a:gd name="connsiteY4" fmla="*/ 107315 h 214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630" h="214629">
                  <a:moveTo>
                    <a:pt x="214630" y="107315"/>
                  </a:moveTo>
                  <a:cubicBezTo>
                    <a:pt x="214630" y="166583"/>
                    <a:pt x="166583" y="214630"/>
                    <a:pt x="107315" y="214630"/>
                  </a:cubicBezTo>
                  <a:cubicBezTo>
                    <a:pt x="48047" y="214630"/>
                    <a:pt x="0" y="166583"/>
                    <a:pt x="0" y="107315"/>
                  </a:cubicBezTo>
                  <a:cubicBezTo>
                    <a:pt x="0" y="48047"/>
                    <a:pt x="48047" y="0"/>
                    <a:pt x="107315" y="0"/>
                  </a:cubicBezTo>
                  <a:cubicBezTo>
                    <a:pt x="166584" y="0"/>
                    <a:pt x="214630" y="48047"/>
                    <a:pt x="214630" y="107315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5E41919C-6E0F-4B52-9D7A-E79712395C22}"/>
                </a:ext>
              </a:extLst>
            </p:cNvPr>
            <p:cNvSpPr/>
            <p:nvPr/>
          </p:nvSpPr>
          <p:spPr bwMode="ltGray">
            <a:xfrm>
              <a:off x="877569" y="5854065"/>
              <a:ext cx="171450" cy="171450"/>
            </a:xfrm>
            <a:custGeom>
              <a:avLst/>
              <a:gdLst>
                <a:gd name="connsiteX0" fmla="*/ 171450 w 171450"/>
                <a:gd name="connsiteY0" fmla="*/ 85725 h 171450"/>
                <a:gd name="connsiteX1" fmla="*/ 85725 w 171450"/>
                <a:gd name="connsiteY1" fmla="*/ 171450 h 171450"/>
                <a:gd name="connsiteX2" fmla="*/ 0 w 171450"/>
                <a:gd name="connsiteY2" fmla="*/ 85725 h 171450"/>
                <a:gd name="connsiteX3" fmla="*/ 85725 w 171450"/>
                <a:gd name="connsiteY3" fmla="*/ 0 h 171450"/>
                <a:gd name="connsiteX4" fmla="*/ 171450 w 171450"/>
                <a:gd name="connsiteY4" fmla="*/ 85725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171450">
                  <a:moveTo>
                    <a:pt x="171450" y="85725"/>
                  </a:moveTo>
                  <a:cubicBezTo>
                    <a:pt x="171450" y="133070"/>
                    <a:pt x="133070" y="171450"/>
                    <a:pt x="85725" y="171450"/>
                  </a:cubicBezTo>
                  <a:cubicBezTo>
                    <a:pt x="38380" y="171450"/>
                    <a:pt x="0" y="133070"/>
                    <a:pt x="0" y="85725"/>
                  </a:cubicBezTo>
                  <a:cubicBezTo>
                    <a:pt x="0" y="38380"/>
                    <a:pt x="38380" y="0"/>
                    <a:pt x="85725" y="0"/>
                  </a:cubicBezTo>
                  <a:cubicBezTo>
                    <a:pt x="133070" y="0"/>
                    <a:pt x="171450" y="38380"/>
                    <a:pt x="171450" y="85725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70663F6B-D2B4-493C-93B3-B63E8135212E}"/>
                </a:ext>
              </a:extLst>
            </p:cNvPr>
            <p:cNvSpPr/>
            <p:nvPr/>
          </p:nvSpPr>
          <p:spPr bwMode="ltGray">
            <a:xfrm>
              <a:off x="901064" y="5511800"/>
              <a:ext cx="124460" cy="124459"/>
            </a:xfrm>
            <a:custGeom>
              <a:avLst/>
              <a:gdLst>
                <a:gd name="connsiteX0" fmla="*/ 124460 w 124460"/>
                <a:gd name="connsiteY0" fmla="*/ 62230 h 124459"/>
                <a:gd name="connsiteX1" fmla="*/ 62230 w 124460"/>
                <a:gd name="connsiteY1" fmla="*/ 124460 h 124459"/>
                <a:gd name="connsiteX2" fmla="*/ 0 w 124460"/>
                <a:gd name="connsiteY2" fmla="*/ 62230 h 124459"/>
                <a:gd name="connsiteX3" fmla="*/ 62230 w 124460"/>
                <a:gd name="connsiteY3" fmla="*/ 0 h 124459"/>
                <a:gd name="connsiteX4" fmla="*/ 124460 w 124460"/>
                <a:gd name="connsiteY4" fmla="*/ 62230 h 124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60" h="124459">
                  <a:moveTo>
                    <a:pt x="124460" y="62230"/>
                  </a:moveTo>
                  <a:cubicBezTo>
                    <a:pt x="124460" y="96599"/>
                    <a:pt x="96599" y="124460"/>
                    <a:pt x="62230" y="124460"/>
                  </a:cubicBezTo>
                  <a:cubicBezTo>
                    <a:pt x="27861" y="124460"/>
                    <a:pt x="0" y="96598"/>
                    <a:pt x="0" y="62230"/>
                  </a:cubicBezTo>
                  <a:cubicBezTo>
                    <a:pt x="0" y="27861"/>
                    <a:pt x="27861" y="0"/>
                    <a:pt x="62230" y="0"/>
                  </a:cubicBezTo>
                  <a:cubicBezTo>
                    <a:pt x="96599" y="0"/>
                    <a:pt x="124460" y="27861"/>
                    <a:pt x="124460" y="6223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A140E152-F242-4339-A232-DC27F3C83154}"/>
                </a:ext>
              </a:extLst>
            </p:cNvPr>
            <p:cNvSpPr/>
            <p:nvPr/>
          </p:nvSpPr>
          <p:spPr bwMode="ltGray">
            <a:xfrm>
              <a:off x="924560" y="5169534"/>
              <a:ext cx="77469" cy="77470"/>
            </a:xfrm>
            <a:custGeom>
              <a:avLst/>
              <a:gdLst>
                <a:gd name="connsiteX0" fmla="*/ 38735 w 77469"/>
                <a:gd name="connsiteY0" fmla="*/ 77470 h 77470"/>
                <a:gd name="connsiteX1" fmla="*/ 77470 w 77469"/>
                <a:gd name="connsiteY1" fmla="*/ 38735 h 77470"/>
                <a:gd name="connsiteX2" fmla="*/ 38735 w 77469"/>
                <a:gd name="connsiteY2" fmla="*/ 0 h 77470"/>
                <a:gd name="connsiteX3" fmla="*/ 0 w 77469"/>
                <a:gd name="connsiteY3" fmla="*/ 38735 h 77470"/>
                <a:gd name="connsiteX4" fmla="*/ 38735 w 77469"/>
                <a:gd name="connsiteY4" fmla="*/ 77470 h 77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469" h="77470">
                  <a:moveTo>
                    <a:pt x="38735" y="77470"/>
                  </a:moveTo>
                  <a:cubicBezTo>
                    <a:pt x="60325" y="77470"/>
                    <a:pt x="77470" y="60325"/>
                    <a:pt x="77470" y="38735"/>
                  </a:cubicBezTo>
                  <a:cubicBezTo>
                    <a:pt x="77470" y="17145"/>
                    <a:pt x="60325" y="0"/>
                    <a:pt x="38735" y="0"/>
                  </a:cubicBezTo>
                  <a:cubicBezTo>
                    <a:pt x="17145" y="0"/>
                    <a:pt x="0" y="17145"/>
                    <a:pt x="0" y="38735"/>
                  </a:cubicBezTo>
                  <a:cubicBezTo>
                    <a:pt x="0" y="60325"/>
                    <a:pt x="17145" y="77470"/>
                    <a:pt x="38735" y="7747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022B96D4-7DD1-4193-A86D-082E128F3588}"/>
                </a:ext>
              </a:extLst>
            </p:cNvPr>
            <p:cNvSpPr/>
            <p:nvPr/>
          </p:nvSpPr>
          <p:spPr bwMode="ltGray">
            <a:xfrm>
              <a:off x="942975" y="4821555"/>
              <a:ext cx="40639" cy="40640"/>
            </a:xfrm>
            <a:custGeom>
              <a:avLst/>
              <a:gdLst>
                <a:gd name="connsiteX0" fmla="*/ 40640 w 40639"/>
                <a:gd name="connsiteY0" fmla="*/ 20320 h 40640"/>
                <a:gd name="connsiteX1" fmla="*/ 20320 w 40639"/>
                <a:gd name="connsiteY1" fmla="*/ 40640 h 40640"/>
                <a:gd name="connsiteX2" fmla="*/ 0 w 40639"/>
                <a:gd name="connsiteY2" fmla="*/ 20320 h 40640"/>
                <a:gd name="connsiteX3" fmla="*/ 20320 w 40639"/>
                <a:gd name="connsiteY3" fmla="*/ 0 h 40640"/>
                <a:gd name="connsiteX4" fmla="*/ 40640 w 40639"/>
                <a:gd name="connsiteY4" fmla="*/ 20320 h 40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39" h="40640">
                  <a:moveTo>
                    <a:pt x="40640" y="20320"/>
                  </a:moveTo>
                  <a:cubicBezTo>
                    <a:pt x="40640" y="31543"/>
                    <a:pt x="31542" y="40640"/>
                    <a:pt x="20320" y="40640"/>
                  </a:cubicBezTo>
                  <a:cubicBezTo>
                    <a:pt x="9098" y="40640"/>
                    <a:pt x="0" y="31543"/>
                    <a:pt x="0" y="20320"/>
                  </a:cubicBezTo>
                  <a:cubicBezTo>
                    <a:pt x="0" y="9097"/>
                    <a:pt x="9098" y="0"/>
                    <a:pt x="20320" y="0"/>
                  </a:cubicBezTo>
                  <a:cubicBezTo>
                    <a:pt x="31542" y="0"/>
                    <a:pt x="40640" y="9097"/>
                    <a:pt x="40640" y="2032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84F91198-3DA9-41F3-BEFC-291A66CC9451}"/>
                </a:ext>
              </a:extLst>
            </p:cNvPr>
            <p:cNvSpPr/>
            <p:nvPr/>
          </p:nvSpPr>
          <p:spPr bwMode="ltGray">
            <a:xfrm>
              <a:off x="1236344" y="6577965"/>
              <a:ext cx="186690" cy="186690"/>
            </a:xfrm>
            <a:custGeom>
              <a:avLst/>
              <a:gdLst>
                <a:gd name="connsiteX0" fmla="*/ 93345 w 186690"/>
                <a:gd name="connsiteY0" fmla="*/ 0 h 186690"/>
                <a:gd name="connsiteX1" fmla="*/ 0 w 186690"/>
                <a:gd name="connsiteY1" fmla="*/ 93345 h 186690"/>
                <a:gd name="connsiteX2" fmla="*/ 93345 w 186690"/>
                <a:gd name="connsiteY2" fmla="*/ 186690 h 186690"/>
                <a:gd name="connsiteX3" fmla="*/ 186690 w 186690"/>
                <a:gd name="connsiteY3" fmla="*/ 93345 h 186690"/>
                <a:gd name="connsiteX4" fmla="*/ 93345 w 186690"/>
                <a:gd name="connsiteY4" fmla="*/ 0 h 186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690" h="186690">
                  <a:moveTo>
                    <a:pt x="93345" y="0"/>
                  </a:moveTo>
                  <a:cubicBezTo>
                    <a:pt x="41910" y="0"/>
                    <a:pt x="0" y="41910"/>
                    <a:pt x="0" y="93345"/>
                  </a:cubicBezTo>
                  <a:cubicBezTo>
                    <a:pt x="0" y="144780"/>
                    <a:pt x="41910" y="186690"/>
                    <a:pt x="93345" y="186690"/>
                  </a:cubicBezTo>
                  <a:cubicBezTo>
                    <a:pt x="144780" y="186690"/>
                    <a:pt x="186690" y="144780"/>
                    <a:pt x="186690" y="93345"/>
                  </a:cubicBezTo>
                  <a:cubicBezTo>
                    <a:pt x="186690" y="41910"/>
                    <a:pt x="144780" y="0"/>
                    <a:pt x="93345" y="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1745286A-26FE-4A6F-9B31-444968445BC9}"/>
                </a:ext>
              </a:extLst>
            </p:cNvPr>
            <p:cNvSpPr/>
            <p:nvPr/>
          </p:nvSpPr>
          <p:spPr bwMode="ltGray">
            <a:xfrm>
              <a:off x="1249680" y="6225540"/>
              <a:ext cx="160019" cy="160019"/>
            </a:xfrm>
            <a:custGeom>
              <a:avLst/>
              <a:gdLst>
                <a:gd name="connsiteX0" fmla="*/ 80010 w 160019"/>
                <a:gd name="connsiteY0" fmla="*/ 160020 h 160019"/>
                <a:gd name="connsiteX1" fmla="*/ 160020 w 160019"/>
                <a:gd name="connsiteY1" fmla="*/ 80010 h 160019"/>
                <a:gd name="connsiteX2" fmla="*/ 80010 w 160019"/>
                <a:gd name="connsiteY2" fmla="*/ 0 h 160019"/>
                <a:gd name="connsiteX3" fmla="*/ 0 w 160019"/>
                <a:gd name="connsiteY3" fmla="*/ 80010 h 160019"/>
                <a:gd name="connsiteX4" fmla="*/ 80010 w 160019"/>
                <a:gd name="connsiteY4" fmla="*/ 160020 h 16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19" h="160019">
                  <a:moveTo>
                    <a:pt x="80010" y="160020"/>
                  </a:moveTo>
                  <a:cubicBezTo>
                    <a:pt x="123825" y="160020"/>
                    <a:pt x="160020" y="124460"/>
                    <a:pt x="160020" y="80010"/>
                  </a:cubicBezTo>
                  <a:cubicBezTo>
                    <a:pt x="160020" y="36195"/>
                    <a:pt x="124460" y="0"/>
                    <a:pt x="80010" y="0"/>
                  </a:cubicBezTo>
                  <a:cubicBezTo>
                    <a:pt x="36195" y="0"/>
                    <a:pt x="0" y="35560"/>
                    <a:pt x="0" y="80010"/>
                  </a:cubicBezTo>
                  <a:cubicBezTo>
                    <a:pt x="0" y="123825"/>
                    <a:pt x="35560" y="160020"/>
                    <a:pt x="80010" y="16002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99050AD9-A5CE-4705-9A3C-978715B55866}"/>
                </a:ext>
              </a:extLst>
            </p:cNvPr>
            <p:cNvSpPr/>
            <p:nvPr/>
          </p:nvSpPr>
          <p:spPr bwMode="ltGray">
            <a:xfrm>
              <a:off x="1268730" y="5878830"/>
              <a:ext cx="121919" cy="121920"/>
            </a:xfrm>
            <a:custGeom>
              <a:avLst/>
              <a:gdLst>
                <a:gd name="connsiteX0" fmla="*/ 121920 w 121919"/>
                <a:gd name="connsiteY0" fmla="*/ 60960 h 121920"/>
                <a:gd name="connsiteX1" fmla="*/ 60960 w 121919"/>
                <a:gd name="connsiteY1" fmla="*/ 121920 h 121920"/>
                <a:gd name="connsiteX2" fmla="*/ 0 w 121919"/>
                <a:gd name="connsiteY2" fmla="*/ 60960 h 121920"/>
                <a:gd name="connsiteX3" fmla="*/ 60960 w 121919"/>
                <a:gd name="connsiteY3" fmla="*/ 0 h 121920"/>
                <a:gd name="connsiteX4" fmla="*/ 121920 w 121919"/>
                <a:gd name="connsiteY4" fmla="*/ 60960 h 12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919" h="121920">
                  <a:moveTo>
                    <a:pt x="121920" y="60960"/>
                  </a:moveTo>
                  <a:cubicBezTo>
                    <a:pt x="121920" y="94627"/>
                    <a:pt x="94627" y="121920"/>
                    <a:pt x="60960" y="121920"/>
                  </a:cubicBezTo>
                  <a:cubicBezTo>
                    <a:pt x="27293" y="121920"/>
                    <a:pt x="0" y="94627"/>
                    <a:pt x="0" y="60960"/>
                  </a:cubicBezTo>
                  <a:cubicBezTo>
                    <a:pt x="0" y="27293"/>
                    <a:pt x="27293" y="0"/>
                    <a:pt x="60960" y="0"/>
                  </a:cubicBezTo>
                  <a:cubicBezTo>
                    <a:pt x="94627" y="0"/>
                    <a:pt x="121920" y="27293"/>
                    <a:pt x="121920" y="6096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C1780A46-4FDF-464F-B69A-60F9CBB8D77E}"/>
                </a:ext>
              </a:extLst>
            </p:cNvPr>
            <p:cNvSpPr/>
            <p:nvPr/>
          </p:nvSpPr>
          <p:spPr bwMode="ltGray">
            <a:xfrm>
              <a:off x="1287764" y="5532120"/>
              <a:ext cx="83835" cy="83820"/>
            </a:xfrm>
            <a:custGeom>
              <a:avLst/>
              <a:gdLst>
                <a:gd name="connsiteX0" fmla="*/ 41925 w 83835"/>
                <a:gd name="connsiteY0" fmla="*/ 83820 h 83820"/>
                <a:gd name="connsiteX1" fmla="*/ 83835 w 83835"/>
                <a:gd name="connsiteY1" fmla="*/ 41910 h 83820"/>
                <a:gd name="connsiteX2" fmla="*/ 41925 w 83835"/>
                <a:gd name="connsiteY2" fmla="*/ 0 h 83820"/>
                <a:gd name="connsiteX3" fmla="*/ 15 w 83835"/>
                <a:gd name="connsiteY3" fmla="*/ 41910 h 83820"/>
                <a:gd name="connsiteX4" fmla="*/ 41925 w 83835"/>
                <a:gd name="connsiteY4" fmla="*/ 83820 h 83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835" h="83820">
                  <a:moveTo>
                    <a:pt x="41925" y="83820"/>
                  </a:moveTo>
                  <a:cubicBezTo>
                    <a:pt x="65420" y="83820"/>
                    <a:pt x="83835" y="64770"/>
                    <a:pt x="83835" y="41910"/>
                  </a:cubicBezTo>
                  <a:cubicBezTo>
                    <a:pt x="83835" y="18415"/>
                    <a:pt x="64785" y="0"/>
                    <a:pt x="41925" y="0"/>
                  </a:cubicBezTo>
                  <a:cubicBezTo>
                    <a:pt x="19065" y="0"/>
                    <a:pt x="15" y="19050"/>
                    <a:pt x="15" y="41910"/>
                  </a:cubicBezTo>
                  <a:cubicBezTo>
                    <a:pt x="-620" y="64770"/>
                    <a:pt x="18430" y="83820"/>
                    <a:pt x="41925" y="8382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67A4A40C-E1D4-4376-B779-DE15CCAEC4AC}"/>
                </a:ext>
              </a:extLst>
            </p:cNvPr>
            <p:cNvSpPr/>
            <p:nvPr/>
          </p:nvSpPr>
          <p:spPr bwMode="ltGray">
            <a:xfrm>
              <a:off x="1304925" y="5182870"/>
              <a:ext cx="49530" cy="49529"/>
            </a:xfrm>
            <a:custGeom>
              <a:avLst/>
              <a:gdLst>
                <a:gd name="connsiteX0" fmla="*/ 24765 w 49530"/>
                <a:gd name="connsiteY0" fmla="*/ 49530 h 49529"/>
                <a:gd name="connsiteX1" fmla="*/ 49530 w 49530"/>
                <a:gd name="connsiteY1" fmla="*/ 24765 h 49529"/>
                <a:gd name="connsiteX2" fmla="*/ 24765 w 49530"/>
                <a:gd name="connsiteY2" fmla="*/ 0 h 49529"/>
                <a:gd name="connsiteX3" fmla="*/ 0 w 49530"/>
                <a:gd name="connsiteY3" fmla="*/ 24765 h 49529"/>
                <a:gd name="connsiteX4" fmla="*/ 24765 w 49530"/>
                <a:gd name="connsiteY4" fmla="*/ 49530 h 4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" h="49529">
                  <a:moveTo>
                    <a:pt x="24765" y="49530"/>
                  </a:moveTo>
                  <a:cubicBezTo>
                    <a:pt x="38100" y="49530"/>
                    <a:pt x="49530" y="38735"/>
                    <a:pt x="49530" y="24765"/>
                  </a:cubicBezTo>
                  <a:cubicBezTo>
                    <a:pt x="49530" y="10795"/>
                    <a:pt x="38735" y="0"/>
                    <a:pt x="24765" y="0"/>
                  </a:cubicBezTo>
                  <a:cubicBezTo>
                    <a:pt x="10795" y="0"/>
                    <a:pt x="0" y="10795"/>
                    <a:pt x="0" y="24765"/>
                  </a:cubicBezTo>
                  <a:cubicBezTo>
                    <a:pt x="0" y="38735"/>
                    <a:pt x="10795" y="49530"/>
                    <a:pt x="24765" y="4953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7940CD31-B223-4365-857A-4E096594BAB7}"/>
                </a:ext>
              </a:extLst>
            </p:cNvPr>
            <p:cNvSpPr/>
            <p:nvPr/>
          </p:nvSpPr>
          <p:spPr bwMode="ltGray">
            <a:xfrm>
              <a:off x="1633220" y="6609715"/>
              <a:ext cx="124459" cy="124459"/>
            </a:xfrm>
            <a:custGeom>
              <a:avLst/>
              <a:gdLst>
                <a:gd name="connsiteX0" fmla="*/ 62230 w 124459"/>
                <a:gd name="connsiteY0" fmla="*/ 0 h 124459"/>
                <a:gd name="connsiteX1" fmla="*/ 0 w 124459"/>
                <a:gd name="connsiteY1" fmla="*/ 62230 h 124459"/>
                <a:gd name="connsiteX2" fmla="*/ 62230 w 124459"/>
                <a:gd name="connsiteY2" fmla="*/ 124460 h 124459"/>
                <a:gd name="connsiteX3" fmla="*/ 124460 w 124459"/>
                <a:gd name="connsiteY3" fmla="*/ 62230 h 124459"/>
                <a:gd name="connsiteX4" fmla="*/ 62230 w 124459"/>
                <a:gd name="connsiteY4" fmla="*/ 0 h 124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59" h="124459">
                  <a:moveTo>
                    <a:pt x="62230" y="0"/>
                  </a:moveTo>
                  <a:cubicBezTo>
                    <a:pt x="27940" y="0"/>
                    <a:pt x="0" y="27940"/>
                    <a:pt x="0" y="62230"/>
                  </a:cubicBezTo>
                  <a:cubicBezTo>
                    <a:pt x="0" y="96520"/>
                    <a:pt x="27940" y="124460"/>
                    <a:pt x="62230" y="124460"/>
                  </a:cubicBezTo>
                  <a:cubicBezTo>
                    <a:pt x="96520" y="124460"/>
                    <a:pt x="124460" y="96520"/>
                    <a:pt x="124460" y="62230"/>
                  </a:cubicBezTo>
                  <a:cubicBezTo>
                    <a:pt x="124460" y="27940"/>
                    <a:pt x="96520" y="0"/>
                    <a:pt x="62230" y="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5C00775B-CDD2-436B-9B1F-BB0DA84C2D05}"/>
                </a:ext>
              </a:extLst>
            </p:cNvPr>
            <p:cNvSpPr/>
            <p:nvPr/>
          </p:nvSpPr>
          <p:spPr bwMode="ltGray">
            <a:xfrm>
              <a:off x="1644650" y="6254750"/>
              <a:ext cx="101600" cy="101600"/>
            </a:xfrm>
            <a:custGeom>
              <a:avLst/>
              <a:gdLst>
                <a:gd name="connsiteX0" fmla="*/ 50800 w 101600"/>
                <a:gd name="connsiteY0" fmla="*/ 101600 h 101600"/>
                <a:gd name="connsiteX1" fmla="*/ 101600 w 101600"/>
                <a:gd name="connsiteY1" fmla="*/ 50800 h 101600"/>
                <a:gd name="connsiteX2" fmla="*/ 50800 w 101600"/>
                <a:gd name="connsiteY2" fmla="*/ 0 h 101600"/>
                <a:gd name="connsiteX3" fmla="*/ 0 w 101600"/>
                <a:gd name="connsiteY3" fmla="*/ 50800 h 101600"/>
                <a:gd name="connsiteX4" fmla="*/ 50800 w 101600"/>
                <a:gd name="connsiteY4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600" h="101600">
                  <a:moveTo>
                    <a:pt x="50800" y="101600"/>
                  </a:moveTo>
                  <a:cubicBezTo>
                    <a:pt x="78740" y="101600"/>
                    <a:pt x="101600" y="78740"/>
                    <a:pt x="101600" y="50800"/>
                  </a:cubicBezTo>
                  <a:cubicBezTo>
                    <a:pt x="101600" y="22860"/>
                    <a:pt x="78740" y="0"/>
                    <a:pt x="50800" y="0"/>
                  </a:cubicBezTo>
                  <a:cubicBezTo>
                    <a:pt x="22860" y="0"/>
                    <a:pt x="0" y="22860"/>
                    <a:pt x="0" y="50800"/>
                  </a:cubicBezTo>
                  <a:cubicBezTo>
                    <a:pt x="0" y="78740"/>
                    <a:pt x="22860" y="101600"/>
                    <a:pt x="50800" y="10160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7C276F16-8F17-4EF7-BE4E-CBD589E54F89}"/>
                </a:ext>
              </a:extLst>
            </p:cNvPr>
            <p:cNvSpPr/>
            <p:nvPr/>
          </p:nvSpPr>
          <p:spPr bwMode="ltGray">
            <a:xfrm>
              <a:off x="1658620" y="5902960"/>
              <a:ext cx="73660" cy="73659"/>
            </a:xfrm>
            <a:custGeom>
              <a:avLst/>
              <a:gdLst>
                <a:gd name="connsiteX0" fmla="*/ 73660 w 73660"/>
                <a:gd name="connsiteY0" fmla="*/ 36830 h 73659"/>
                <a:gd name="connsiteX1" fmla="*/ 36830 w 73660"/>
                <a:gd name="connsiteY1" fmla="*/ 73660 h 73659"/>
                <a:gd name="connsiteX2" fmla="*/ 0 w 73660"/>
                <a:gd name="connsiteY2" fmla="*/ 36830 h 73659"/>
                <a:gd name="connsiteX3" fmla="*/ 36830 w 73660"/>
                <a:gd name="connsiteY3" fmla="*/ 0 h 73659"/>
                <a:gd name="connsiteX4" fmla="*/ 73660 w 73660"/>
                <a:gd name="connsiteY4" fmla="*/ 36830 h 7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660" h="73659">
                  <a:moveTo>
                    <a:pt x="73660" y="36830"/>
                  </a:moveTo>
                  <a:cubicBezTo>
                    <a:pt x="73660" y="57171"/>
                    <a:pt x="57171" y="73660"/>
                    <a:pt x="36830" y="73660"/>
                  </a:cubicBezTo>
                  <a:cubicBezTo>
                    <a:pt x="16489" y="73660"/>
                    <a:pt x="0" y="57171"/>
                    <a:pt x="0" y="36830"/>
                  </a:cubicBezTo>
                  <a:cubicBezTo>
                    <a:pt x="0" y="16490"/>
                    <a:pt x="16489" y="0"/>
                    <a:pt x="36830" y="0"/>
                  </a:cubicBezTo>
                  <a:cubicBezTo>
                    <a:pt x="57171" y="0"/>
                    <a:pt x="73660" y="16490"/>
                    <a:pt x="73660" y="3683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58C8D368-3682-467B-A3D5-F108D789E98B}"/>
                </a:ext>
              </a:extLst>
            </p:cNvPr>
            <p:cNvSpPr/>
            <p:nvPr/>
          </p:nvSpPr>
          <p:spPr bwMode="ltGray">
            <a:xfrm>
              <a:off x="1670685" y="5548629"/>
              <a:ext cx="49529" cy="49529"/>
            </a:xfrm>
            <a:custGeom>
              <a:avLst/>
              <a:gdLst>
                <a:gd name="connsiteX0" fmla="*/ 24765 w 49529"/>
                <a:gd name="connsiteY0" fmla="*/ 49530 h 49529"/>
                <a:gd name="connsiteX1" fmla="*/ 49530 w 49529"/>
                <a:gd name="connsiteY1" fmla="*/ 24765 h 49529"/>
                <a:gd name="connsiteX2" fmla="*/ 24765 w 49529"/>
                <a:gd name="connsiteY2" fmla="*/ 0 h 49529"/>
                <a:gd name="connsiteX3" fmla="*/ 0 w 49529"/>
                <a:gd name="connsiteY3" fmla="*/ 24765 h 49529"/>
                <a:gd name="connsiteX4" fmla="*/ 24765 w 49529"/>
                <a:gd name="connsiteY4" fmla="*/ 49530 h 4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29" h="49529">
                  <a:moveTo>
                    <a:pt x="24765" y="49530"/>
                  </a:moveTo>
                  <a:cubicBezTo>
                    <a:pt x="38100" y="49530"/>
                    <a:pt x="49530" y="38735"/>
                    <a:pt x="49530" y="24765"/>
                  </a:cubicBezTo>
                  <a:cubicBezTo>
                    <a:pt x="49530" y="10795"/>
                    <a:pt x="38735" y="0"/>
                    <a:pt x="24765" y="0"/>
                  </a:cubicBezTo>
                  <a:cubicBezTo>
                    <a:pt x="10795" y="0"/>
                    <a:pt x="0" y="10795"/>
                    <a:pt x="0" y="24765"/>
                  </a:cubicBezTo>
                  <a:cubicBezTo>
                    <a:pt x="0" y="38735"/>
                    <a:pt x="10795" y="49530"/>
                    <a:pt x="24765" y="4953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16C67203-34B2-4F01-BA1C-6FEA3242AA6A}"/>
                </a:ext>
              </a:extLst>
            </p:cNvPr>
            <p:cNvSpPr/>
            <p:nvPr/>
          </p:nvSpPr>
          <p:spPr bwMode="ltGray">
            <a:xfrm>
              <a:off x="2026920" y="6637019"/>
              <a:ext cx="68579" cy="68580"/>
            </a:xfrm>
            <a:custGeom>
              <a:avLst/>
              <a:gdLst>
                <a:gd name="connsiteX0" fmla="*/ 68580 w 68579"/>
                <a:gd name="connsiteY0" fmla="*/ 34290 h 68580"/>
                <a:gd name="connsiteX1" fmla="*/ 34290 w 68579"/>
                <a:gd name="connsiteY1" fmla="*/ 68580 h 68580"/>
                <a:gd name="connsiteX2" fmla="*/ 0 w 68579"/>
                <a:gd name="connsiteY2" fmla="*/ 34290 h 68580"/>
                <a:gd name="connsiteX3" fmla="*/ 34290 w 68579"/>
                <a:gd name="connsiteY3" fmla="*/ 0 h 68580"/>
                <a:gd name="connsiteX4" fmla="*/ 68580 w 68579"/>
                <a:gd name="connsiteY4" fmla="*/ 34290 h 6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79" h="68580">
                  <a:moveTo>
                    <a:pt x="68580" y="34290"/>
                  </a:moveTo>
                  <a:cubicBezTo>
                    <a:pt x="68580" y="53227"/>
                    <a:pt x="53228" y="68580"/>
                    <a:pt x="34290" y="68580"/>
                  </a:cubicBezTo>
                  <a:cubicBezTo>
                    <a:pt x="15352" y="68580"/>
                    <a:pt x="0" y="53228"/>
                    <a:pt x="0" y="34290"/>
                  </a:cubicBezTo>
                  <a:cubicBezTo>
                    <a:pt x="0" y="15352"/>
                    <a:pt x="15352" y="0"/>
                    <a:pt x="34290" y="0"/>
                  </a:cubicBezTo>
                  <a:cubicBezTo>
                    <a:pt x="53228" y="0"/>
                    <a:pt x="68580" y="15351"/>
                    <a:pt x="68580" y="3429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2E3277A4-8A6C-4B77-87E0-5EDC22383AEB}"/>
                </a:ext>
              </a:extLst>
            </p:cNvPr>
            <p:cNvSpPr/>
            <p:nvPr/>
          </p:nvSpPr>
          <p:spPr bwMode="ltGray">
            <a:xfrm>
              <a:off x="2033270" y="6278245"/>
              <a:ext cx="55244" cy="55245"/>
            </a:xfrm>
            <a:custGeom>
              <a:avLst/>
              <a:gdLst>
                <a:gd name="connsiteX0" fmla="*/ 27940 w 55244"/>
                <a:gd name="connsiteY0" fmla="*/ 55245 h 55245"/>
                <a:gd name="connsiteX1" fmla="*/ 55245 w 55244"/>
                <a:gd name="connsiteY1" fmla="*/ 27305 h 55245"/>
                <a:gd name="connsiteX2" fmla="*/ 27940 w 55244"/>
                <a:gd name="connsiteY2" fmla="*/ 0 h 55245"/>
                <a:gd name="connsiteX3" fmla="*/ 0 w 55244"/>
                <a:gd name="connsiteY3" fmla="*/ 27305 h 55245"/>
                <a:gd name="connsiteX4" fmla="*/ 27940 w 55244"/>
                <a:gd name="connsiteY4" fmla="*/ 55245 h 5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44" h="55245">
                  <a:moveTo>
                    <a:pt x="27940" y="55245"/>
                  </a:moveTo>
                  <a:cubicBezTo>
                    <a:pt x="43180" y="55245"/>
                    <a:pt x="55245" y="43180"/>
                    <a:pt x="55245" y="27305"/>
                  </a:cubicBezTo>
                  <a:cubicBezTo>
                    <a:pt x="55245" y="12065"/>
                    <a:pt x="43180" y="0"/>
                    <a:pt x="27940" y="0"/>
                  </a:cubicBezTo>
                  <a:cubicBezTo>
                    <a:pt x="12700" y="0"/>
                    <a:pt x="0" y="12065"/>
                    <a:pt x="0" y="27305"/>
                  </a:cubicBezTo>
                  <a:cubicBezTo>
                    <a:pt x="635" y="42545"/>
                    <a:pt x="12700" y="55245"/>
                    <a:pt x="27940" y="55245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A3DA31E2-47AD-46DD-BA34-59AFB4916EC7}"/>
                </a:ext>
              </a:extLst>
            </p:cNvPr>
            <p:cNvSpPr/>
            <p:nvPr/>
          </p:nvSpPr>
          <p:spPr bwMode="ltGray">
            <a:xfrm>
              <a:off x="2041525" y="5920104"/>
              <a:ext cx="39370" cy="39370"/>
            </a:xfrm>
            <a:custGeom>
              <a:avLst/>
              <a:gdLst>
                <a:gd name="connsiteX0" fmla="*/ 19685 w 39370"/>
                <a:gd name="connsiteY0" fmla="*/ 39370 h 39370"/>
                <a:gd name="connsiteX1" fmla="*/ 39370 w 39370"/>
                <a:gd name="connsiteY1" fmla="*/ 19685 h 39370"/>
                <a:gd name="connsiteX2" fmla="*/ 19685 w 39370"/>
                <a:gd name="connsiteY2" fmla="*/ 0 h 39370"/>
                <a:gd name="connsiteX3" fmla="*/ 0 w 39370"/>
                <a:gd name="connsiteY3" fmla="*/ 19685 h 39370"/>
                <a:gd name="connsiteX4" fmla="*/ 19685 w 39370"/>
                <a:gd name="connsiteY4" fmla="*/ 39370 h 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70" h="39370">
                  <a:moveTo>
                    <a:pt x="19685" y="39370"/>
                  </a:moveTo>
                  <a:cubicBezTo>
                    <a:pt x="30480" y="39370"/>
                    <a:pt x="39370" y="30480"/>
                    <a:pt x="39370" y="19685"/>
                  </a:cubicBezTo>
                  <a:cubicBezTo>
                    <a:pt x="39370" y="8890"/>
                    <a:pt x="30480" y="0"/>
                    <a:pt x="19685" y="0"/>
                  </a:cubicBezTo>
                  <a:cubicBezTo>
                    <a:pt x="8890" y="0"/>
                    <a:pt x="0" y="8890"/>
                    <a:pt x="0" y="19685"/>
                  </a:cubicBezTo>
                  <a:cubicBezTo>
                    <a:pt x="0" y="30480"/>
                    <a:pt x="8890" y="39370"/>
                    <a:pt x="19685" y="3937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5C143C1C-64AE-4C5A-ADFF-F312B5D04292}"/>
                </a:ext>
              </a:extLst>
            </p:cNvPr>
            <p:cNvSpPr/>
            <p:nvPr/>
          </p:nvSpPr>
          <p:spPr bwMode="ltGray">
            <a:xfrm>
              <a:off x="2411095" y="6656069"/>
              <a:ext cx="31750" cy="31750"/>
            </a:xfrm>
            <a:custGeom>
              <a:avLst/>
              <a:gdLst>
                <a:gd name="connsiteX0" fmla="*/ 15875 w 31750"/>
                <a:gd name="connsiteY0" fmla="*/ 0 h 31750"/>
                <a:gd name="connsiteX1" fmla="*/ 0 w 31750"/>
                <a:gd name="connsiteY1" fmla="*/ 15875 h 31750"/>
                <a:gd name="connsiteX2" fmla="*/ 15875 w 31750"/>
                <a:gd name="connsiteY2" fmla="*/ 31750 h 31750"/>
                <a:gd name="connsiteX3" fmla="*/ 31750 w 31750"/>
                <a:gd name="connsiteY3" fmla="*/ 15875 h 31750"/>
                <a:gd name="connsiteX4" fmla="*/ 15875 w 31750"/>
                <a:gd name="connsiteY4" fmla="*/ 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750" h="31750">
                  <a:moveTo>
                    <a:pt x="15875" y="0"/>
                  </a:moveTo>
                  <a:cubicBezTo>
                    <a:pt x="6985" y="0"/>
                    <a:pt x="0" y="6986"/>
                    <a:pt x="0" y="15875"/>
                  </a:cubicBezTo>
                  <a:cubicBezTo>
                    <a:pt x="0" y="24765"/>
                    <a:pt x="6985" y="31750"/>
                    <a:pt x="15875" y="31750"/>
                  </a:cubicBezTo>
                  <a:cubicBezTo>
                    <a:pt x="24765" y="31750"/>
                    <a:pt x="31750" y="24765"/>
                    <a:pt x="31750" y="15875"/>
                  </a:cubicBezTo>
                  <a:cubicBezTo>
                    <a:pt x="31750" y="6986"/>
                    <a:pt x="24765" y="0"/>
                    <a:pt x="15875" y="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9583357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6172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41511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313887"/>
            <a:ext cx="100584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04088888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5364781E-90A5-41D2-A141-A44A8A72401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523D21D-208D-4E3E-832F-6FFD3F9D6F5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313887"/>
            <a:ext cx="100584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36180071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B014F216-FC8E-4B8B-9DEF-D066E1E1EAC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6C496831-9C98-458A-83E4-F65432F693C7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313887"/>
            <a:ext cx="100584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9685749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CF506800-CC03-4E30-BBD2-35CB47BBCAAF}"/>
              </a:ext>
            </a:extLst>
          </p:cNvPr>
          <p:cNvSpPr>
            <a:spLocks/>
          </p:cNvSpPr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err="1">
              <a:solidFill>
                <a:schemeClr val="bg1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E81832D-2BD1-46FE-8833-D52CCCE93315}"/>
              </a:ext>
            </a:extLst>
          </p:cNvPr>
          <p:cNvPicPr>
            <a:picLocks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463914"/>
            <a:ext cx="7717197" cy="1354217"/>
          </a:xfrm>
        </p:spPr>
        <p:txBody>
          <a:bodyPr vert="horz" wrap="square" anchor="ctr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D1764442-0AB4-4371-B9F4-8D2A149E165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8" name="image" descr="{&quot;templafy&quot;:{&quot;id&quot;:&quot;2e404ccb-b54f-4d9c-b286-9094f98b6e06&quot;}}">
            <a:extLst>
              <a:ext uri="{FF2B5EF4-FFF2-40B4-BE49-F238E27FC236}">
                <a16:creationId xmlns:a16="http://schemas.microsoft.com/office/drawing/2014/main" id="{C092A066-7BCA-49B3-8D8F-1514D57793EF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336186" y="6415188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7920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ACB507B-391C-4541-AC04-D7D72B319FAB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2BDD359-CFDA-46E9-8049-06E001DBBC6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4" y="6313887"/>
            <a:ext cx="100584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0405137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CECE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359648"/>
            <a:ext cx="2514600" cy="1154162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990316C1-24B3-4E49-A1B0-7483B67142B0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8381186-9D8C-4AD9-8903-39140FC01A1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313887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pic>
        <p:nvPicPr>
          <p:cNvPr id="13" name="image" descr="{&quot;templafy&quot;:{&quot;id&quot;:&quot;2e404ccb-b54f-4d9c-b286-9094f98b6e06&quot;}}">
            <a:extLst>
              <a:ext uri="{FF2B5EF4-FFF2-40B4-BE49-F238E27FC236}">
                <a16:creationId xmlns:a16="http://schemas.microsoft.com/office/drawing/2014/main" id="{B8B9BA2A-AE64-4C49-AA17-39350D83E0BC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336186" y="6556805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6727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D67BDF81-EFA1-4C8C-B966-25B68D6657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2484536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CECE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860576A-2655-46FB-8125-92DCD4AC56F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0C2F705A-8F40-4857-8A88-FF03BED45CA3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313887"/>
            <a:ext cx="34655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pic>
        <p:nvPicPr>
          <p:cNvPr id="13" name="image" descr="{&quot;templafy&quot;:{&quot;id&quot;:&quot;2e404ccb-b54f-4d9c-b286-9094f98b6e06&quot;}}">
            <a:extLst>
              <a:ext uri="{FF2B5EF4-FFF2-40B4-BE49-F238E27FC236}">
                <a16:creationId xmlns:a16="http://schemas.microsoft.com/office/drawing/2014/main" id="{0D7A6179-5F91-411F-B77A-930478A030DC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336186" y="6556805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6192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CECE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6172"/>
            <a:ext cx="5065776" cy="384721"/>
          </a:xfrm>
        </p:spPr>
        <p:txBody>
          <a:bodyPr vert="horz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41511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14D7570-4EBF-4A30-AE4A-17B453C306C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66AC8B38-CB68-45E2-9052-C37D4CCCCBF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313887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pic>
        <p:nvPicPr>
          <p:cNvPr id="15" name="image" descr="{&quot;templafy&quot;:{&quot;id&quot;:&quot;2e404ccb-b54f-4d9c-b286-9094f98b6e06&quot;}}">
            <a:extLst>
              <a:ext uri="{FF2B5EF4-FFF2-40B4-BE49-F238E27FC236}">
                <a16:creationId xmlns:a16="http://schemas.microsoft.com/office/drawing/2014/main" id="{CE56D557-CD82-43A6-9302-40E0E1459A9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336186" y="6556805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14235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6172"/>
            <a:ext cx="6967728" cy="384721"/>
          </a:xfrm>
        </p:spPr>
        <p:txBody>
          <a:bodyPr vert="horz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CECE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41511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954A1AAA-E565-475F-AA88-6942EF2F73F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1414188E-2876-47EB-A015-E646B40224A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313887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pic>
        <p:nvPicPr>
          <p:cNvPr id="14" name="image" descr="{&quot;templafy&quot;:{&quot;id&quot;:&quot;2e404ccb-b54f-4d9c-b286-9094f98b6e06&quot;}}">
            <a:extLst>
              <a:ext uri="{FF2B5EF4-FFF2-40B4-BE49-F238E27FC236}">
                <a16:creationId xmlns:a16="http://schemas.microsoft.com/office/drawing/2014/main" id="{6336F979-CDE3-46C1-83FB-DEC807E1BEC3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336186" y="6556805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77416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CECE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6172"/>
            <a:ext cx="7918704" cy="384721"/>
          </a:xfrm>
        </p:spPr>
        <p:txBody>
          <a:bodyPr vert="horz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41511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57F95368-246E-4FAB-9FBC-0A5AB169BDE9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3DCF2CB0-6754-4D70-9AC5-FB878BD332D1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313887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pic>
        <p:nvPicPr>
          <p:cNvPr id="14" name="image" descr="{&quot;templafy&quot;:{&quot;id&quot;:&quot;2e404ccb-b54f-4d9c-b286-9094f98b6e06&quot;}}">
            <a:extLst>
              <a:ext uri="{FF2B5EF4-FFF2-40B4-BE49-F238E27FC236}">
                <a16:creationId xmlns:a16="http://schemas.microsoft.com/office/drawing/2014/main" id="{65A6BD0E-9BE8-480A-9DEA-772C2A05DB8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336186" y="6556805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10530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6172"/>
            <a:ext cx="11082528" cy="384721"/>
          </a:xfrm>
        </p:spPr>
        <p:txBody>
          <a:bodyPr vert="horz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50EDCE2-BE46-4BAE-A7BD-B50D0CEFB6F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C848106-FEDB-4A24-9354-B5F467500F9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313887"/>
            <a:ext cx="100584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pic>
        <p:nvPicPr>
          <p:cNvPr id="13" name="image" descr="{&quot;templafy&quot;:{&quot;id&quot;:&quot;2e404ccb-b54f-4d9c-b286-9094f98b6e06&quot;}}">
            <a:extLst>
              <a:ext uri="{FF2B5EF4-FFF2-40B4-BE49-F238E27FC236}">
                <a16:creationId xmlns:a16="http://schemas.microsoft.com/office/drawing/2014/main" id="{8ADD7143-832A-482F-B5A8-8D5AABB3DDC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336186" y="6556805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96146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CC65054-8421-4833-BD29-70DD436393C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7D7D25DA-E5AA-4E95-BCC1-9F159CD5BA7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4" y="6313887"/>
            <a:ext cx="100584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pic>
        <p:nvPicPr>
          <p:cNvPr id="11" name="image" descr="{&quot;templafy&quot;:{&quot;id&quot;:&quot;2e404ccb-b54f-4d9c-b286-9094f98b6e06&quot;}}">
            <a:extLst>
              <a:ext uri="{FF2B5EF4-FFF2-40B4-BE49-F238E27FC236}">
                <a16:creationId xmlns:a16="http://schemas.microsoft.com/office/drawing/2014/main" id="{C855C733-8026-4B78-B285-0BE9A6090CF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ltGray">
          <a:xfrm>
            <a:off x="336186" y="6556805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62024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FE2BE697-15A4-431C-80BD-536B046448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ltGray">
          <a:xfrm flipV="1">
            <a:off x="71438" y="34890"/>
            <a:ext cx="12049125" cy="678822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5AC8D5F-85DB-4D6C-9C8B-3518998BD72B}"/>
              </a:ext>
            </a:extLst>
          </p:cNvPr>
          <p:cNvSpPr txBox="1"/>
          <p:nvPr userDrawn="1"/>
        </p:nvSpPr>
        <p:spPr>
          <a:xfrm>
            <a:off x="3795977" y="5633832"/>
            <a:ext cx="1741715" cy="6078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</p:txBody>
      </p:sp>
      <p:pic>
        <p:nvPicPr>
          <p:cNvPr id="7" name="image" descr="{&quot;templafy&quot;:{&quot;id&quot;:&quot;4caf8c4c-7bad-4d3c-8ecb-65528a365568&quot;}}">
            <a:extLst>
              <a:ext uri="{FF2B5EF4-FFF2-40B4-BE49-F238E27FC236}">
                <a16:creationId xmlns:a16="http://schemas.microsoft.com/office/drawing/2014/main" id="{C58FDD65-E9E5-4A2C-8D29-1AD661A8B13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 bwMode="ltGray">
          <a:xfrm>
            <a:off x="358775" y="5633832"/>
            <a:ext cx="2253600" cy="773055"/>
          </a:xfrm>
          <a:prstGeom prst="rect">
            <a:avLst/>
          </a:prstGeom>
        </p:spPr>
      </p:pic>
      <p:sp>
        <p:nvSpPr>
          <p:cNvPr id="9" name="2. Slide Title">
            <a:extLst>
              <a:ext uri="{FF2B5EF4-FFF2-40B4-BE49-F238E27FC236}">
                <a16:creationId xmlns:a16="http://schemas.microsoft.com/office/drawing/2014/main" id="{BEF30068-7E5F-4DE5-93CC-AF51ED93842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58775" y="1557338"/>
            <a:ext cx="11082528" cy="2708434"/>
          </a:xfrm>
        </p:spPr>
        <p:txBody>
          <a:bodyPr vert="horz">
            <a:spAutoFit/>
          </a:bodyPr>
          <a:lstStyle>
            <a:lvl1pPr>
              <a:defRPr sz="8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781712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F550E51-5ECC-486E-B147-0EDF410CCF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F550E51-5ECC-486E-B147-0EDF410CCF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01854B5-E94C-49C5-B244-F57B3C38DA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vert="horz" anchor="t" anchorCtr="0">
            <a:noAutofit/>
          </a:bodyPr>
          <a:lstStyle>
            <a:lvl1pPr rtl="0"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497D9-9E7A-4BD1-8760-1A8BDF98D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 rtl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C80A7-614C-4E07-81DE-C2E044B6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182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CAB4BD9-BDAF-404E-BADB-032CC874BF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CAB4BD9-BDAF-404E-BADB-032CC874BF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8C366B9-0297-413E-8878-727A0837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03E37F-1C65-4A6B-BC1A-06099BEA66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 rtl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561335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438C62C-5755-4F4B-AC9D-54F53C9A0E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438C62C-5755-4F4B-AC9D-54F53C9A0E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E6D7EC9C-9C86-4A72-9CF4-9D1869172BD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vert="horz" anchor="t" anchorCtr="0">
            <a:noAutofit/>
          </a:bodyPr>
          <a:lstStyle>
            <a:lvl1pPr rtl="0"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 rtl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1976462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5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39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62.xml"/><Relationship Id="rId34" Type="http://schemas.openxmlformats.org/officeDocument/2006/relationships/slideLayout" Target="../slideLayouts/slideLayout75.xml"/><Relationship Id="rId42" Type="http://schemas.openxmlformats.org/officeDocument/2006/relationships/theme" Target="../theme/theme2.xml"/><Relationship Id="rId47" Type="http://schemas.openxmlformats.org/officeDocument/2006/relationships/oleObject" Target="../embeddings/oleObject2.bin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slideLayout" Target="../slideLayouts/slideLayout78.xml"/><Relationship Id="rId40" Type="http://schemas.openxmlformats.org/officeDocument/2006/relationships/slideLayout" Target="../slideLayouts/slideLayout81.xml"/><Relationship Id="rId45" Type="http://schemas.openxmlformats.org/officeDocument/2006/relationships/tags" Target="../tags/tag48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slideLayout" Target="../slideLayouts/slideLayout77.xml"/><Relationship Id="rId49" Type="http://schemas.openxmlformats.org/officeDocument/2006/relationships/image" Target="../media/image2.png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72.xml"/><Relationship Id="rId44" Type="http://schemas.openxmlformats.org/officeDocument/2006/relationships/tags" Target="../tags/tag47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slideLayout" Target="../slideLayouts/slideLayout76.xml"/><Relationship Id="rId43" Type="http://schemas.openxmlformats.org/officeDocument/2006/relationships/tags" Target="../tags/tag46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38" Type="http://schemas.openxmlformats.org/officeDocument/2006/relationships/slideLayout" Target="../slideLayouts/slideLayout79.xml"/><Relationship Id="rId46" Type="http://schemas.openxmlformats.org/officeDocument/2006/relationships/tags" Target="../tags/tag49.xml"/><Relationship Id="rId20" Type="http://schemas.openxmlformats.org/officeDocument/2006/relationships/slideLayout" Target="../slideLayouts/slideLayout61.xml"/><Relationship Id="rId41" Type="http://schemas.openxmlformats.org/officeDocument/2006/relationships/slideLayout" Target="../slideLayouts/slideLayout82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5.xml"/><Relationship Id="rId18" Type="http://schemas.openxmlformats.org/officeDocument/2006/relationships/slideLayout" Target="../slideLayouts/slideLayout100.xml"/><Relationship Id="rId26" Type="http://schemas.openxmlformats.org/officeDocument/2006/relationships/tags" Target="../tags/tag96.xml"/><Relationship Id="rId39" Type="http://schemas.openxmlformats.org/officeDocument/2006/relationships/tags" Target="../tags/tag109.xml"/><Relationship Id="rId21" Type="http://schemas.openxmlformats.org/officeDocument/2006/relationships/tags" Target="../tags/tag91.xml"/><Relationship Id="rId34" Type="http://schemas.openxmlformats.org/officeDocument/2006/relationships/tags" Target="../tags/tag104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98.xml"/><Relationship Id="rId20" Type="http://schemas.openxmlformats.org/officeDocument/2006/relationships/tags" Target="../tags/tag90.xml"/><Relationship Id="rId29" Type="http://schemas.openxmlformats.org/officeDocument/2006/relationships/tags" Target="../tags/tag99.xml"/><Relationship Id="rId41" Type="http://schemas.openxmlformats.org/officeDocument/2006/relationships/image" Target="../media/image36.emf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24" Type="http://schemas.openxmlformats.org/officeDocument/2006/relationships/tags" Target="../tags/tag94.xml"/><Relationship Id="rId32" Type="http://schemas.openxmlformats.org/officeDocument/2006/relationships/tags" Target="../tags/tag102.xml"/><Relationship Id="rId37" Type="http://schemas.openxmlformats.org/officeDocument/2006/relationships/tags" Target="../tags/tag107.xml"/><Relationship Id="rId40" Type="http://schemas.openxmlformats.org/officeDocument/2006/relationships/oleObject" Target="../embeddings/oleObject3.bin"/><Relationship Id="rId5" Type="http://schemas.openxmlformats.org/officeDocument/2006/relationships/slideLayout" Target="../slideLayouts/slideLayout87.xml"/><Relationship Id="rId15" Type="http://schemas.openxmlformats.org/officeDocument/2006/relationships/slideLayout" Target="../slideLayouts/slideLayout97.xml"/><Relationship Id="rId23" Type="http://schemas.openxmlformats.org/officeDocument/2006/relationships/tags" Target="../tags/tag93.xml"/><Relationship Id="rId28" Type="http://schemas.openxmlformats.org/officeDocument/2006/relationships/tags" Target="../tags/tag98.xml"/><Relationship Id="rId36" Type="http://schemas.openxmlformats.org/officeDocument/2006/relationships/tags" Target="../tags/tag106.xml"/><Relationship Id="rId10" Type="http://schemas.openxmlformats.org/officeDocument/2006/relationships/slideLayout" Target="../slideLayouts/slideLayout92.xml"/><Relationship Id="rId19" Type="http://schemas.openxmlformats.org/officeDocument/2006/relationships/theme" Target="../theme/theme3.xml"/><Relationship Id="rId31" Type="http://schemas.openxmlformats.org/officeDocument/2006/relationships/tags" Target="../tags/tag101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Relationship Id="rId22" Type="http://schemas.openxmlformats.org/officeDocument/2006/relationships/tags" Target="../tags/tag92.xml"/><Relationship Id="rId27" Type="http://schemas.openxmlformats.org/officeDocument/2006/relationships/tags" Target="../tags/tag97.xml"/><Relationship Id="rId30" Type="http://schemas.openxmlformats.org/officeDocument/2006/relationships/tags" Target="../tags/tag100.xml"/><Relationship Id="rId35" Type="http://schemas.openxmlformats.org/officeDocument/2006/relationships/tags" Target="../tags/tag105.xml"/><Relationship Id="rId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4.xml"/><Relationship Id="rId17" Type="http://schemas.openxmlformats.org/officeDocument/2006/relationships/slideLayout" Target="../slideLayouts/slideLayout99.xml"/><Relationship Id="rId25" Type="http://schemas.openxmlformats.org/officeDocument/2006/relationships/tags" Target="../tags/tag95.xml"/><Relationship Id="rId33" Type="http://schemas.openxmlformats.org/officeDocument/2006/relationships/tags" Target="../tags/tag103.xml"/><Relationship Id="rId38" Type="http://schemas.openxmlformats.org/officeDocument/2006/relationships/tags" Target="../tags/tag1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8723D6-96B1-4573-9689-74827226EE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667505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395" imgH="396" progId="TCLayout.ActiveDocument.1">
                  <p:embed/>
                </p:oleObj>
              </mc:Choice>
              <mc:Fallback>
                <p:oleObj name="think-cell Slide" r:id="rId47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F8723D6-96B1-4573-9689-74827226EE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938BD6-A3CA-4583-9B72-F24990967C8D}"/>
              </a:ext>
            </a:extLst>
          </p:cNvPr>
          <p:cNvSpPr>
            <a:spLocks noGrp="1"/>
          </p:cNvSpPr>
          <p:nvPr>
            <p:ph type="title"/>
            <p:custDataLst>
              <p:tags r:id="rId44"/>
            </p:custDataLst>
          </p:nvPr>
        </p:nvSpPr>
        <p:spPr>
          <a:xfrm>
            <a:off x="360000" y="270001"/>
            <a:ext cx="11472000" cy="939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4F9B8-C740-4AF9-A1B7-097AF77A54C0}"/>
              </a:ext>
            </a:extLst>
          </p:cNvPr>
          <p:cNvSpPr>
            <a:spLocks noGrp="1"/>
          </p:cNvSpPr>
          <p:nvPr>
            <p:ph type="body" idx="1"/>
            <p:custDataLst>
              <p:tags r:id="rId45"/>
            </p:custDataLst>
          </p:nvPr>
        </p:nvSpPr>
        <p:spPr>
          <a:xfrm>
            <a:off x="360000" y="1800001"/>
            <a:ext cx="11472000" cy="4157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13273F-7E94-4F41-A744-2212393418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47950" y="6203950"/>
            <a:ext cx="690562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B7A9B9-0BC3-4D52-8945-0B0406446F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4700" y="6203950"/>
            <a:ext cx="8973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Guides" hidden="1">
            <a:extLst>
              <a:ext uri="{FF2B5EF4-FFF2-40B4-BE49-F238E27FC236}">
                <a16:creationId xmlns:a16="http://schemas.microsoft.com/office/drawing/2014/main" id="{5B06145B-1752-44E5-A549-559B9D538ED5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pic>
        <p:nvPicPr>
          <p:cNvPr id="347007104" name="image" descr="{&quot;templafy&quot;:{&quot;id&quot;:&quot;75e29959-3882-4429-8714-44ba5bcf4f7a&quot;}}"/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360000" y="6427332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077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66" r:id="rId2"/>
    <p:sldLayoutId id="2147483700" r:id="rId3"/>
    <p:sldLayoutId id="2147483661" r:id="rId4"/>
    <p:sldLayoutId id="2147483662" r:id="rId5"/>
    <p:sldLayoutId id="2147483651" r:id="rId6"/>
    <p:sldLayoutId id="2147483701" r:id="rId7"/>
    <p:sldLayoutId id="2147483665" r:id="rId8"/>
    <p:sldLayoutId id="2147483702" r:id="rId9"/>
    <p:sldLayoutId id="2147483666" r:id="rId10"/>
    <p:sldLayoutId id="2147483704" r:id="rId11"/>
    <p:sldLayoutId id="2147483694" r:id="rId12"/>
    <p:sldLayoutId id="2147483693" r:id="rId13"/>
    <p:sldLayoutId id="2147483686" r:id="rId14"/>
    <p:sldLayoutId id="2147483667" r:id="rId15"/>
    <p:sldLayoutId id="2147483691" r:id="rId16"/>
    <p:sldLayoutId id="2147483668" r:id="rId17"/>
    <p:sldLayoutId id="2147483695" r:id="rId18"/>
    <p:sldLayoutId id="2147483687" r:id="rId19"/>
    <p:sldLayoutId id="2147483690" r:id="rId20"/>
    <p:sldLayoutId id="2147483685" r:id="rId21"/>
    <p:sldLayoutId id="2147483670" r:id="rId22"/>
    <p:sldLayoutId id="2147483669" r:id="rId23"/>
    <p:sldLayoutId id="2147483671" r:id="rId24"/>
    <p:sldLayoutId id="2147483672" r:id="rId25"/>
    <p:sldLayoutId id="2147483673" r:id="rId26"/>
    <p:sldLayoutId id="2147483674" r:id="rId27"/>
    <p:sldLayoutId id="2147483675" r:id="rId28"/>
    <p:sldLayoutId id="2147483676" r:id="rId29"/>
    <p:sldLayoutId id="2147483689" r:id="rId30"/>
    <p:sldLayoutId id="2147483677" r:id="rId31"/>
    <p:sldLayoutId id="2147483678" r:id="rId32"/>
    <p:sldLayoutId id="2147483698" r:id="rId33"/>
    <p:sldLayoutId id="2147483699" r:id="rId34"/>
    <p:sldLayoutId id="2147483680" r:id="rId35"/>
    <p:sldLayoutId id="2147483681" r:id="rId36"/>
    <p:sldLayoutId id="2147483703" r:id="rId37"/>
    <p:sldLayoutId id="2147483688" r:id="rId38"/>
    <p:sldLayoutId id="2147483679" r:id="rId39"/>
    <p:sldLayoutId id="2147483663" r:id="rId40"/>
    <p:sldLayoutId id="2147483664" r:id="rId4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2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6058654-E03D-4BBC-8D59-01EBFC4C0B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673046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395" imgH="396" progId="TCLayout.ActiveDocument.1">
                  <p:embed/>
                </p:oleObj>
              </mc:Choice>
              <mc:Fallback>
                <p:oleObj name="think-cell Slide" r:id="rId47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6058654-E03D-4BBC-8D59-01EBFC4C0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938BD6-A3CA-4583-9B72-F24990967C8D}"/>
              </a:ext>
            </a:extLst>
          </p:cNvPr>
          <p:cNvSpPr>
            <a:spLocks noGrp="1"/>
          </p:cNvSpPr>
          <p:nvPr>
            <p:ph type="title"/>
            <p:custDataLst>
              <p:tags r:id="rId44"/>
            </p:custDataLst>
          </p:nvPr>
        </p:nvSpPr>
        <p:spPr>
          <a:xfrm>
            <a:off x="360000" y="270001"/>
            <a:ext cx="11472000" cy="939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4F9B8-C740-4AF9-A1B7-097AF77A54C0}"/>
              </a:ext>
            </a:extLst>
          </p:cNvPr>
          <p:cNvSpPr>
            <a:spLocks noGrp="1"/>
          </p:cNvSpPr>
          <p:nvPr>
            <p:ph type="body" idx="1"/>
            <p:custDataLst>
              <p:tags r:id="rId45"/>
            </p:custDataLst>
          </p:nvPr>
        </p:nvSpPr>
        <p:spPr>
          <a:xfrm>
            <a:off x="360000" y="1800001"/>
            <a:ext cx="11472000" cy="4157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13273F-7E94-4F41-A744-2212393418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47950" y="6203950"/>
            <a:ext cx="690562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B7A9B9-0BC3-4D52-8945-0B0406446F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4700" y="6203950"/>
            <a:ext cx="8973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Guides" hidden="1">
            <a:extLst>
              <a:ext uri="{FF2B5EF4-FFF2-40B4-BE49-F238E27FC236}">
                <a16:creationId xmlns:a16="http://schemas.microsoft.com/office/drawing/2014/main" id="{5B06145B-1752-44E5-A549-559B9D538ED5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pic>
        <p:nvPicPr>
          <p:cNvPr id="1210753647" name="image" descr="{&quot;templafy&quot;:{&quot;id&quot;:&quot;ec8caa3e-c0ef-42b7-a99b-dbc4da6d0b81&quot;}}"/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360000" y="6427332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414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0" r:id="rId1"/>
    <p:sldLayoutId id="2147484271" r:id="rId2"/>
    <p:sldLayoutId id="2147484272" r:id="rId3"/>
    <p:sldLayoutId id="2147484273" r:id="rId4"/>
    <p:sldLayoutId id="2147484274" r:id="rId5"/>
    <p:sldLayoutId id="2147484275" r:id="rId6"/>
    <p:sldLayoutId id="2147484276" r:id="rId7"/>
    <p:sldLayoutId id="2147484277" r:id="rId8"/>
    <p:sldLayoutId id="2147484278" r:id="rId9"/>
    <p:sldLayoutId id="2147484279" r:id="rId10"/>
    <p:sldLayoutId id="2147484280" r:id="rId11"/>
    <p:sldLayoutId id="2147484281" r:id="rId12"/>
    <p:sldLayoutId id="2147484282" r:id="rId13"/>
    <p:sldLayoutId id="2147484283" r:id="rId14"/>
    <p:sldLayoutId id="2147484284" r:id="rId15"/>
    <p:sldLayoutId id="2147484285" r:id="rId16"/>
    <p:sldLayoutId id="2147484286" r:id="rId17"/>
    <p:sldLayoutId id="2147484287" r:id="rId18"/>
    <p:sldLayoutId id="2147484288" r:id="rId19"/>
    <p:sldLayoutId id="2147484289" r:id="rId20"/>
    <p:sldLayoutId id="2147484290" r:id="rId21"/>
    <p:sldLayoutId id="2147484291" r:id="rId22"/>
    <p:sldLayoutId id="2147484292" r:id="rId23"/>
    <p:sldLayoutId id="2147484293" r:id="rId24"/>
    <p:sldLayoutId id="2147484294" r:id="rId25"/>
    <p:sldLayoutId id="2147484295" r:id="rId26"/>
    <p:sldLayoutId id="2147484296" r:id="rId27"/>
    <p:sldLayoutId id="2147484297" r:id="rId28"/>
    <p:sldLayoutId id="2147484298" r:id="rId29"/>
    <p:sldLayoutId id="2147484299" r:id="rId30"/>
    <p:sldLayoutId id="2147484300" r:id="rId31"/>
    <p:sldLayoutId id="2147484301" r:id="rId32"/>
    <p:sldLayoutId id="2147484302" r:id="rId33"/>
    <p:sldLayoutId id="2147484303" r:id="rId34"/>
    <p:sldLayoutId id="2147484304" r:id="rId35"/>
    <p:sldLayoutId id="2147484305" r:id="rId36"/>
    <p:sldLayoutId id="2147484306" r:id="rId37"/>
    <p:sldLayoutId id="2147484307" r:id="rId38"/>
    <p:sldLayoutId id="2147484308" r:id="rId39"/>
    <p:sldLayoutId id="2147484309" r:id="rId40"/>
    <p:sldLayoutId id="2147484310" r:id="rId41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2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122033"/>
            <a:ext cx="100584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8617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399032"/>
              <a:ext cx="11082528" cy="4663440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186537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3990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003087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1863922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1863922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A2E7FB5-CD6A-42C3-B9D2-6BBACE80FDAE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4702CDBB-027D-48B5-BEA7-175EE358CA13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7F451830-E8B6-4760-BB7B-45A3ABB9A971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72B6AA4B-50E9-46D4-86A1-BB99F752DE49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10508A6-05C4-4C5F-8752-B7BE8DD188E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48194F40-0355-41D0-BB3B-5B50789A5AC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AA23262-3D6A-424D-9A32-56886544495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845D081-4E5C-4938-A804-8090B88BF8BD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96A1FF35-942F-42D2-A92C-CA28B37DCE36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DCDA2E86-A83F-4FA7-9633-4306CCFD8F01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AAFDF2A7-FE8E-4AF3-AB14-B6D02B73B211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DA03471C-5ECC-4F79-AE3A-05505F6EFECB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34F3CBC7-F4D3-4408-B1CB-471FA68B1244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D28BFEE9-25EE-4103-A596-5F5357061A3B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5FCBAEA8-E23D-4147-90A7-B7A1B8372BAA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A8234277-A9BE-43EB-83C2-A0F69909E710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6C318758-E229-470E-A166-8B1618AC7209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A4A03FB4-9577-4E01-8501-7CD9D4CF1ED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907AA1D7-EDE9-4F0D-8F88-9EC3DBEF6F69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ED7FB338-AEEC-4E4A-A17C-34EE71A13529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A0F8C249-16F2-4224-93B4-32B56E5D28C1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D1C99A32-A47B-474A-B215-B1AB5C68BB6C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C7A1D65C-A82B-481E-9A4D-998791E6232B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5EBCEA4-2526-4AED-8941-797894A78651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B0E1B638-C16A-44E3-B880-1DC42EE8EED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CB2E97BB-A2ED-4BBA-AC6A-4A72207B9835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AFC2744-B580-47F5-88F3-68B021A7D16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09D8373C-C98E-434A-999D-53F670303C6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583B3143-10D3-458D-9CF8-ADDAA5731D43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06E8E8DC-5891-4F94-B013-1CC4B5DADFCB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E20A0216-E1BB-4812-AB23-E2F17DC9B346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9B4AB9C6-8645-4DD7-AA01-D801FE4038F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BEA2CF50-1204-4150-A46A-DCFE1378B0BA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32ED46B-BE43-4D95-B935-0130B52858B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304EA095-3B43-4DDF-9678-46C8B6DC66CD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C1E845BF-B3B6-4CFE-B81F-A52716FC94D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1A080024-4B1A-4524-858E-AAE4F18B270B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68FA4EC0-0162-4CF0-B31C-B87F4A4128B8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92CBF08A-E6EE-435D-8C32-E789141FC2E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pic>
        <p:nvPicPr>
          <p:cNvPr id="148" name="image" descr="{&quot;templafy&quot;:{&quot;id&quot;:&quot;2e404ccb-b54f-4d9c-b286-9094f98b6e06&quot;}}">
            <a:extLst>
              <a:ext uri="{FF2B5EF4-FFF2-40B4-BE49-F238E27FC236}">
                <a16:creationId xmlns:a16="http://schemas.microsoft.com/office/drawing/2014/main" id="{0F35B356-3637-4671-BE7A-43CA321B4AE6}"/>
              </a:ext>
            </a:extLst>
          </p:cNvPr>
          <p:cNvPicPr>
            <a:picLocks noChangeAspect="1"/>
          </p:cNvPicPr>
          <p:nvPr userDrawn="1"/>
        </p:nvPicPr>
        <p:blipFill>
          <a:blip r:embed="rId42"/>
          <a:stretch>
            <a:fillRect/>
          </a:stretch>
        </p:blipFill>
        <p:spPr bwMode="ltGray">
          <a:xfrm>
            <a:off x="336186" y="6556805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435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4" r:id="rId1"/>
    <p:sldLayoutId id="2147484355" r:id="rId2"/>
    <p:sldLayoutId id="2147484356" r:id="rId3"/>
    <p:sldLayoutId id="2147484357" r:id="rId4"/>
    <p:sldLayoutId id="2147484358" r:id="rId5"/>
    <p:sldLayoutId id="2147484359" r:id="rId6"/>
    <p:sldLayoutId id="2147484360" r:id="rId7"/>
    <p:sldLayoutId id="2147484361" r:id="rId8"/>
    <p:sldLayoutId id="2147484362" r:id="rId9"/>
    <p:sldLayoutId id="2147484363" r:id="rId10"/>
    <p:sldLayoutId id="2147484364" r:id="rId11"/>
    <p:sldLayoutId id="2147484365" r:id="rId12"/>
    <p:sldLayoutId id="2147484366" r:id="rId13"/>
    <p:sldLayoutId id="2147484367" r:id="rId14"/>
    <p:sldLayoutId id="2147484368" r:id="rId15"/>
    <p:sldLayoutId id="2147484369" r:id="rId16"/>
    <p:sldLayoutId id="2147484370" r:id="rId17"/>
    <p:sldLayoutId id="2147484371" r:id="rId1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76">
          <p15:clr>
            <a:srgbClr val="5ACBF0"/>
          </p15:clr>
        </p15:guide>
        <p15:guide id="3" orient="horz" pos="3816">
          <p15:clr>
            <a:srgbClr val="5ACBF0"/>
          </p15:clr>
        </p15:guide>
        <p15:guide id="4" orient="horz" pos="880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image" Target="../media/image40.jpeg"/><Relationship Id="rId18" Type="http://schemas.openxmlformats.org/officeDocument/2006/relationships/image" Target="../media/image42.png"/><Relationship Id="rId3" Type="http://schemas.openxmlformats.org/officeDocument/2006/relationships/tags" Target="../tags/tag207.xml"/><Relationship Id="rId21" Type="http://schemas.openxmlformats.org/officeDocument/2006/relationships/chart" Target="../charts/chart6.xml"/><Relationship Id="rId7" Type="http://schemas.openxmlformats.org/officeDocument/2006/relationships/tags" Target="../tags/tag211.xml"/><Relationship Id="rId12" Type="http://schemas.openxmlformats.org/officeDocument/2006/relationships/image" Target="../media/image39.png"/><Relationship Id="rId17" Type="http://schemas.openxmlformats.org/officeDocument/2006/relationships/chart" Target="../charts/chart3.xml"/><Relationship Id="rId2" Type="http://schemas.openxmlformats.org/officeDocument/2006/relationships/tags" Target="../tags/tag206.xml"/><Relationship Id="rId16" Type="http://schemas.openxmlformats.org/officeDocument/2006/relationships/chart" Target="../charts/chart2.xml"/><Relationship Id="rId20" Type="http://schemas.openxmlformats.org/officeDocument/2006/relationships/chart" Target="../charts/chart5.xml"/><Relationship Id="rId1" Type="http://schemas.openxmlformats.org/officeDocument/2006/relationships/tags" Target="../tags/tag205.xml"/><Relationship Id="rId6" Type="http://schemas.openxmlformats.org/officeDocument/2006/relationships/tags" Target="../tags/tag210.xml"/><Relationship Id="rId11" Type="http://schemas.openxmlformats.org/officeDocument/2006/relationships/image" Target="../media/image1.emf"/><Relationship Id="rId5" Type="http://schemas.openxmlformats.org/officeDocument/2006/relationships/tags" Target="../tags/tag209.xml"/><Relationship Id="rId15" Type="http://schemas.openxmlformats.org/officeDocument/2006/relationships/chart" Target="../charts/chart1.xml"/><Relationship Id="rId10" Type="http://schemas.openxmlformats.org/officeDocument/2006/relationships/oleObject" Target="../embeddings/oleObject22.bin"/><Relationship Id="rId19" Type="http://schemas.openxmlformats.org/officeDocument/2006/relationships/chart" Target="../charts/chart4.xml"/><Relationship Id="rId4" Type="http://schemas.openxmlformats.org/officeDocument/2006/relationships/tags" Target="../tags/tag208.xml"/><Relationship Id="rId9" Type="http://schemas.openxmlformats.org/officeDocument/2006/relationships/notesSlide" Target="../notesSlides/notesSlide1.xml"/><Relationship Id="rId14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5.png"/><Relationship Id="rId18" Type="http://schemas.microsoft.com/office/2014/relationships/chartEx" Target="../charts/chartEx5.xml"/><Relationship Id="rId26" Type="http://schemas.openxmlformats.org/officeDocument/2006/relationships/chart" Target="../charts/chart14.xml"/><Relationship Id="rId3" Type="http://schemas.openxmlformats.org/officeDocument/2006/relationships/oleObject" Target="../embeddings/oleObject23.bin"/><Relationship Id="rId21" Type="http://schemas.microsoft.com/office/2014/relationships/chartEx" Target="../charts/chartEx6.xml"/><Relationship Id="rId34" Type="http://schemas.openxmlformats.org/officeDocument/2006/relationships/image" Target="../media/image72.png"/><Relationship Id="rId7" Type="http://schemas.openxmlformats.org/officeDocument/2006/relationships/image" Target="../media/image63.png"/><Relationship Id="rId12" Type="http://schemas.microsoft.com/office/2014/relationships/chartEx" Target="../charts/chartEx3.xml"/><Relationship Id="rId17" Type="http://schemas.openxmlformats.org/officeDocument/2006/relationships/chart" Target="../charts/chart11.xml"/><Relationship Id="rId25" Type="http://schemas.openxmlformats.org/officeDocument/2006/relationships/image" Target="../media/image69.png"/><Relationship Id="rId33" Type="http://schemas.microsoft.com/office/2014/relationships/chartEx" Target="../charts/chartEx10.xml"/><Relationship Id="rId2" Type="http://schemas.openxmlformats.org/officeDocument/2006/relationships/slideLayout" Target="../slideLayouts/slideLayout75.xml"/><Relationship Id="rId16" Type="http://schemas.openxmlformats.org/officeDocument/2006/relationships/image" Target="../media/image66.png"/><Relationship Id="rId20" Type="http://schemas.openxmlformats.org/officeDocument/2006/relationships/chart" Target="../charts/chart12.xml"/><Relationship Id="rId29" Type="http://schemas.openxmlformats.org/officeDocument/2006/relationships/chart" Target="../charts/chart15.xml"/><Relationship Id="rId1" Type="http://schemas.openxmlformats.org/officeDocument/2006/relationships/tags" Target="../tags/tag212.xml"/><Relationship Id="rId6" Type="http://schemas.microsoft.com/office/2014/relationships/chartEx" Target="../charts/chartEx1.xml"/><Relationship Id="rId11" Type="http://schemas.openxmlformats.org/officeDocument/2006/relationships/chart" Target="../charts/chart9.xml"/><Relationship Id="rId24" Type="http://schemas.microsoft.com/office/2014/relationships/chartEx" Target="../charts/chartEx7.xml"/><Relationship Id="rId32" Type="http://schemas.openxmlformats.org/officeDocument/2006/relationships/chart" Target="../charts/chart16.xml"/><Relationship Id="rId5" Type="http://schemas.openxmlformats.org/officeDocument/2006/relationships/chart" Target="../charts/chart7.xml"/><Relationship Id="rId15" Type="http://schemas.microsoft.com/office/2014/relationships/chartEx" Target="../charts/chartEx4.xml"/><Relationship Id="rId23" Type="http://schemas.openxmlformats.org/officeDocument/2006/relationships/chart" Target="../charts/chart13.xml"/><Relationship Id="rId28" Type="http://schemas.openxmlformats.org/officeDocument/2006/relationships/image" Target="../media/image70.png"/><Relationship Id="rId10" Type="http://schemas.openxmlformats.org/officeDocument/2006/relationships/image" Target="../media/image64.png"/><Relationship Id="rId19" Type="http://schemas.openxmlformats.org/officeDocument/2006/relationships/image" Target="../media/image67.png"/><Relationship Id="rId31" Type="http://schemas.openxmlformats.org/officeDocument/2006/relationships/image" Target="../media/image71.png"/><Relationship Id="rId4" Type="http://schemas.openxmlformats.org/officeDocument/2006/relationships/image" Target="../media/image1.emf"/><Relationship Id="rId9" Type="http://schemas.microsoft.com/office/2014/relationships/chartEx" Target="../charts/chartEx2.xml"/><Relationship Id="rId14" Type="http://schemas.openxmlformats.org/officeDocument/2006/relationships/chart" Target="../charts/chart10.xml"/><Relationship Id="rId22" Type="http://schemas.openxmlformats.org/officeDocument/2006/relationships/image" Target="../media/image43.png"/><Relationship Id="rId27" Type="http://schemas.microsoft.com/office/2014/relationships/chartEx" Target="../charts/chartEx8.xml"/><Relationship Id="rId30" Type="http://schemas.microsoft.com/office/2014/relationships/chartEx" Target="../charts/chartEx9.xml"/><Relationship Id="rId8" Type="http://schemas.openxmlformats.org/officeDocument/2006/relationships/chart" Target="../charts/char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8.xml"/><Relationship Id="rId13" Type="http://schemas.microsoft.com/office/2014/relationships/chartEx" Target="../charts/chartEx15.xml"/><Relationship Id="rId18" Type="http://schemas.microsoft.com/office/2014/relationships/chartEx" Target="../charts/chartEx19.xml"/><Relationship Id="rId3" Type="http://schemas.openxmlformats.org/officeDocument/2006/relationships/oleObject" Target="../embeddings/oleObject24.bin"/><Relationship Id="rId7" Type="http://schemas.openxmlformats.org/officeDocument/2006/relationships/image" Target="../media/image44.png"/><Relationship Id="rId12" Type="http://schemas.microsoft.com/office/2014/relationships/chartEx" Target="../charts/chartEx14.xml"/><Relationship Id="rId17" Type="http://schemas.microsoft.com/office/2014/relationships/chartEx" Target="../charts/chartEx18.xml"/><Relationship Id="rId2" Type="http://schemas.openxmlformats.org/officeDocument/2006/relationships/slideLayout" Target="../slideLayouts/slideLayout75.xml"/><Relationship Id="rId16" Type="http://schemas.microsoft.com/office/2014/relationships/chartEx" Target="../charts/chartEx17.xml"/><Relationship Id="rId20" Type="http://schemas.microsoft.com/office/2014/relationships/chartEx" Target="../charts/chartEx21.xml"/><Relationship Id="rId1" Type="http://schemas.openxmlformats.org/officeDocument/2006/relationships/tags" Target="../tags/tag213.xml"/><Relationship Id="rId6" Type="http://schemas.microsoft.com/office/2014/relationships/chartEx" Target="../charts/chartEx11.xml"/><Relationship Id="rId11" Type="http://schemas.microsoft.com/office/2014/relationships/chartEx" Target="../charts/chartEx13.xml"/><Relationship Id="rId5" Type="http://schemas.openxmlformats.org/officeDocument/2006/relationships/chart" Target="../charts/chart17.xml"/><Relationship Id="rId15" Type="http://schemas.openxmlformats.org/officeDocument/2006/relationships/image" Target="../media/image46.png"/><Relationship Id="rId10" Type="http://schemas.openxmlformats.org/officeDocument/2006/relationships/image" Target="../media/image45.png"/><Relationship Id="rId19" Type="http://schemas.microsoft.com/office/2014/relationships/chartEx" Target="../charts/chartEx20.xml"/><Relationship Id="rId4" Type="http://schemas.openxmlformats.org/officeDocument/2006/relationships/image" Target="../media/image1.emf"/><Relationship Id="rId9" Type="http://schemas.microsoft.com/office/2014/relationships/chartEx" Target="../charts/chartEx12.xml"/><Relationship Id="rId14" Type="http://schemas.microsoft.com/office/2014/relationships/chartEx" Target="../charts/chartEx16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14/relationships/chartEx" Target="../charts/chartEx23.xml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40.png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14.xml"/><Relationship Id="rId6" Type="http://schemas.microsoft.com/office/2014/relationships/chartEx" Target="../charts/chartEx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Relationship Id="rId9" Type="http://schemas.openxmlformats.org/officeDocument/2006/relationships/image" Target="../media/image44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13" Type="http://schemas.openxmlformats.org/officeDocument/2006/relationships/image" Target="../media/image41.png"/><Relationship Id="rId3" Type="http://schemas.openxmlformats.org/officeDocument/2006/relationships/oleObject" Target="../embeddings/oleObject26.bin"/><Relationship Id="rId7" Type="http://schemas.openxmlformats.org/officeDocument/2006/relationships/chart" Target="../charts/chart21.xml"/><Relationship Id="rId12" Type="http://schemas.openxmlformats.org/officeDocument/2006/relationships/image" Target="../media/image40.jpeg"/><Relationship Id="rId2" Type="http://schemas.openxmlformats.org/officeDocument/2006/relationships/slideLayout" Target="../slideLayouts/slideLayout75.xml"/><Relationship Id="rId1" Type="http://schemas.openxmlformats.org/officeDocument/2006/relationships/tags" Target="../tags/tag215.xml"/><Relationship Id="rId6" Type="http://schemas.openxmlformats.org/officeDocument/2006/relationships/chart" Target="../charts/chart20.xml"/><Relationship Id="rId11" Type="http://schemas.openxmlformats.org/officeDocument/2006/relationships/image" Target="../media/image39.png"/><Relationship Id="rId5" Type="http://schemas.openxmlformats.org/officeDocument/2006/relationships/chart" Target="../charts/chart19.xml"/><Relationship Id="rId10" Type="http://schemas.openxmlformats.org/officeDocument/2006/relationships/chart" Target="../charts/chart24.xml"/><Relationship Id="rId4" Type="http://schemas.openxmlformats.org/officeDocument/2006/relationships/image" Target="../media/image1.emf"/><Relationship Id="rId9" Type="http://schemas.openxmlformats.org/officeDocument/2006/relationships/chart" Target="../charts/char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 81">
            <a:extLst>
              <a:ext uri="{FF2B5EF4-FFF2-40B4-BE49-F238E27FC236}">
                <a16:creationId xmlns:a16="http://schemas.microsoft.com/office/drawing/2014/main" id="{94AD168A-581E-44F3-A877-2165069D125E}"/>
              </a:ext>
            </a:extLst>
          </p:cNvPr>
          <p:cNvSpPr/>
          <p:nvPr/>
        </p:nvSpPr>
        <p:spPr>
          <a:xfrm>
            <a:off x="5269703" y="835388"/>
            <a:ext cx="6807997" cy="5578109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DBB1E5-13EB-489B-80F3-302D5B85F2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DBB1E5-13EB-489B-80F3-302D5B85F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7A865A13-5BB7-4029-A6E4-951B1772A0E9}"/>
              </a:ext>
            </a:extLst>
          </p:cNvPr>
          <p:cNvGrpSpPr/>
          <p:nvPr/>
        </p:nvGrpSpPr>
        <p:grpSpPr>
          <a:xfrm>
            <a:off x="1524000" y="223118"/>
            <a:ext cx="9144000" cy="369332"/>
            <a:chOff x="0" y="295544"/>
            <a:chExt cx="9144000" cy="369332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D19B5CF-C4AB-449A-AAA0-CDF79580278E}"/>
                </a:ext>
              </a:extLst>
            </p:cNvPr>
            <p:cNvSpPr/>
            <p:nvPr/>
          </p:nvSpPr>
          <p:spPr>
            <a:xfrm>
              <a:off x="734382" y="295544"/>
              <a:ext cx="767523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Supply Chain and Health Services Dashboard</a:t>
              </a: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9D479C72-27FC-4179-A756-DEF29BE4A257}"/>
                </a:ext>
              </a:extLst>
            </p:cNvPr>
            <p:cNvGrpSpPr/>
            <p:nvPr/>
          </p:nvGrpSpPr>
          <p:grpSpPr>
            <a:xfrm>
              <a:off x="0" y="343694"/>
              <a:ext cx="9144000" cy="273032"/>
              <a:chOff x="0" y="598473"/>
              <a:chExt cx="9144000" cy="273032"/>
            </a:xfrm>
          </p:grpSpPr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5D87E020-AE36-4269-A5F8-04F31AC1F8F6}"/>
                  </a:ext>
                </a:extLst>
              </p:cNvPr>
              <p:cNvGrpSpPr/>
              <p:nvPr/>
            </p:nvGrpSpPr>
            <p:grpSpPr>
              <a:xfrm flipH="1">
                <a:off x="8162094" y="598473"/>
                <a:ext cx="981906" cy="273032"/>
                <a:chOff x="93860" y="5978044"/>
                <a:chExt cx="2333623" cy="273032"/>
              </a:xfrm>
            </p:grpSpPr>
            <p:grpSp>
              <p:nvGrpSpPr>
                <p:cNvPr id="67" name="Group 66">
                  <a:extLst>
                    <a:ext uri="{FF2B5EF4-FFF2-40B4-BE49-F238E27FC236}">
                      <a16:creationId xmlns:a16="http://schemas.microsoft.com/office/drawing/2014/main" id="{6B1C332F-361F-401A-9380-CE19000B15F2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5066535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6" name="Straight Connector 75">
                    <a:extLst>
                      <a:ext uri="{FF2B5EF4-FFF2-40B4-BE49-F238E27FC236}">
                        <a16:creationId xmlns:a16="http://schemas.microsoft.com/office/drawing/2014/main" id="{90E99884-A6B5-4898-9B41-18A4761EEB5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76">
                    <a:extLst>
                      <a:ext uri="{FF2B5EF4-FFF2-40B4-BE49-F238E27FC236}">
                        <a16:creationId xmlns:a16="http://schemas.microsoft.com/office/drawing/2014/main" id="{9D3C933C-F219-433B-AF84-E596AFD132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0844E72B-7E9A-4AB0-B9EF-1DFE52224E8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8" name="Group 67">
                  <a:extLst>
                    <a:ext uri="{FF2B5EF4-FFF2-40B4-BE49-F238E27FC236}">
                      <a16:creationId xmlns:a16="http://schemas.microsoft.com/office/drawing/2014/main" id="{FFBC62DC-F408-410C-81CC-A699D7D41FF8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947748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D9200B24-11E2-484A-BEC5-67A07FAE136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69AB7456-5AC9-484F-9EFA-F29987F2F4D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4E98E84A-3CB6-45CC-B164-2472BAC44D7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BE250DBE-D57A-4A82-A464-15018036E69B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828961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2FBD811D-518F-4C62-BB65-003F8785BC8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32539E9B-A35F-415E-93D9-5CD1777A345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CE643024-BBA7-420D-B97B-570F90F37A1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0EF7E3C9-3056-4226-98BA-E23233FC25BB}"/>
                  </a:ext>
                </a:extLst>
              </p:cNvPr>
              <p:cNvGrpSpPr/>
              <p:nvPr/>
            </p:nvGrpSpPr>
            <p:grpSpPr>
              <a:xfrm>
                <a:off x="0" y="598473"/>
                <a:ext cx="981906" cy="273032"/>
                <a:chOff x="93860" y="5978044"/>
                <a:chExt cx="2333623" cy="273032"/>
              </a:xfrm>
            </p:grpSpPr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C7661A02-2EAD-42A7-BBDB-96FD2702C2BF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5066535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64" name="Straight Connector 63">
                    <a:extLst>
                      <a:ext uri="{FF2B5EF4-FFF2-40B4-BE49-F238E27FC236}">
                        <a16:creationId xmlns:a16="http://schemas.microsoft.com/office/drawing/2014/main" id="{FC279BEA-33EC-40F5-9526-AC46FA56EDB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5" name="Straight Connector 64">
                    <a:extLst>
                      <a:ext uri="{FF2B5EF4-FFF2-40B4-BE49-F238E27FC236}">
                        <a16:creationId xmlns:a16="http://schemas.microsoft.com/office/drawing/2014/main" id="{AD18F3F2-7FD7-40CB-9298-F85C6EAF3D1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6" name="Straight Connector 65">
                    <a:extLst>
                      <a:ext uri="{FF2B5EF4-FFF2-40B4-BE49-F238E27FC236}">
                        <a16:creationId xmlns:a16="http://schemas.microsoft.com/office/drawing/2014/main" id="{DBC79D75-8C03-4252-B01E-F27CE7E99D0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6" name="Group 55">
                  <a:extLst>
                    <a:ext uri="{FF2B5EF4-FFF2-40B4-BE49-F238E27FC236}">
                      <a16:creationId xmlns:a16="http://schemas.microsoft.com/office/drawing/2014/main" id="{9AB5B898-DF29-4A9D-B0E0-94E99BAE5EA8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947748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61" name="Straight Connector 60">
                    <a:extLst>
                      <a:ext uri="{FF2B5EF4-FFF2-40B4-BE49-F238E27FC236}">
                        <a16:creationId xmlns:a16="http://schemas.microsoft.com/office/drawing/2014/main" id="{6D7F8370-1932-495A-A1E8-C88818D7906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2" name="Straight Connector 61">
                    <a:extLst>
                      <a:ext uri="{FF2B5EF4-FFF2-40B4-BE49-F238E27FC236}">
                        <a16:creationId xmlns:a16="http://schemas.microsoft.com/office/drawing/2014/main" id="{D6181864-41BF-481F-AC7C-B0B53C91110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3" name="Straight Connector 62">
                    <a:extLst>
                      <a:ext uri="{FF2B5EF4-FFF2-40B4-BE49-F238E27FC236}">
                        <a16:creationId xmlns:a16="http://schemas.microsoft.com/office/drawing/2014/main" id="{CBC6C444-4AD5-44A5-8EFB-56AEFE1A7B9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D14A3A93-0FD2-4AE1-8D2C-2E6CEBFAA211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828961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58" name="Straight Connector 57">
                    <a:extLst>
                      <a:ext uri="{FF2B5EF4-FFF2-40B4-BE49-F238E27FC236}">
                        <a16:creationId xmlns:a16="http://schemas.microsoft.com/office/drawing/2014/main" id="{B1827FBB-43DC-4C60-B15A-5AA8A9C6964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9" name="Straight Connector 58">
                    <a:extLst>
                      <a:ext uri="{FF2B5EF4-FFF2-40B4-BE49-F238E27FC236}">
                        <a16:creationId xmlns:a16="http://schemas.microsoft.com/office/drawing/2014/main" id="{2EA42D94-5CB4-4033-BBAA-A2875330E06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0" name="Straight Connector 59">
                    <a:extLst>
                      <a:ext uri="{FF2B5EF4-FFF2-40B4-BE49-F238E27FC236}">
                        <a16:creationId xmlns:a16="http://schemas.microsoft.com/office/drawing/2014/main" id="{EAF37FF8-55F6-4182-B1C1-C32E4091781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</p:grpSp>
      <p:sp>
        <p:nvSpPr>
          <p:cNvPr id="79" name="Title 7">
            <a:extLst>
              <a:ext uri="{FF2B5EF4-FFF2-40B4-BE49-F238E27FC236}">
                <a16:creationId xmlns:a16="http://schemas.microsoft.com/office/drawing/2014/main" id="{A1676573-A720-4D61-8D96-36566EDD4721}"/>
              </a:ext>
            </a:extLst>
          </p:cNvPr>
          <p:cNvSpPr txBox="1">
            <a:spLocks/>
          </p:cNvSpPr>
          <p:nvPr/>
        </p:nvSpPr>
        <p:spPr>
          <a:xfrm>
            <a:off x="1" y="-3752"/>
            <a:ext cx="12181236" cy="80262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 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Facility demographics and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/>
                <a:ea typeface="+mj-ea"/>
                <a:cs typeface="+mj-cs"/>
              </a:rPr>
              <a:t>service availability mapping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j-ea"/>
              <a:cs typeface="+mj-cs"/>
            </a:endParaRPr>
          </a:p>
        </p:txBody>
      </p:sp>
      <p:sp>
        <p:nvSpPr>
          <p:cNvPr id="85" name="object 3">
            <a:extLst>
              <a:ext uri="{FF2B5EF4-FFF2-40B4-BE49-F238E27FC236}">
                <a16:creationId xmlns:a16="http://schemas.microsoft.com/office/drawing/2014/main" id="{08B7AD02-C73E-4111-A351-F2BDF6E199B9}"/>
              </a:ext>
            </a:extLst>
          </p:cNvPr>
          <p:cNvSpPr txBox="1"/>
          <p:nvPr/>
        </p:nvSpPr>
        <p:spPr>
          <a:xfrm>
            <a:off x="264905" y="992880"/>
            <a:ext cx="4969559" cy="201764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0" marR="6773" lvl="0" indent="0" algn="l" defTabSz="1219170" rtl="0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/>
              </a:rPr>
              <a:t>Map</a:t>
            </a:r>
            <a:r>
              <a:rPr kumimoji="0" sz="1200" b="1" i="0" u="sng" strike="noStrike" kern="1200" cap="none" spc="-3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/>
              </a:rPr>
              <a:t> </a:t>
            </a:r>
            <a:r>
              <a:rPr kumimoji="0" sz="1200" b="1" i="0" u="sng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/>
              </a:rPr>
              <a:t>of </a:t>
            </a:r>
            <a:r>
              <a:rPr kumimoji="0" lang="en-ZA" sz="1200" b="1" i="0" u="sng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/>
              </a:rPr>
              <a:t>Angola</a:t>
            </a:r>
            <a:r>
              <a:rPr kumimoji="0" sz="1200" b="1" i="0" u="sng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/>
              </a:rPr>
              <a:t> </a:t>
            </a:r>
            <a:r>
              <a:rPr kumimoji="0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/>
              </a:rPr>
              <a:t>showing</a:t>
            </a:r>
            <a:r>
              <a:rPr kumimoji="0" sz="1200" b="1" i="0" u="sng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/>
              </a:rPr>
              <a:t> </a:t>
            </a:r>
            <a:r>
              <a:rPr lang="en-US" sz="1200" b="1" u="sng" dirty="0">
                <a:solidFill>
                  <a:srgbClr val="2B3A42"/>
                </a:solidFill>
                <a:latin typeface="Arial" panose="020B0604020202020204"/>
                <a:cs typeface="Times New Roman" panose="02020603050405020304" pitchFamily="18" charset="0"/>
              </a:rPr>
              <a:t>g</a:t>
            </a:r>
            <a:r>
              <a:rPr kumimoji="0" lang="en-US" sz="1200" b="1" i="0" u="sng" strike="noStrike" kern="1200" cap="none" spc="0" normalizeH="0" baseline="0" noProof="0" dirty="0" err="1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Arial" panose="020B0604020202020204" pitchFamily="34" charset="0"/>
                <a:cs typeface="Times New Roman" panose="02020603050405020304" pitchFamily="18" charset="0"/>
              </a:rPr>
              <a:t>eographical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Arial" panose="020B0604020202020204" pitchFamily="34" charset="0"/>
                <a:cs typeface="Times New Roman" panose="02020603050405020304" pitchFamily="18" charset="0"/>
              </a:rPr>
              <a:t> spread of sampled facilities</a:t>
            </a:r>
            <a:endParaRPr kumimoji="0" sz="12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Calibri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F1C33481-2FF7-4A65-9AEA-9FA4BBCB7604}"/>
              </a:ext>
            </a:extLst>
          </p:cNvPr>
          <p:cNvSpPr/>
          <p:nvPr/>
        </p:nvSpPr>
        <p:spPr>
          <a:xfrm>
            <a:off x="106681" y="917198"/>
            <a:ext cx="4960303" cy="5328984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1D1AB4C9-5C11-4EDA-8B73-E85A6D55A150}"/>
              </a:ext>
            </a:extLst>
          </p:cNvPr>
          <p:cNvGrpSpPr/>
          <p:nvPr/>
        </p:nvGrpSpPr>
        <p:grpSpPr>
          <a:xfrm>
            <a:off x="5302250" y="4930775"/>
            <a:ext cx="2282825" cy="588963"/>
            <a:chOff x="5068357" y="4216003"/>
            <a:chExt cx="2282627" cy="964883"/>
          </a:xfrm>
          <a:solidFill>
            <a:srgbClr val="C30C3E"/>
          </a:solidFill>
        </p:grpSpPr>
        <p:sp>
          <p:nvSpPr>
            <p:cNvPr id="90" name="Rounded Rectangle 124">
              <a:extLst>
                <a:ext uri="{FF2B5EF4-FFF2-40B4-BE49-F238E27FC236}">
                  <a16:creationId xmlns:a16="http://schemas.microsoft.com/office/drawing/2014/main" id="{7F7FC2D1-F022-4527-9CFE-70355CAF24AD}"/>
                </a:ext>
              </a:extLst>
            </p:cNvPr>
            <p:cNvSpPr/>
            <p:nvPr/>
          </p:nvSpPr>
          <p:spPr>
            <a:xfrm>
              <a:off x="5068357" y="4216003"/>
              <a:ext cx="2282627" cy="964883"/>
            </a:xfrm>
            <a:prstGeom prst="roundRect">
              <a:avLst>
                <a:gd name="adj" fmla="val 4031"/>
              </a:avLst>
            </a:prstGeom>
            <a:solidFill>
              <a:srgbClr val="BA7DE6"/>
            </a:solidFill>
            <a:ln w="3175" cap="flat" cmpd="sng" algn="ctr">
              <a:solidFill>
                <a:srgbClr val="BA7DE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econdary health care facilities</a:t>
              </a:r>
            </a:p>
          </p:txBody>
        </p:sp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DA6D9B54-EA0D-4457-9A12-E11204C6A1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48655" y="4698444"/>
              <a:ext cx="464945" cy="464945"/>
            </a:xfrm>
            <a:prstGeom prst="rect">
              <a:avLst/>
            </a:prstGeom>
            <a:noFill/>
          </p:spPr>
        </p:pic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403DF5C0-E03B-4FA2-97A9-4BDFA7113C8E}"/>
              </a:ext>
            </a:extLst>
          </p:cNvPr>
          <p:cNvGrpSpPr/>
          <p:nvPr/>
        </p:nvGrpSpPr>
        <p:grpSpPr>
          <a:xfrm>
            <a:off x="5302250" y="4240213"/>
            <a:ext cx="2282825" cy="561975"/>
            <a:chOff x="5068357" y="2990850"/>
            <a:chExt cx="2282627" cy="964883"/>
          </a:xfrm>
          <a:solidFill>
            <a:schemeClr val="accent2"/>
          </a:solidFill>
        </p:grpSpPr>
        <p:sp>
          <p:nvSpPr>
            <p:cNvPr id="95" name="Rounded Rectangle 123">
              <a:extLst>
                <a:ext uri="{FF2B5EF4-FFF2-40B4-BE49-F238E27FC236}">
                  <a16:creationId xmlns:a16="http://schemas.microsoft.com/office/drawing/2014/main" id="{B8733329-9AB6-4C6F-953F-2998C40A0935}"/>
                </a:ext>
              </a:extLst>
            </p:cNvPr>
            <p:cNvSpPr/>
            <p:nvPr/>
          </p:nvSpPr>
          <p:spPr>
            <a:xfrm>
              <a:off x="5068357" y="2990850"/>
              <a:ext cx="2282627" cy="964883"/>
            </a:xfrm>
            <a:prstGeom prst="roundRect">
              <a:avLst>
                <a:gd name="adj" fmla="val 5084"/>
              </a:avLst>
            </a:prstGeom>
            <a:solidFill>
              <a:srgbClr val="E8D4F7"/>
            </a:solidFill>
            <a:ln w="3175" cap="flat" cmpd="sng" algn="ctr">
              <a:solidFill>
                <a:srgbClr val="E8D4F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imary health care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acilities</a:t>
              </a:r>
            </a:p>
          </p:txBody>
        </p:sp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F844C1F8-531A-49B9-9064-FFF442A7F20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84215" y="3529013"/>
              <a:ext cx="393825" cy="393825"/>
            </a:xfrm>
            <a:prstGeom prst="rect">
              <a:avLst/>
            </a:prstGeom>
            <a:noFill/>
          </p:spPr>
        </p:pic>
      </p:grp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B8F19402-9D29-4579-B7FD-F4EAAE2C6A51}"/>
              </a:ext>
            </a:extLst>
          </p:cNvPr>
          <p:cNvCxnSpPr/>
          <p:nvPr/>
        </p:nvCxnSpPr>
        <p:spPr>
          <a:xfrm>
            <a:off x="5302250" y="4867275"/>
            <a:ext cx="6534150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F62CAF01-DEFE-4C67-81D8-DC63D9689D81}"/>
              </a:ext>
            </a:extLst>
          </p:cNvPr>
          <p:cNvCxnSpPr/>
          <p:nvPr/>
        </p:nvCxnSpPr>
        <p:spPr>
          <a:xfrm>
            <a:off x="5302250" y="5637213"/>
            <a:ext cx="6534150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" name="Group 98">
            <a:extLst>
              <a:ext uri="{FF2B5EF4-FFF2-40B4-BE49-F238E27FC236}">
                <a16:creationId xmlns:a16="http://schemas.microsoft.com/office/drawing/2014/main" id="{276B1978-52F3-479F-97A2-9528B75F32ED}"/>
              </a:ext>
            </a:extLst>
          </p:cNvPr>
          <p:cNvGrpSpPr/>
          <p:nvPr/>
        </p:nvGrpSpPr>
        <p:grpSpPr>
          <a:xfrm>
            <a:off x="5302250" y="5721350"/>
            <a:ext cx="2282825" cy="596900"/>
            <a:chOff x="5068357" y="5441155"/>
            <a:chExt cx="2282627" cy="964883"/>
          </a:xfrm>
          <a:solidFill>
            <a:srgbClr val="F9E1A7"/>
          </a:solidFill>
        </p:grpSpPr>
        <p:sp>
          <p:nvSpPr>
            <p:cNvPr id="100" name="Rounded Rectangle 125">
              <a:extLst>
                <a:ext uri="{FF2B5EF4-FFF2-40B4-BE49-F238E27FC236}">
                  <a16:creationId xmlns:a16="http://schemas.microsoft.com/office/drawing/2014/main" id="{C594D784-E755-400D-BB00-90584CBFF3F2}"/>
                </a:ext>
              </a:extLst>
            </p:cNvPr>
            <p:cNvSpPr/>
            <p:nvPr/>
          </p:nvSpPr>
          <p:spPr>
            <a:xfrm>
              <a:off x="5068357" y="5441155"/>
              <a:ext cx="2282627" cy="964883"/>
            </a:xfrm>
            <a:prstGeom prst="roundRect">
              <a:avLst>
                <a:gd name="adj" fmla="val 5084"/>
              </a:avLst>
            </a:prstGeom>
            <a:solidFill>
              <a:srgbClr val="461469"/>
            </a:solidFill>
            <a:ln w="3175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rtiary health care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acilities</a:t>
              </a:r>
            </a:p>
          </p:txBody>
        </p:sp>
        <p:pic>
          <p:nvPicPr>
            <p:cNvPr id="101" name="Picture 100">
              <a:extLst>
                <a:ext uri="{FF2B5EF4-FFF2-40B4-BE49-F238E27FC236}">
                  <a16:creationId xmlns:a16="http://schemas.microsoft.com/office/drawing/2014/main" id="{BEDB4F34-AE8F-44AC-891D-9BC82FF45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1154" y="5984875"/>
              <a:ext cx="371806" cy="371806"/>
            </a:xfrm>
            <a:prstGeom prst="rect">
              <a:avLst/>
            </a:prstGeom>
            <a:noFill/>
          </p:spPr>
        </p:pic>
      </p:grpSp>
      <p:graphicFrame>
        <p:nvGraphicFramePr>
          <p:cNvPr id="102" name="Chart 101">
            <a:extLst>
              <a:ext uri="{FF2B5EF4-FFF2-40B4-BE49-F238E27FC236}">
                <a16:creationId xmlns:a16="http://schemas.microsoft.com/office/drawing/2014/main" id="{0BD34ABB-1F01-475A-8394-460DA0D542D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9510622"/>
              </p:ext>
            </p:extLst>
          </p:nvPr>
        </p:nvGraphicFramePr>
        <p:xfrm>
          <a:off x="7648575" y="4848225"/>
          <a:ext cx="4332288" cy="754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103" name="Chart 102">
            <a:extLst>
              <a:ext uri="{FF2B5EF4-FFF2-40B4-BE49-F238E27FC236}">
                <a16:creationId xmlns:a16="http://schemas.microsoft.com/office/drawing/2014/main" id="{0530D3F5-6E74-4A57-A902-D6D0EC3D14F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52166603"/>
              </p:ext>
            </p:extLst>
          </p:nvPr>
        </p:nvGraphicFramePr>
        <p:xfrm>
          <a:off x="7648575" y="5638800"/>
          <a:ext cx="4332288" cy="774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3F87DDC3-EB86-4122-8F0F-86BCA6FD2543}"/>
              </a:ext>
            </a:extLst>
          </p:cNvPr>
          <p:cNvCxnSpPr>
            <a:cxnSpLocks/>
          </p:cNvCxnSpPr>
          <p:nvPr/>
        </p:nvCxnSpPr>
        <p:spPr>
          <a:xfrm>
            <a:off x="5329238" y="3803650"/>
            <a:ext cx="6619875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tangle 104">
            <a:extLst>
              <a:ext uri="{FF2B5EF4-FFF2-40B4-BE49-F238E27FC236}">
                <a16:creationId xmlns:a16="http://schemas.microsoft.com/office/drawing/2014/main" id="{BCE63DB9-00EE-47EA-90E8-38F5C2E0D419}"/>
              </a:ext>
            </a:extLst>
          </p:cNvPr>
          <p:cNvSpPr/>
          <p:nvPr/>
        </p:nvSpPr>
        <p:spPr>
          <a:xfrm>
            <a:off x="5287963" y="832079"/>
            <a:ext cx="6692900" cy="3095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tribution of services provided in sampled facilities by location and facility type, 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F2851223-5AA4-4AC1-BDBD-ED35E888C2FB}"/>
              </a:ext>
            </a:extLst>
          </p:cNvPr>
          <p:cNvCxnSpPr/>
          <p:nvPr/>
        </p:nvCxnSpPr>
        <p:spPr>
          <a:xfrm>
            <a:off x="5302250" y="4122680"/>
            <a:ext cx="6619875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angle 106">
            <a:extLst>
              <a:ext uri="{FF2B5EF4-FFF2-40B4-BE49-F238E27FC236}">
                <a16:creationId xmlns:a16="http://schemas.microsoft.com/office/drawing/2014/main" id="{F003BAD5-BA25-48D5-AAE7-F4E248781747}"/>
              </a:ext>
            </a:extLst>
          </p:cNvPr>
          <p:cNvSpPr/>
          <p:nvPr/>
        </p:nvSpPr>
        <p:spPr>
          <a:xfrm>
            <a:off x="5287963" y="3751263"/>
            <a:ext cx="2297113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ility type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2964E2D0-6DE8-4D33-8A07-93A6A9D22ED3}"/>
              </a:ext>
            </a:extLst>
          </p:cNvPr>
          <p:cNvSpPr/>
          <p:nvPr/>
        </p:nvSpPr>
        <p:spPr>
          <a:xfrm>
            <a:off x="7640640" y="3751263"/>
            <a:ext cx="965200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V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64DE9614-67F9-43B2-BD76-D6541A5E8D32}"/>
              </a:ext>
            </a:extLst>
          </p:cNvPr>
          <p:cNvSpPr/>
          <p:nvPr/>
        </p:nvSpPr>
        <p:spPr>
          <a:xfrm>
            <a:off x="8481257" y="3751263"/>
            <a:ext cx="963613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B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BEAA5EC-8F6C-4C5F-994E-FDF0DD1C9616}"/>
              </a:ext>
            </a:extLst>
          </p:cNvPr>
          <p:cNvSpPr/>
          <p:nvPr/>
        </p:nvSpPr>
        <p:spPr>
          <a:xfrm>
            <a:off x="9320287" y="3751263"/>
            <a:ext cx="965200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laria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10167823-DF0D-43C3-998F-F372880C8147}"/>
              </a:ext>
            </a:extLst>
          </p:cNvPr>
          <p:cNvSpPr/>
          <p:nvPr/>
        </p:nvSpPr>
        <p:spPr>
          <a:xfrm>
            <a:off x="10160904" y="3751263"/>
            <a:ext cx="963613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C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9BEACD01-F532-4237-AE3A-D1002BC396B0}"/>
              </a:ext>
            </a:extLst>
          </p:cNvPr>
          <p:cNvSpPr txBox="1"/>
          <p:nvPr/>
        </p:nvSpPr>
        <p:spPr>
          <a:xfrm>
            <a:off x="11094591" y="4345173"/>
            <a:ext cx="6461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N/A</a:t>
            </a:r>
          </a:p>
        </p:txBody>
      </p:sp>
      <p:graphicFrame>
        <p:nvGraphicFramePr>
          <p:cNvPr id="128" name="Chart 127">
            <a:extLst>
              <a:ext uri="{FF2B5EF4-FFF2-40B4-BE49-F238E27FC236}">
                <a16:creationId xmlns:a16="http://schemas.microsoft.com/office/drawing/2014/main" id="{567DBF39-84D3-41D8-9EE4-CCC395F111C5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83976766"/>
              </p:ext>
            </p:extLst>
          </p:nvPr>
        </p:nvGraphicFramePr>
        <p:xfrm>
          <a:off x="7648575" y="4126389"/>
          <a:ext cx="4332288" cy="754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30" name="Slide Number Placeholder 1">
            <a:extLst>
              <a:ext uri="{FF2B5EF4-FFF2-40B4-BE49-F238E27FC236}">
                <a16:creationId xmlns:a16="http://schemas.microsoft.com/office/drawing/2014/main" id="{1503BBFA-C076-459A-97F1-DDEEF9A3D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0" y="6356350"/>
            <a:ext cx="897300" cy="365125"/>
          </a:xfrm>
        </p:spPr>
        <p:txBody>
          <a:bodyPr/>
          <a:lstStyle/>
          <a:p>
            <a:fld id="{9E2BE927-25C7-4379-86F1-C17ED9D2A7F2}" type="slidenum">
              <a:rPr lang="en-US" smtClean="0"/>
              <a:pPr/>
              <a:t>1</a:t>
            </a:fld>
            <a:endParaRPr lang="en-US"/>
          </a:p>
        </p:txBody>
      </p:sp>
      <p:pic>
        <p:nvPicPr>
          <p:cNvPr id="4" name="Picture 3" descr="A map of the state of minnesota&#10;&#10;Description automatically generated">
            <a:extLst>
              <a:ext uri="{FF2B5EF4-FFF2-40B4-BE49-F238E27FC236}">
                <a16:creationId xmlns:a16="http://schemas.microsoft.com/office/drawing/2014/main" id="{D2A58571-0C2E-4CDB-AB54-367B99064C03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95" t="7767" r="23898" b="2393"/>
          <a:stretch/>
        </p:blipFill>
        <p:spPr>
          <a:xfrm>
            <a:off x="335758" y="1194644"/>
            <a:ext cx="4606925" cy="5036185"/>
          </a:xfrm>
          <a:prstGeom prst="rect">
            <a:avLst/>
          </a:prstGeom>
        </p:spPr>
      </p:pic>
      <p:sp>
        <p:nvSpPr>
          <p:cNvPr id="81" name="Rectangle 80">
            <a:extLst>
              <a:ext uri="{FF2B5EF4-FFF2-40B4-BE49-F238E27FC236}">
                <a16:creationId xmlns:a16="http://schemas.microsoft.com/office/drawing/2014/main" id="{08452266-E393-4B2E-B9E2-AB737E260F7F}"/>
              </a:ext>
            </a:extLst>
          </p:cNvPr>
          <p:cNvSpPr/>
          <p:nvPr/>
        </p:nvSpPr>
        <p:spPr>
          <a:xfrm>
            <a:off x="10999934" y="3751263"/>
            <a:ext cx="963613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mu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150" name="Rounded Rectangle 124">
            <a:extLst>
              <a:ext uri="{FF2B5EF4-FFF2-40B4-BE49-F238E27FC236}">
                <a16:creationId xmlns:a16="http://schemas.microsoft.com/office/drawing/2014/main" id="{6DA2B2E6-4B75-4266-BCEF-99C66E8C06A2}"/>
              </a:ext>
            </a:extLst>
          </p:cNvPr>
          <p:cNvSpPr/>
          <p:nvPr/>
        </p:nvSpPr>
        <p:spPr>
          <a:xfrm>
            <a:off x="5310348" y="2287117"/>
            <a:ext cx="2282825" cy="588963"/>
          </a:xfrm>
          <a:prstGeom prst="roundRect">
            <a:avLst>
              <a:gd name="adj" fmla="val 4031"/>
            </a:avLst>
          </a:prstGeom>
          <a:solidFill>
            <a:schemeClr val="accent4">
              <a:lumMod val="60000"/>
              <a:lumOff val="40000"/>
            </a:schemeClr>
          </a:solidFill>
          <a:ln w="3175" cap="flat" cmpd="sng" algn="ctr">
            <a:solidFill>
              <a:srgbClr val="BA7DE6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lth care facilities 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latin typeface="Arial" panose="020B0604020202020204"/>
              </a:rPr>
              <a:t>peri-urban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reas</a:t>
            </a:r>
          </a:p>
        </p:txBody>
      </p:sp>
      <p:sp>
        <p:nvSpPr>
          <p:cNvPr id="153" name="Rounded Rectangle 123">
            <a:extLst>
              <a:ext uri="{FF2B5EF4-FFF2-40B4-BE49-F238E27FC236}">
                <a16:creationId xmlns:a16="http://schemas.microsoft.com/office/drawing/2014/main" id="{40F2A0FE-B28A-496E-8277-0752483004A4}"/>
              </a:ext>
            </a:extLst>
          </p:cNvPr>
          <p:cNvSpPr/>
          <p:nvPr/>
        </p:nvSpPr>
        <p:spPr>
          <a:xfrm>
            <a:off x="5310348" y="1596555"/>
            <a:ext cx="2282825" cy="561975"/>
          </a:xfrm>
          <a:prstGeom prst="roundRect">
            <a:avLst>
              <a:gd name="adj" fmla="val 5084"/>
            </a:avLst>
          </a:prstGeom>
          <a:solidFill>
            <a:schemeClr val="accent4">
              <a:lumMod val="50000"/>
            </a:schemeClr>
          </a:solidFill>
          <a:ln w="3175" cap="flat" cmpd="sng" algn="ctr">
            <a:solidFill>
              <a:srgbClr val="E8D4F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lth care facilities 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chemeClr val="bg1"/>
                </a:solidFill>
                <a:latin typeface="Arial" panose="020B0604020202020204"/>
              </a:rPr>
              <a:t>r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ral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reas</a:t>
            </a:r>
          </a:p>
        </p:txBody>
      </p: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C7EA9ED6-8D0E-4830-AA5F-7DE7BEA869BA}"/>
              </a:ext>
            </a:extLst>
          </p:cNvPr>
          <p:cNvCxnSpPr/>
          <p:nvPr/>
        </p:nvCxnSpPr>
        <p:spPr>
          <a:xfrm>
            <a:off x="5310348" y="2223617"/>
            <a:ext cx="6534150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BEB7030E-E1AD-470B-9B99-A6C7E99B31FA}"/>
              </a:ext>
            </a:extLst>
          </p:cNvPr>
          <p:cNvCxnSpPr/>
          <p:nvPr/>
        </p:nvCxnSpPr>
        <p:spPr>
          <a:xfrm>
            <a:off x="5310348" y="2993555"/>
            <a:ext cx="6534150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25">
            <a:extLst>
              <a:ext uri="{FF2B5EF4-FFF2-40B4-BE49-F238E27FC236}">
                <a16:creationId xmlns:a16="http://schemas.microsoft.com/office/drawing/2014/main" id="{426BF24A-C216-471A-8035-AA74851C92D7}"/>
              </a:ext>
            </a:extLst>
          </p:cNvPr>
          <p:cNvSpPr/>
          <p:nvPr/>
        </p:nvSpPr>
        <p:spPr>
          <a:xfrm>
            <a:off x="5310348" y="3077692"/>
            <a:ext cx="2282825" cy="596900"/>
          </a:xfrm>
          <a:prstGeom prst="roundRect">
            <a:avLst>
              <a:gd name="adj" fmla="val 5084"/>
            </a:avLst>
          </a:prstGeom>
          <a:solidFill>
            <a:schemeClr val="accent4">
              <a:lumMod val="20000"/>
              <a:lumOff val="80000"/>
            </a:schemeClr>
          </a:solidFill>
          <a:ln w="317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lth care facilities 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rban areas</a:t>
            </a:r>
          </a:p>
        </p:txBody>
      </p:sp>
      <p:graphicFrame>
        <p:nvGraphicFramePr>
          <p:cNvPr id="160" name="Chart 159">
            <a:extLst>
              <a:ext uri="{FF2B5EF4-FFF2-40B4-BE49-F238E27FC236}">
                <a16:creationId xmlns:a16="http://schemas.microsoft.com/office/drawing/2014/main" id="{38C900BF-604D-4B21-8A8D-D999A086C08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14414284"/>
              </p:ext>
            </p:extLst>
          </p:nvPr>
        </p:nvGraphicFramePr>
        <p:xfrm>
          <a:off x="7656673" y="2204567"/>
          <a:ext cx="4332288" cy="754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aphicFrame>
        <p:nvGraphicFramePr>
          <p:cNvPr id="161" name="Chart 160">
            <a:extLst>
              <a:ext uri="{FF2B5EF4-FFF2-40B4-BE49-F238E27FC236}">
                <a16:creationId xmlns:a16="http://schemas.microsoft.com/office/drawing/2014/main" id="{B0AB8549-A56E-49D7-A5AE-B174F179CBFF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11493270"/>
              </p:ext>
            </p:extLst>
          </p:nvPr>
        </p:nvGraphicFramePr>
        <p:xfrm>
          <a:off x="7656673" y="2995142"/>
          <a:ext cx="4332288" cy="774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66F19B1B-62FB-44DB-826A-D5743E49A1E2}"/>
              </a:ext>
            </a:extLst>
          </p:cNvPr>
          <p:cNvCxnSpPr>
            <a:cxnSpLocks/>
          </p:cNvCxnSpPr>
          <p:nvPr/>
        </p:nvCxnSpPr>
        <p:spPr>
          <a:xfrm>
            <a:off x="5337336" y="1159992"/>
            <a:ext cx="6619875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65192C61-D631-4C66-BA94-932271C92C3B}"/>
              </a:ext>
            </a:extLst>
          </p:cNvPr>
          <p:cNvCxnSpPr/>
          <p:nvPr/>
        </p:nvCxnSpPr>
        <p:spPr>
          <a:xfrm>
            <a:off x="5310348" y="1479022"/>
            <a:ext cx="6619875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tangle 163">
            <a:extLst>
              <a:ext uri="{FF2B5EF4-FFF2-40B4-BE49-F238E27FC236}">
                <a16:creationId xmlns:a16="http://schemas.microsoft.com/office/drawing/2014/main" id="{406FACA9-38F1-4E34-9F46-CBBB0A649E70}"/>
              </a:ext>
            </a:extLst>
          </p:cNvPr>
          <p:cNvSpPr/>
          <p:nvPr/>
        </p:nvSpPr>
        <p:spPr>
          <a:xfrm>
            <a:off x="5296061" y="1107605"/>
            <a:ext cx="2297113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ility location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4BA109D7-00E1-494F-8716-D69965C9953C}"/>
              </a:ext>
            </a:extLst>
          </p:cNvPr>
          <p:cNvSpPr/>
          <p:nvPr/>
        </p:nvSpPr>
        <p:spPr>
          <a:xfrm>
            <a:off x="7648738" y="1107605"/>
            <a:ext cx="965200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V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10CA26C0-9AB1-4E13-92D1-9E5F648A9173}"/>
              </a:ext>
            </a:extLst>
          </p:cNvPr>
          <p:cNvSpPr/>
          <p:nvPr/>
        </p:nvSpPr>
        <p:spPr>
          <a:xfrm>
            <a:off x="8489355" y="1107605"/>
            <a:ext cx="963613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B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7B173EFC-DE10-4B7D-95A1-ECADD31AD9FF}"/>
              </a:ext>
            </a:extLst>
          </p:cNvPr>
          <p:cNvSpPr/>
          <p:nvPr/>
        </p:nvSpPr>
        <p:spPr>
          <a:xfrm>
            <a:off x="9328385" y="1107605"/>
            <a:ext cx="965200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laria</a:t>
            </a: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AAEEF12C-7AB2-4CA0-9813-B08C95827D46}"/>
              </a:ext>
            </a:extLst>
          </p:cNvPr>
          <p:cNvSpPr/>
          <p:nvPr/>
        </p:nvSpPr>
        <p:spPr>
          <a:xfrm>
            <a:off x="10169002" y="1107605"/>
            <a:ext cx="963613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C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6D1F0FF3-B93A-4F09-B38D-4A9D424BFD11}"/>
              </a:ext>
            </a:extLst>
          </p:cNvPr>
          <p:cNvSpPr txBox="1"/>
          <p:nvPr/>
        </p:nvSpPr>
        <p:spPr>
          <a:xfrm>
            <a:off x="11102689" y="1701515"/>
            <a:ext cx="6461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N/A</a:t>
            </a:r>
          </a:p>
        </p:txBody>
      </p:sp>
      <p:graphicFrame>
        <p:nvGraphicFramePr>
          <p:cNvPr id="170" name="Chart 169">
            <a:extLst>
              <a:ext uri="{FF2B5EF4-FFF2-40B4-BE49-F238E27FC236}">
                <a16:creationId xmlns:a16="http://schemas.microsoft.com/office/drawing/2014/main" id="{E4D21F53-D4AA-421C-9003-0A694F16F46B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44075582"/>
              </p:ext>
            </p:extLst>
          </p:nvPr>
        </p:nvGraphicFramePr>
        <p:xfrm>
          <a:off x="7656673" y="1482731"/>
          <a:ext cx="4332288" cy="754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171" name="Rectangle 170">
            <a:extLst>
              <a:ext uri="{FF2B5EF4-FFF2-40B4-BE49-F238E27FC236}">
                <a16:creationId xmlns:a16="http://schemas.microsoft.com/office/drawing/2014/main" id="{17348C60-1568-4B6A-9C84-942BF8BDAE66}"/>
              </a:ext>
            </a:extLst>
          </p:cNvPr>
          <p:cNvSpPr/>
          <p:nvPr/>
        </p:nvSpPr>
        <p:spPr>
          <a:xfrm>
            <a:off x="11008032" y="1107605"/>
            <a:ext cx="963613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mu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89678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Rectangle 167">
            <a:extLst>
              <a:ext uri="{FF2B5EF4-FFF2-40B4-BE49-F238E27FC236}">
                <a16:creationId xmlns:a16="http://schemas.microsoft.com/office/drawing/2014/main" id="{27446404-5908-422E-B34D-508C6EF171DB}"/>
              </a:ext>
            </a:extLst>
          </p:cNvPr>
          <p:cNvSpPr/>
          <p:nvPr/>
        </p:nvSpPr>
        <p:spPr>
          <a:xfrm>
            <a:off x="82194" y="2772931"/>
            <a:ext cx="12010490" cy="360512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418E1261-8361-4027-91F9-F8DAECCC7B45}"/>
              </a:ext>
            </a:extLst>
          </p:cNvPr>
          <p:cNvSpPr/>
          <p:nvPr/>
        </p:nvSpPr>
        <p:spPr>
          <a:xfrm>
            <a:off x="82194" y="843779"/>
            <a:ext cx="12010490" cy="184499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DBB1E5-13EB-489B-80F3-302D5B85F2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DBB1E5-13EB-489B-80F3-302D5B85F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7A865A13-5BB7-4029-A6E4-951B1772A0E9}"/>
              </a:ext>
            </a:extLst>
          </p:cNvPr>
          <p:cNvGrpSpPr/>
          <p:nvPr/>
        </p:nvGrpSpPr>
        <p:grpSpPr>
          <a:xfrm>
            <a:off x="1524000" y="223118"/>
            <a:ext cx="9144000" cy="369332"/>
            <a:chOff x="0" y="295544"/>
            <a:chExt cx="9144000" cy="369332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D19B5CF-C4AB-449A-AAA0-CDF79580278E}"/>
                </a:ext>
              </a:extLst>
            </p:cNvPr>
            <p:cNvSpPr/>
            <p:nvPr/>
          </p:nvSpPr>
          <p:spPr>
            <a:xfrm>
              <a:off x="734382" y="295544"/>
              <a:ext cx="767523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Supply Chain and Health Services Dashboard</a:t>
              </a: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9D479C72-27FC-4179-A756-DEF29BE4A257}"/>
                </a:ext>
              </a:extLst>
            </p:cNvPr>
            <p:cNvGrpSpPr/>
            <p:nvPr/>
          </p:nvGrpSpPr>
          <p:grpSpPr>
            <a:xfrm>
              <a:off x="0" y="343694"/>
              <a:ext cx="9144000" cy="273032"/>
              <a:chOff x="0" y="598473"/>
              <a:chExt cx="9144000" cy="273032"/>
            </a:xfrm>
          </p:grpSpPr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5D87E020-AE36-4269-A5F8-04F31AC1F8F6}"/>
                  </a:ext>
                </a:extLst>
              </p:cNvPr>
              <p:cNvGrpSpPr/>
              <p:nvPr/>
            </p:nvGrpSpPr>
            <p:grpSpPr>
              <a:xfrm flipH="1">
                <a:off x="8162094" y="598473"/>
                <a:ext cx="981906" cy="273032"/>
                <a:chOff x="93860" y="5978044"/>
                <a:chExt cx="2333623" cy="273032"/>
              </a:xfrm>
            </p:grpSpPr>
            <p:grpSp>
              <p:nvGrpSpPr>
                <p:cNvPr id="67" name="Group 66">
                  <a:extLst>
                    <a:ext uri="{FF2B5EF4-FFF2-40B4-BE49-F238E27FC236}">
                      <a16:creationId xmlns:a16="http://schemas.microsoft.com/office/drawing/2014/main" id="{6B1C332F-361F-401A-9380-CE19000B15F2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5066535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6" name="Straight Connector 75">
                    <a:extLst>
                      <a:ext uri="{FF2B5EF4-FFF2-40B4-BE49-F238E27FC236}">
                        <a16:creationId xmlns:a16="http://schemas.microsoft.com/office/drawing/2014/main" id="{90E99884-A6B5-4898-9B41-18A4761EEB5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76">
                    <a:extLst>
                      <a:ext uri="{FF2B5EF4-FFF2-40B4-BE49-F238E27FC236}">
                        <a16:creationId xmlns:a16="http://schemas.microsoft.com/office/drawing/2014/main" id="{9D3C933C-F219-433B-AF84-E596AFD132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0844E72B-7E9A-4AB0-B9EF-1DFE52224E8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8" name="Group 67">
                  <a:extLst>
                    <a:ext uri="{FF2B5EF4-FFF2-40B4-BE49-F238E27FC236}">
                      <a16:creationId xmlns:a16="http://schemas.microsoft.com/office/drawing/2014/main" id="{FFBC62DC-F408-410C-81CC-A699D7D41FF8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947748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D9200B24-11E2-484A-BEC5-67A07FAE136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69AB7456-5AC9-484F-9EFA-F29987F2F4D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4E98E84A-3CB6-45CC-B164-2472BAC44D7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BE250DBE-D57A-4A82-A464-15018036E69B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828961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2FBD811D-518F-4C62-BB65-003F8785BC8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32539E9B-A35F-415E-93D9-5CD1777A345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CE643024-BBA7-420D-B97B-570F90F37A1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0EF7E3C9-3056-4226-98BA-E23233FC25BB}"/>
                  </a:ext>
                </a:extLst>
              </p:cNvPr>
              <p:cNvGrpSpPr/>
              <p:nvPr/>
            </p:nvGrpSpPr>
            <p:grpSpPr>
              <a:xfrm>
                <a:off x="0" y="598473"/>
                <a:ext cx="981906" cy="273032"/>
                <a:chOff x="93860" y="5978044"/>
                <a:chExt cx="2333623" cy="273032"/>
              </a:xfrm>
            </p:grpSpPr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C7661A02-2EAD-42A7-BBDB-96FD2702C2BF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5066535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64" name="Straight Connector 63">
                    <a:extLst>
                      <a:ext uri="{FF2B5EF4-FFF2-40B4-BE49-F238E27FC236}">
                        <a16:creationId xmlns:a16="http://schemas.microsoft.com/office/drawing/2014/main" id="{FC279BEA-33EC-40F5-9526-AC46FA56EDB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5" name="Straight Connector 64">
                    <a:extLst>
                      <a:ext uri="{FF2B5EF4-FFF2-40B4-BE49-F238E27FC236}">
                        <a16:creationId xmlns:a16="http://schemas.microsoft.com/office/drawing/2014/main" id="{AD18F3F2-7FD7-40CB-9298-F85C6EAF3D1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6" name="Straight Connector 65">
                    <a:extLst>
                      <a:ext uri="{FF2B5EF4-FFF2-40B4-BE49-F238E27FC236}">
                        <a16:creationId xmlns:a16="http://schemas.microsoft.com/office/drawing/2014/main" id="{DBC79D75-8C03-4252-B01E-F27CE7E99D0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6" name="Group 55">
                  <a:extLst>
                    <a:ext uri="{FF2B5EF4-FFF2-40B4-BE49-F238E27FC236}">
                      <a16:creationId xmlns:a16="http://schemas.microsoft.com/office/drawing/2014/main" id="{9AB5B898-DF29-4A9D-B0E0-94E99BAE5EA8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947748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61" name="Straight Connector 60">
                    <a:extLst>
                      <a:ext uri="{FF2B5EF4-FFF2-40B4-BE49-F238E27FC236}">
                        <a16:creationId xmlns:a16="http://schemas.microsoft.com/office/drawing/2014/main" id="{6D7F8370-1932-495A-A1E8-C88818D7906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2" name="Straight Connector 61">
                    <a:extLst>
                      <a:ext uri="{FF2B5EF4-FFF2-40B4-BE49-F238E27FC236}">
                        <a16:creationId xmlns:a16="http://schemas.microsoft.com/office/drawing/2014/main" id="{D6181864-41BF-481F-AC7C-B0B53C91110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3" name="Straight Connector 62">
                    <a:extLst>
                      <a:ext uri="{FF2B5EF4-FFF2-40B4-BE49-F238E27FC236}">
                        <a16:creationId xmlns:a16="http://schemas.microsoft.com/office/drawing/2014/main" id="{CBC6C444-4AD5-44A5-8EFB-56AEFE1A7B9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D14A3A93-0FD2-4AE1-8D2C-2E6CEBFAA211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828961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58" name="Straight Connector 57">
                    <a:extLst>
                      <a:ext uri="{FF2B5EF4-FFF2-40B4-BE49-F238E27FC236}">
                        <a16:creationId xmlns:a16="http://schemas.microsoft.com/office/drawing/2014/main" id="{B1827FBB-43DC-4C60-B15A-5AA8A9C6964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9" name="Straight Connector 58">
                    <a:extLst>
                      <a:ext uri="{FF2B5EF4-FFF2-40B4-BE49-F238E27FC236}">
                        <a16:creationId xmlns:a16="http://schemas.microsoft.com/office/drawing/2014/main" id="{2EA42D94-5CB4-4033-BBAA-A2875330E06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0" name="Straight Connector 59">
                    <a:extLst>
                      <a:ext uri="{FF2B5EF4-FFF2-40B4-BE49-F238E27FC236}">
                        <a16:creationId xmlns:a16="http://schemas.microsoft.com/office/drawing/2014/main" id="{EAF37FF8-55F6-4182-B1C1-C32E4091781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</p:grpSp>
      <p:sp>
        <p:nvSpPr>
          <p:cNvPr id="79" name="Title 7">
            <a:extLst>
              <a:ext uri="{FF2B5EF4-FFF2-40B4-BE49-F238E27FC236}">
                <a16:creationId xmlns:a16="http://schemas.microsoft.com/office/drawing/2014/main" id="{A1676573-A720-4D61-8D96-36566EDD4721}"/>
              </a:ext>
            </a:extLst>
          </p:cNvPr>
          <p:cNvSpPr txBox="1">
            <a:spLocks/>
          </p:cNvSpPr>
          <p:nvPr/>
        </p:nvSpPr>
        <p:spPr>
          <a:xfrm>
            <a:off x="1" y="-3752"/>
            <a:ext cx="12181236" cy="80262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prstClr val="white"/>
                </a:solidFill>
                <a:latin typeface="Arial Black"/>
              </a:rPr>
              <a:t>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Country level scores for the 11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tHFA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 indicators (Model 3)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1D819F-7AA2-4098-8DF1-B9DB86620BE9}"/>
              </a:ext>
            </a:extLst>
          </p:cNvPr>
          <p:cNvGrpSpPr/>
          <p:nvPr/>
        </p:nvGrpSpPr>
        <p:grpSpPr>
          <a:xfrm>
            <a:off x="700564" y="971316"/>
            <a:ext cx="11298963" cy="1723846"/>
            <a:chOff x="698118" y="1025746"/>
            <a:chExt cx="11298963" cy="172384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0B90408-B2C2-44FF-A8F9-724864263CED}"/>
                </a:ext>
              </a:extLst>
            </p:cNvPr>
            <p:cNvSpPr/>
            <p:nvPr/>
          </p:nvSpPr>
          <p:spPr>
            <a:xfrm>
              <a:off x="841566" y="1025746"/>
              <a:ext cx="2663634" cy="1614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aphicFrame>
          <p:nvGraphicFramePr>
            <p:cNvPr id="114" name="Chart 113">
              <a:extLst>
                <a:ext uri="{FF2B5EF4-FFF2-40B4-BE49-F238E27FC236}">
                  <a16:creationId xmlns:a16="http://schemas.microsoft.com/office/drawing/2014/main" id="{A8BB5688-8B57-44B2-A19E-90D8CD952C0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576925445"/>
                </p:ext>
              </p:extLst>
            </p:nvPr>
          </p:nvGraphicFramePr>
          <p:xfrm>
            <a:off x="698118" y="1259298"/>
            <a:ext cx="1676536" cy="14902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349EA44A-D4A2-4E89-BCE4-2BF62FA98B1B}"/>
                </a:ext>
              </a:extLst>
            </p:cNvPr>
            <p:cNvCxnSpPr>
              <a:cxnSpLocks/>
            </p:cNvCxnSpPr>
            <p:nvPr/>
          </p:nvCxnSpPr>
          <p:spPr>
            <a:xfrm>
              <a:off x="891066" y="1348112"/>
              <a:ext cx="25445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3A40C022-A8DF-4039-A3AA-96127EED5525}"/>
                </a:ext>
              </a:extLst>
            </p:cNvPr>
            <p:cNvSpPr txBox="1"/>
            <p:nvPr/>
          </p:nvSpPr>
          <p:spPr>
            <a:xfrm>
              <a:off x="841566" y="1043415"/>
              <a:ext cx="26636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sz="1200" b="1" dirty="0"/>
                <a:t>High Quality Services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60C84091-2B2B-4E67-AFDF-1DE5E5D98C61}"/>
                </a:ext>
              </a:extLst>
            </p:cNvPr>
            <p:cNvSpPr txBox="1"/>
            <p:nvPr/>
          </p:nvSpPr>
          <p:spPr>
            <a:xfrm>
              <a:off x="1302386" y="1819779"/>
              <a:ext cx="468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b="1" dirty="0"/>
                <a:t>58</a:t>
              </a:r>
            </a:p>
          </p:txBody>
        </p:sp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8" name="Chart 7">
                  <a:extLst>
                    <a:ext uri="{FF2B5EF4-FFF2-40B4-BE49-F238E27FC236}">
                      <a16:creationId xmlns:a16="http://schemas.microsoft.com/office/drawing/2014/main" id="{30D4A90C-6B9D-4354-A16C-BF38E672258B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605245480"/>
                    </p:ext>
                  </p:extLst>
                </p:nvPr>
              </p:nvGraphicFramePr>
              <p:xfrm>
                <a:off x="2266513" y="1364751"/>
                <a:ext cx="1104380" cy="1303109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6"/>
                </a:graphicData>
              </a:graphic>
            </p:graphicFrame>
          </mc:Choice>
          <mc:Fallback xmlns="">
            <p:pic>
              <p:nvPicPr>
                <p:cNvPr id="8" name="Chart 7">
                  <a:extLst>
                    <a:ext uri="{FF2B5EF4-FFF2-40B4-BE49-F238E27FC236}">
                      <a16:creationId xmlns:a16="http://schemas.microsoft.com/office/drawing/2014/main" id="{30D4A90C-6B9D-4354-A16C-BF38E672258B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2268959" y="1310321"/>
                  <a:ext cx="1104380" cy="1303109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21021FCC-3E23-41E2-A6E4-C3D876B099B8}"/>
                </a:ext>
              </a:extLst>
            </p:cNvPr>
            <p:cNvSpPr/>
            <p:nvPr/>
          </p:nvSpPr>
          <p:spPr>
            <a:xfrm>
              <a:off x="3672193" y="1025746"/>
              <a:ext cx="2663634" cy="1614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aphicFrame>
          <p:nvGraphicFramePr>
            <p:cNvPr id="81" name="Chart 80">
              <a:extLst>
                <a:ext uri="{FF2B5EF4-FFF2-40B4-BE49-F238E27FC236}">
                  <a16:creationId xmlns:a16="http://schemas.microsoft.com/office/drawing/2014/main" id="{0140762D-7446-445E-AE4C-5031674FFF9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778875031"/>
                </p:ext>
              </p:extLst>
            </p:nvPr>
          </p:nvGraphicFramePr>
          <p:xfrm>
            <a:off x="3528745" y="1259298"/>
            <a:ext cx="1676536" cy="14902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AD4F5649-21A8-4AD7-AD8F-CBDAFB145E59}"/>
                </a:ext>
              </a:extLst>
            </p:cNvPr>
            <p:cNvCxnSpPr>
              <a:cxnSpLocks/>
            </p:cNvCxnSpPr>
            <p:nvPr/>
          </p:nvCxnSpPr>
          <p:spPr>
            <a:xfrm>
              <a:off x="3721693" y="1348112"/>
              <a:ext cx="25445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F162C8BB-BDD4-43BC-9E06-4DA54DD26AB4}"/>
                </a:ext>
              </a:extLst>
            </p:cNvPr>
            <p:cNvSpPr txBox="1"/>
            <p:nvPr/>
          </p:nvSpPr>
          <p:spPr>
            <a:xfrm>
              <a:off x="3672193" y="1043415"/>
              <a:ext cx="26636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sz="1200" b="1" dirty="0"/>
                <a:t>Integrated Supp. Supervision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73B39E04-803B-442C-87CC-D2CAB2D0E8DB}"/>
                </a:ext>
              </a:extLst>
            </p:cNvPr>
            <p:cNvSpPr txBox="1"/>
            <p:nvPr/>
          </p:nvSpPr>
          <p:spPr>
            <a:xfrm>
              <a:off x="4133013" y="1819779"/>
              <a:ext cx="468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b="1" dirty="0"/>
                <a:t>87</a:t>
              </a:r>
            </a:p>
          </p:txBody>
        </p:sp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86" name="Chart 85">
                  <a:extLst>
                    <a:ext uri="{FF2B5EF4-FFF2-40B4-BE49-F238E27FC236}">
                      <a16:creationId xmlns:a16="http://schemas.microsoft.com/office/drawing/2014/main" id="{DB1F09F8-1E54-430B-8677-EE4B2132358D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869711148"/>
                    </p:ext>
                  </p:extLst>
                </p:nvPr>
              </p:nvGraphicFramePr>
              <p:xfrm>
                <a:off x="5097140" y="1364751"/>
                <a:ext cx="1104380" cy="1303109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9"/>
                </a:graphicData>
              </a:graphic>
            </p:graphicFrame>
          </mc:Choice>
          <mc:Fallback xmlns="">
            <p:pic>
              <p:nvPicPr>
                <p:cNvPr id="86" name="Chart 85">
                  <a:extLst>
                    <a:ext uri="{FF2B5EF4-FFF2-40B4-BE49-F238E27FC236}">
                      <a16:creationId xmlns:a16="http://schemas.microsoft.com/office/drawing/2014/main" id="{DB1F09F8-1E54-430B-8677-EE4B2132358D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5099586" y="1310321"/>
                  <a:ext cx="1104380" cy="1303109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68CE68F7-BCF9-4020-85E1-778063457841}"/>
                </a:ext>
              </a:extLst>
            </p:cNvPr>
            <p:cNvSpPr/>
            <p:nvPr/>
          </p:nvSpPr>
          <p:spPr>
            <a:xfrm>
              <a:off x="6502820" y="1025746"/>
              <a:ext cx="2663634" cy="1614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aphicFrame>
          <p:nvGraphicFramePr>
            <p:cNvPr id="88" name="Chart 87">
              <a:extLst>
                <a:ext uri="{FF2B5EF4-FFF2-40B4-BE49-F238E27FC236}">
                  <a16:creationId xmlns:a16="http://schemas.microsoft.com/office/drawing/2014/main" id="{0C61731F-BAF2-4D98-96A1-72CFC7CE1A02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634798485"/>
                </p:ext>
              </p:extLst>
            </p:nvPr>
          </p:nvGraphicFramePr>
          <p:xfrm>
            <a:off x="6359372" y="1259298"/>
            <a:ext cx="1676536" cy="14902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BC338CF9-4C18-47B8-B947-A0FC432D5252}"/>
                </a:ext>
              </a:extLst>
            </p:cNvPr>
            <p:cNvCxnSpPr>
              <a:cxnSpLocks/>
            </p:cNvCxnSpPr>
            <p:nvPr/>
          </p:nvCxnSpPr>
          <p:spPr>
            <a:xfrm>
              <a:off x="6552320" y="1348112"/>
              <a:ext cx="25445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0D532B08-6EC0-4C2E-B52C-78E73133D8FB}"/>
                </a:ext>
              </a:extLst>
            </p:cNvPr>
            <p:cNvSpPr txBox="1"/>
            <p:nvPr/>
          </p:nvSpPr>
          <p:spPr>
            <a:xfrm>
              <a:off x="6502820" y="1043415"/>
              <a:ext cx="26636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sz="1200" b="1" dirty="0"/>
                <a:t>Integrated HTM for ANC patients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BF236913-CB0B-4804-85E5-AA87021868AB}"/>
                </a:ext>
              </a:extLst>
            </p:cNvPr>
            <p:cNvSpPr txBox="1"/>
            <p:nvPr/>
          </p:nvSpPr>
          <p:spPr>
            <a:xfrm>
              <a:off x="6963640" y="1819779"/>
              <a:ext cx="468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b="1" dirty="0"/>
                <a:t>63</a:t>
              </a:r>
            </a:p>
          </p:txBody>
        </p:sp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92" name="Chart 91">
                  <a:extLst>
                    <a:ext uri="{FF2B5EF4-FFF2-40B4-BE49-F238E27FC236}">
                      <a16:creationId xmlns:a16="http://schemas.microsoft.com/office/drawing/2014/main" id="{46B7B6BB-C091-4D5F-A5EB-9E7E4B8D3423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116959510"/>
                    </p:ext>
                  </p:extLst>
                </p:nvPr>
              </p:nvGraphicFramePr>
              <p:xfrm>
                <a:off x="7927767" y="1364751"/>
                <a:ext cx="1104380" cy="1303109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12"/>
                </a:graphicData>
              </a:graphic>
            </p:graphicFrame>
          </mc:Choice>
          <mc:Fallback xmlns="">
            <p:pic>
              <p:nvPicPr>
                <p:cNvPr id="92" name="Chart 91">
                  <a:extLst>
                    <a:ext uri="{FF2B5EF4-FFF2-40B4-BE49-F238E27FC236}">
                      <a16:creationId xmlns:a16="http://schemas.microsoft.com/office/drawing/2014/main" id="{46B7B6BB-C091-4D5F-A5EB-9E7E4B8D3423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7930213" y="1310321"/>
                  <a:ext cx="1104380" cy="1303109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3CBBB7AB-47FE-4A1B-A347-0720EBBC098C}"/>
                </a:ext>
              </a:extLst>
            </p:cNvPr>
            <p:cNvSpPr/>
            <p:nvPr/>
          </p:nvSpPr>
          <p:spPr>
            <a:xfrm>
              <a:off x="9333447" y="1025746"/>
              <a:ext cx="2663634" cy="1614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aphicFrame>
          <p:nvGraphicFramePr>
            <p:cNvPr id="95" name="Chart 94">
              <a:extLst>
                <a:ext uri="{FF2B5EF4-FFF2-40B4-BE49-F238E27FC236}">
                  <a16:creationId xmlns:a16="http://schemas.microsoft.com/office/drawing/2014/main" id="{2639E3A1-5984-41DE-B7FE-2419C3CA2EF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39437658"/>
                </p:ext>
              </p:extLst>
            </p:nvPr>
          </p:nvGraphicFramePr>
          <p:xfrm>
            <a:off x="9189999" y="1259298"/>
            <a:ext cx="1676536" cy="14902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4"/>
            </a:graphicData>
          </a:graphic>
        </p:graphicFrame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43C0973D-96F0-44C7-A823-8A6FCF114EF4}"/>
                </a:ext>
              </a:extLst>
            </p:cNvPr>
            <p:cNvCxnSpPr>
              <a:cxnSpLocks/>
            </p:cNvCxnSpPr>
            <p:nvPr/>
          </p:nvCxnSpPr>
          <p:spPr>
            <a:xfrm>
              <a:off x="9382947" y="1348112"/>
              <a:ext cx="25445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7C6E4EEC-BF4F-4A34-80A4-40C743F12D86}"/>
                </a:ext>
              </a:extLst>
            </p:cNvPr>
            <p:cNvSpPr txBox="1"/>
            <p:nvPr/>
          </p:nvSpPr>
          <p:spPr>
            <a:xfrm>
              <a:off x="9333447" y="1043415"/>
              <a:ext cx="26636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sz="1200" b="1" dirty="0"/>
                <a:t>System Readiness for CHWs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6B0496D4-1A69-463B-9F92-BC3821C9F309}"/>
                </a:ext>
              </a:extLst>
            </p:cNvPr>
            <p:cNvSpPr txBox="1"/>
            <p:nvPr/>
          </p:nvSpPr>
          <p:spPr>
            <a:xfrm>
              <a:off x="9794267" y="1819779"/>
              <a:ext cx="468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b="1" dirty="0"/>
                <a:t>60</a:t>
              </a:r>
            </a:p>
          </p:txBody>
        </p:sp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99" name="Chart 98">
                  <a:extLst>
                    <a:ext uri="{FF2B5EF4-FFF2-40B4-BE49-F238E27FC236}">
                      <a16:creationId xmlns:a16="http://schemas.microsoft.com/office/drawing/2014/main" id="{1DF95839-4C24-4A12-8F6E-B4269A768EE9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463437821"/>
                    </p:ext>
                  </p:extLst>
                </p:nvPr>
              </p:nvGraphicFramePr>
              <p:xfrm>
                <a:off x="10758394" y="1364751"/>
                <a:ext cx="1104380" cy="1303109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15"/>
                </a:graphicData>
              </a:graphic>
            </p:graphicFrame>
          </mc:Choice>
          <mc:Fallback xmlns="">
            <p:pic>
              <p:nvPicPr>
                <p:cNvPr id="99" name="Chart 98">
                  <a:extLst>
                    <a:ext uri="{FF2B5EF4-FFF2-40B4-BE49-F238E27FC236}">
                      <a16:creationId xmlns:a16="http://schemas.microsoft.com/office/drawing/2014/main" id="{1DF95839-4C24-4A12-8F6E-B4269A768EE9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10760840" y="1310321"/>
                  <a:ext cx="1104380" cy="1303109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B7306060-40BF-4600-88CD-AA02AF32EF81}"/>
              </a:ext>
            </a:extLst>
          </p:cNvPr>
          <p:cNvGrpSpPr/>
          <p:nvPr/>
        </p:nvGrpSpPr>
        <p:grpSpPr>
          <a:xfrm>
            <a:off x="700564" y="2932724"/>
            <a:ext cx="11298963" cy="1723846"/>
            <a:chOff x="703010" y="3000867"/>
            <a:chExt cx="11298963" cy="1723846"/>
          </a:xfrm>
        </p:grpSpPr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03548322-74D0-4BDE-B5E9-C160CFAC5926}"/>
                </a:ext>
              </a:extLst>
            </p:cNvPr>
            <p:cNvSpPr/>
            <p:nvPr/>
          </p:nvSpPr>
          <p:spPr>
            <a:xfrm>
              <a:off x="846458" y="3000867"/>
              <a:ext cx="2663634" cy="1614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aphicFrame>
          <p:nvGraphicFramePr>
            <p:cNvPr id="101" name="Chart 100">
              <a:extLst>
                <a:ext uri="{FF2B5EF4-FFF2-40B4-BE49-F238E27FC236}">
                  <a16:creationId xmlns:a16="http://schemas.microsoft.com/office/drawing/2014/main" id="{7A29E2DD-8107-41F5-B81A-B4436038CF0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640685862"/>
                </p:ext>
              </p:extLst>
            </p:nvPr>
          </p:nvGraphicFramePr>
          <p:xfrm>
            <a:off x="703010" y="3234419"/>
            <a:ext cx="1676536" cy="14902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7"/>
            </a:graphicData>
          </a:graphic>
        </p:graphicFrame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A93B402-192D-491D-9586-FBC667119ADB}"/>
                </a:ext>
              </a:extLst>
            </p:cNvPr>
            <p:cNvCxnSpPr>
              <a:cxnSpLocks/>
            </p:cNvCxnSpPr>
            <p:nvPr/>
          </p:nvCxnSpPr>
          <p:spPr>
            <a:xfrm>
              <a:off x="895958" y="3323233"/>
              <a:ext cx="25445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71F12B92-1A40-4200-B4C1-4DB6F785D4BC}"/>
                </a:ext>
              </a:extLst>
            </p:cNvPr>
            <p:cNvSpPr txBox="1"/>
            <p:nvPr/>
          </p:nvSpPr>
          <p:spPr>
            <a:xfrm>
              <a:off x="846458" y="3018536"/>
              <a:ext cx="26636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sz="1200" b="1" dirty="0"/>
                <a:t>Facility Composite Score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2314C996-C6F1-433B-9BDD-90D1FC7D57AF}"/>
                </a:ext>
              </a:extLst>
            </p:cNvPr>
            <p:cNvSpPr txBox="1"/>
            <p:nvPr/>
          </p:nvSpPr>
          <p:spPr>
            <a:xfrm>
              <a:off x="1307278" y="3794900"/>
              <a:ext cx="468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b="1" dirty="0"/>
                <a:t>70</a:t>
              </a:r>
            </a:p>
          </p:txBody>
        </p:sp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105" name="Chart 104">
                  <a:extLst>
                    <a:ext uri="{FF2B5EF4-FFF2-40B4-BE49-F238E27FC236}">
                      <a16:creationId xmlns:a16="http://schemas.microsoft.com/office/drawing/2014/main" id="{5C67A7AF-986C-44C1-9DC4-429E2B1353A5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3839992975"/>
                    </p:ext>
                  </p:extLst>
                </p:nvPr>
              </p:nvGraphicFramePr>
              <p:xfrm>
                <a:off x="2271405" y="3339872"/>
                <a:ext cx="1104380" cy="1303109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18"/>
                </a:graphicData>
              </a:graphic>
            </p:graphicFrame>
          </mc:Choice>
          <mc:Fallback xmlns="">
            <p:pic>
              <p:nvPicPr>
                <p:cNvPr id="105" name="Chart 104">
                  <a:extLst>
                    <a:ext uri="{FF2B5EF4-FFF2-40B4-BE49-F238E27FC236}">
                      <a16:creationId xmlns:a16="http://schemas.microsoft.com/office/drawing/2014/main" id="{5C67A7AF-986C-44C1-9DC4-429E2B1353A5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2268959" y="3271729"/>
                  <a:ext cx="1104380" cy="1303109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CD184E5E-6E63-452E-8888-5B1CB6F8E567}"/>
                </a:ext>
              </a:extLst>
            </p:cNvPr>
            <p:cNvSpPr/>
            <p:nvPr/>
          </p:nvSpPr>
          <p:spPr>
            <a:xfrm>
              <a:off x="3677085" y="3000867"/>
              <a:ext cx="2663634" cy="1614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aphicFrame>
          <p:nvGraphicFramePr>
            <p:cNvPr id="107" name="Chart 106">
              <a:extLst>
                <a:ext uri="{FF2B5EF4-FFF2-40B4-BE49-F238E27FC236}">
                  <a16:creationId xmlns:a16="http://schemas.microsoft.com/office/drawing/2014/main" id="{FE32925A-E33D-43A0-AFD6-228858CCD8F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979940464"/>
                </p:ext>
              </p:extLst>
            </p:nvPr>
          </p:nvGraphicFramePr>
          <p:xfrm>
            <a:off x="3533637" y="3234419"/>
            <a:ext cx="1676536" cy="14902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0"/>
            </a:graphicData>
          </a:graphic>
        </p:graphicFrame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C35A280-9C0E-4323-8B36-4ADD2C4C18AB}"/>
                </a:ext>
              </a:extLst>
            </p:cNvPr>
            <p:cNvCxnSpPr>
              <a:cxnSpLocks/>
            </p:cNvCxnSpPr>
            <p:nvPr/>
          </p:nvCxnSpPr>
          <p:spPr>
            <a:xfrm>
              <a:off x="3726585" y="3323233"/>
              <a:ext cx="25445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C0D970A4-8843-44CB-AD30-FAF4AFF6454F}"/>
                </a:ext>
              </a:extLst>
            </p:cNvPr>
            <p:cNvSpPr txBox="1"/>
            <p:nvPr/>
          </p:nvSpPr>
          <p:spPr>
            <a:xfrm>
              <a:off x="3677085" y="3018536"/>
              <a:ext cx="26636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sz="1200" b="1" dirty="0"/>
                <a:t>CHW paid on time and in full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642BF039-DE0F-4917-A3EF-D90BD72D3E64}"/>
                </a:ext>
              </a:extLst>
            </p:cNvPr>
            <p:cNvSpPr txBox="1"/>
            <p:nvPr/>
          </p:nvSpPr>
          <p:spPr>
            <a:xfrm>
              <a:off x="4137905" y="3794900"/>
              <a:ext cx="468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b="1" dirty="0"/>
                <a:t>57</a:t>
              </a:r>
            </a:p>
          </p:txBody>
        </p:sp>
        <mc:AlternateContent xmlns:mc="http://schemas.openxmlformats.org/markup-compatibility/2006">
          <mc:Choice xmlns:cx1="http://schemas.microsoft.com/office/drawing/2015/9/8/chartex" Requires="cx1">
            <p:graphicFrame>
              <p:nvGraphicFramePr>
                <p:cNvPr id="112" name="Chart 111">
                  <a:extLst>
                    <a:ext uri="{FF2B5EF4-FFF2-40B4-BE49-F238E27FC236}">
                      <a16:creationId xmlns:a16="http://schemas.microsoft.com/office/drawing/2014/main" id="{5CE9C20E-31A9-46B6-9103-AF9894654387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3477264180"/>
                    </p:ext>
                  </p:extLst>
                </p:nvPr>
              </p:nvGraphicFramePr>
              <p:xfrm>
                <a:off x="5102032" y="3339872"/>
                <a:ext cx="1104380" cy="1303109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21"/>
                </a:graphicData>
              </a:graphic>
            </p:graphicFrame>
          </mc:Choice>
          <mc:Fallback>
            <p:pic>
              <p:nvPicPr>
                <p:cNvPr id="112" name="Chart 111">
                  <a:extLst>
                    <a:ext uri="{FF2B5EF4-FFF2-40B4-BE49-F238E27FC236}">
                      <a16:creationId xmlns:a16="http://schemas.microsoft.com/office/drawing/2014/main" id="{5CE9C20E-31A9-46B6-9103-AF9894654387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5099586" y="3271729"/>
                  <a:ext cx="1104380" cy="1303109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7F2FD1C2-A455-4ADE-9D9E-3AFEBFB52265}"/>
                </a:ext>
              </a:extLst>
            </p:cNvPr>
            <p:cNvSpPr/>
            <p:nvPr/>
          </p:nvSpPr>
          <p:spPr>
            <a:xfrm>
              <a:off x="6507712" y="3000867"/>
              <a:ext cx="2663634" cy="1614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aphicFrame>
          <p:nvGraphicFramePr>
            <p:cNvPr id="115" name="Chart 114">
              <a:extLst>
                <a:ext uri="{FF2B5EF4-FFF2-40B4-BE49-F238E27FC236}">
                  <a16:creationId xmlns:a16="http://schemas.microsoft.com/office/drawing/2014/main" id="{5D058A10-C084-40E6-B4F5-7EBF4816DCD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41530647"/>
                </p:ext>
              </p:extLst>
            </p:nvPr>
          </p:nvGraphicFramePr>
          <p:xfrm>
            <a:off x="6364264" y="3234419"/>
            <a:ext cx="1676536" cy="14902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3"/>
            </a:graphicData>
          </a:graphic>
        </p:graphicFrame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A994D0DD-AA2B-4291-BDB7-2AA20001A97A}"/>
                </a:ext>
              </a:extLst>
            </p:cNvPr>
            <p:cNvCxnSpPr>
              <a:cxnSpLocks/>
            </p:cNvCxnSpPr>
            <p:nvPr/>
          </p:nvCxnSpPr>
          <p:spPr>
            <a:xfrm>
              <a:off x="6557212" y="3323233"/>
              <a:ext cx="25445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4C63DAB6-9A76-4AD0-93AC-DDD913B26AB9}"/>
                </a:ext>
              </a:extLst>
            </p:cNvPr>
            <p:cNvSpPr txBox="1"/>
            <p:nvPr/>
          </p:nvSpPr>
          <p:spPr>
            <a:xfrm>
              <a:off x="6507712" y="3018536"/>
              <a:ext cx="26636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sz="1200" b="1" dirty="0"/>
                <a:t>Community Led Monitoring 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02E28D34-761B-4B56-94E0-7B51B3F28325}"/>
                </a:ext>
              </a:extLst>
            </p:cNvPr>
            <p:cNvSpPr txBox="1"/>
            <p:nvPr/>
          </p:nvSpPr>
          <p:spPr>
            <a:xfrm>
              <a:off x="6968532" y="3794900"/>
              <a:ext cx="468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b="1" dirty="0"/>
                <a:t>79</a:t>
              </a:r>
            </a:p>
          </p:txBody>
        </p:sp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137" name="Chart 136">
                  <a:extLst>
                    <a:ext uri="{FF2B5EF4-FFF2-40B4-BE49-F238E27FC236}">
                      <a16:creationId xmlns:a16="http://schemas.microsoft.com/office/drawing/2014/main" id="{5B122856-D5F3-4532-B804-251BD2A17A78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719930428"/>
                    </p:ext>
                  </p:extLst>
                </p:nvPr>
              </p:nvGraphicFramePr>
              <p:xfrm>
                <a:off x="7932659" y="3339872"/>
                <a:ext cx="1104380" cy="1303109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24"/>
                </a:graphicData>
              </a:graphic>
            </p:graphicFrame>
          </mc:Choice>
          <mc:Fallback xmlns="">
            <p:pic>
              <p:nvPicPr>
                <p:cNvPr id="137" name="Chart 136">
                  <a:extLst>
                    <a:ext uri="{FF2B5EF4-FFF2-40B4-BE49-F238E27FC236}">
                      <a16:creationId xmlns:a16="http://schemas.microsoft.com/office/drawing/2014/main" id="{5B122856-D5F3-4532-B804-251BD2A17A78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7930213" y="3271729"/>
                  <a:ext cx="1104380" cy="1303109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9DCB145B-EC79-41FC-AB2A-A87E2C255AFF}"/>
                </a:ext>
              </a:extLst>
            </p:cNvPr>
            <p:cNvSpPr/>
            <p:nvPr/>
          </p:nvSpPr>
          <p:spPr>
            <a:xfrm>
              <a:off x="9338339" y="3000867"/>
              <a:ext cx="2663634" cy="1614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aphicFrame>
          <p:nvGraphicFramePr>
            <p:cNvPr id="139" name="Chart 138">
              <a:extLst>
                <a:ext uri="{FF2B5EF4-FFF2-40B4-BE49-F238E27FC236}">
                  <a16:creationId xmlns:a16="http://schemas.microsoft.com/office/drawing/2014/main" id="{99161D2F-5C2F-4D66-ADC7-366906F69ED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108367855"/>
                </p:ext>
              </p:extLst>
            </p:nvPr>
          </p:nvGraphicFramePr>
          <p:xfrm>
            <a:off x="9194891" y="3234419"/>
            <a:ext cx="1676536" cy="14902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6"/>
            </a:graphicData>
          </a:graphic>
        </p:graphicFrame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DCC0946A-1576-4A0F-B0CA-F3A98B120E0F}"/>
                </a:ext>
              </a:extLst>
            </p:cNvPr>
            <p:cNvCxnSpPr>
              <a:cxnSpLocks/>
            </p:cNvCxnSpPr>
            <p:nvPr/>
          </p:nvCxnSpPr>
          <p:spPr>
            <a:xfrm>
              <a:off x="9387839" y="3323233"/>
              <a:ext cx="25445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5D27822D-B3A0-416D-93B3-85E54C1E71B8}"/>
                </a:ext>
              </a:extLst>
            </p:cNvPr>
            <p:cNvSpPr txBox="1"/>
            <p:nvPr/>
          </p:nvSpPr>
          <p:spPr>
            <a:xfrm>
              <a:off x="9338339" y="3018536"/>
              <a:ext cx="26636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sz="1200" b="1" dirty="0"/>
                <a:t>Availability of Guidelines</a:t>
              </a: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6A6F09AD-794F-4B0D-85B9-EFC22F4A97FB}"/>
                </a:ext>
              </a:extLst>
            </p:cNvPr>
            <p:cNvSpPr txBox="1"/>
            <p:nvPr/>
          </p:nvSpPr>
          <p:spPr>
            <a:xfrm>
              <a:off x="9706563" y="3794900"/>
              <a:ext cx="65319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b="1" dirty="0"/>
                <a:t>100</a:t>
              </a:r>
            </a:p>
          </p:txBody>
        </p:sp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143" name="Chart 142">
                  <a:extLst>
                    <a:ext uri="{FF2B5EF4-FFF2-40B4-BE49-F238E27FC236}">
                      <a16:creationId xmlns:a16="http://schemas.microsoft.com/office/drawing/2014/main" id="{F54FF53A-6A72-4E2B-A19A-12D37A601C5E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016641767"/>
                    </p:ext>
                  </p:extLst>
                </p:nvPr>
              </p:nvGraphicFramePr>
              <p:xfrm>
                <a:off x="10763286" y="3339872"/>
                <a:ext cx="1104380" cy="1303109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27"/>
                </a:graphicData>
              </a:graphic>
            </p:graphicFrame>
          </mc:Choice>
          <mc:Fallback xmlns="">
            <p:pic>
              <p:nvPicPr>
                <p:cNvPr id="143" name="Chart 142">
                  <a:extLst>
                    <a:ext uri="{FF2B5EF4-FFF2-40B4-BE49-F238E27FC236}">
                      <a16:creationId xmlns:a16="http://schemas.microsoft.com/office/drawing/2014/main" id="{F54FF53A-6A72-4E2B-A19A-12D37A601C5E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10760840" y="3271729"/>
                  <a:ext cx="1104380" cy="1303109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7508B3C-1BD2-41AA-8B3C-8C921DE611B2}"/>
              </a:ext>
            </a:extLst>
          </p:cNvPr>
          <p:cNvGrpSpPr/>
          <p:nvPr/>
        </p:nvGrpSpPr>
        <p:grpSpPr>
          <a:xfrm>
            <a:off x="700564" y="4658999"/>
            <a:ext cx="8468336" cy="1723846"/>
            <a:chOff x="721664" y="4765681"/>
            <a:chExt cx="8468336" cy="1723846"/>
          </a:xfrm>
        </p:grpSpPr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5CE22FDE-5544-4C6A-9DAD-B437ADAF861F}"/>
                </a:ext>
              </a:extLst>
            </p:cNvPr>
            <p:cNvSpPr/>
            <p:nvPr/>
          </p:nvSpPr>
          <p:spPr>
            <a:xfrm>
              <a:off x="865112" y="4765681"/>
              <a:ext cx="2663634" cy="1614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aphicFrame>
          <p:nvGraphicFramePr>
            <p:cNvPr id="145" name="Chart 144">
              <a:extLst>
                <a:ext uri="{FF2B5EF4-FFF2-40B4-BE49-F238E27FC236}">
                  <a16:creationId xmlns:a16="http://schemas.microsoft.com/office/drawing/2014/main" id="{10699E75-899E-4D34-B45C-78B412C0DE4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304194371"/>
                </p:ext>
              </p:extLst>
            </p:nvPr>
          </p:nvGraphicFramePr>
          <p:xfrm>
            <a:off x="721664" y="4999233"/>
            <a:ext cx="1676536" cy="14902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9"/>
            </a:graphicData>
          </a:graphic>
        </p:graphicFrame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8F2895D2-5F3F-4C9E-909D-8C918F4687AF}"/>
                </a:ext>
              </a:extLst>
            </p:cNvPr>
            <p:cNvCxnSpPr>
              <a:cxnSpLocks/>
            </p:cNvCxnSpPr>
            <p:nvPr/>
          </p:nvCxnSpPr>
          <p:spPr>
            <a:xfrm>
              <a:off x="914612" y="5088047"/>
              <a:ext cx="25445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971C9063-0933-4004-877F-8E2587C2AE5F}"/>
                </a:ext>
              </a:extLst>
            </p:cNvPr>
            <p:cNvSpPr txBox="1"/>
            <p:nvPr/>
          </p:nvSpPr>
          <p:spPr>
            <a:xfrm>
              <a:off x="865112" y="4783350"/>
              <a:ext cx="26636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sz="1200" b="1" dirty="0"/>
                <a:t>Oxygen Therapy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35184935-7122-4C1A-8FB4-7719F545CFBB}"/>
                </a:ext>
              </a:extLst>
            </p:cNvPr>
            <p:cNvSpPr txBox="1"/>
            <p:nvPr/>
          </p:nvSpPr>
          <p:spPr>
            <a:xfrm>
              <a:off x="1325932" y="5559714"/>
              <a:ext cx="468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b="1" dirty="0"/>
                <a:t>97</a:t>
              </a:r>
            </a:p>
          </p:txBody>
        </p:sp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149" name="Chart 148">
                  <a:extLst>
                    <a:ext uri="{FF2B5EF4-FFF2-40B4-BE49-F238E27FC236}">
                      <a16:creationId xmlns:a16="http://schemas.microsoft.com/office/drawing/2014/main" id="{9485D3F6-2DBA-4DFE-B4A9-CE624AD20733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659533766"/>
                    </p:ext>
                  </p:extLst>
                </p:nvPr>
              </p:nvGraphicFramePr>
              <p:xfrm>
                <a:off x="2290059" y="5104686"/>
                <a:ext cx="1104380" cy="1303109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30"/>
                </a:graphicData>
              </a:graphic>
            </p:graphicFrame>
          </mc:Choice>
          <mc:Fallback xmlns="">
            <p:pic>
              <p:nvPicPr>
                <p:cNvPr id="149" name="Chart 148">
                  <a:extLst>
                    <a:ext uri="{FF2B5EF4-FFF2-40B4-BE49-F238E27FC236}">
                      <a16:creationId xmlns:a16="http://schemas.microsoft.com/office/drawing/2014/main" id="{9485D3F6-2DBA-4DFE-B4A9-CE624AD20733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3684272" y="4998004"/>
                  <a:ext cx="1104380" cy="1303109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E6085849-293F-46BB-B2F4-2D128583292D}"/>
                </a:ext>
              </a:extLst>
            </p:cNvPr>
            <p:cNvSpPr/>
            <p:nvPr/>
          </p:nvSpPr>
          <p:spPr>
            <a:xfrm>
              <a:off x="3695739" y="4765681"/>
              <a:ext cx="2663634" cy="1614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A096806B-275E-4991-AC08-5CE2ECC39DC1}"/>
                </a:ext>
              </a:extLst>
            </p:cNvPr>
            <p:cNvCxnSpPr>
              <a:cxnSpLocks/>
            </p:cNvCxnSpPr>
            <p:nvPr/>
          </p:nvCxnSpPr>
          <p:spPr>
            <a:xfrm>
              <a:off x="3745239" y="5088047"/>
              <a:ext cx="25445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258AE297-0F3E-40C1-A0AA-217C33CD6BD8}"/>
                </a:ext>
              </a:extLst>
            </p:cNvPr>
            <p:cNvSpPr txBox="1"/>
            <p:nvPr/>
          </p:nvSpPr>
          <p:spPr>
            <a:xfrm>
              <a:off x="3695739" y="4783350"/>
              <a:ext cx="26636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sz="1200" b="1" dirty="0"/>
                <a:t>Appropriate Testing</a:t>
              </a: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4071BEE2-8B2B-48FF-8C4B-97857D65D3E4}"/>
                </a:ext>
              </a:extLst>
            </p:cNvPr>
            <p:cNvSpPr txBox="1"/>
            <p:nvPr/>
          </p:nvSpPr>
          <p:spPr>
            <a:xfrm>
              <a:off x="4156559" y="5559714"/>
              <a:ext cx="468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b="1" dirty="0"/>
                <a:t>85</a:t>
              </a:r>
            </a:p>
          </p:txBody>
        </p: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CE35AA94-58A7-4B65-BA10-19765B542CF6}"/>
                </a:ext>
              </a:extLst>
            </p:cNvPr>
            <p:cNvSpPr/>
            <p:nvPr/>
          </p:nvSpPr>
          <p:spPr>
            <a:xfrm>
              <a:off x="6526366" y="4765681"/>
              <a:ext cx="2663634" cy="1614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aphicFrame>
          <p:nvGraphicFramePr>
            <p:cNvPr id="157" name="Chart 156">
              <a:extLst>
                <a:ext uri="{FF2B5EF4-FFF2-40B4-BE49-F238E27FC236}">
                  <a16:creationId xmlns:a16="http://schemas.microsoft.com/office/drawing/2014/main" id="{066454A8-8B9A-4BAC-8166-BD886D2702A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982364031"/>
                </p:ext>
              </p:extLst>
            </p:nvPr>
          </p:nvGraphicFramePr>
          <p:xfrm>
            <a:off x="6382918" y="4999233"/>
            <a:ext cx="1676536" cy="14902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2"/>
            </a:graphicData>
          </a:graphic>
        </p:graphicFrame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4BD2ED3A-BF4A-458D-A2EC-6930C365D46C}"/>
                </a:ext>
              </a:extLst>
            </p:cNvPr>
            <p:cNvCxnSpPr>
              <a:cxnSpLocks/>
            </p:cNvCxnSpPr>
            <p:nvPr/>
          </p:nvCxnSpPr>
          <p:spPr>
            <a:xfrm>
              <a:off x="6575866" y="5088047"/>
              <a:ext cx="25445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TextBox 158">
              <a:extLst>
                <a:ext uri="{FF2B5EF4-FFF2-40B4-BE49-F238E27FC236}">
                  <a16:creationId xmlns:a16="http://schemas.microsoft.com/office/drawing/2014/main" id="{65F67377-4B25-4DBA-A4EC-BB07456E38F3}"/>
                </a:ext>
              </a:extLst>
            </p:cNvPr>
            <p:cNvSpPr txBox="1"/>
            <p:nvPr/>
          </p:nvSpPr>
          <p:spPr>
            <a:xfrm>
              <a:off x="6526366" y="4783350"/>
              <a:ext cx="26636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sz="1200" b="1" dirty="0"/>
                <a:t>Staff Role Recruitment</a:t>
              </a: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AB850BCF-DACB-435A-84DE-40CD1DBF9408}"/>
                </a:ext>
              </a:extLst>
            </p:cNvPr>
            <p:cNvSpPr txBox="1"/>
            <p:nvPr/>
          </p:nvSpPr>
          <p:spPr>
            <a:xfrm>
              <a:off x="6987186" y="5559714"/>
              <a:ext cx="468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b="1" dirty="0"/>
                <a:t>70</a:t>
              </a:r>
            </a:p>
          </p:txBody>
        </p:sp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161" name="Chart 160">
                  <a:extLst>
                    <a:ext uri="{FF2B5EF4-FFF2-40B4-BE49-F238E27FC236}">
                      <a16:creationId xmlns:a16="http://schemas.microsoft.com/office/drawing/2014/main" id="{AB9CE0A8-3DB0-4583-BA9D-1056C3E1CEC6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091701962"/>
                    </p:ext>
                  </p:extLst>
                </p:nvPr>
              </p:nvGraphicFramePr>
              <p:xfrm>
                <a:off x="7951313" y="5104686"/>
                <a:ext cx="1104380" cy="1303109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33"/>
                </a:graphicData>
              </a:graphic>
            </p:graphicFrame>
          </mc:Choice>
          <mc:Fallback xmlns="">
            <p:pic>
              <p:nvPicPr>
                <p:cNvPr id="161" name="Chart 160">
                  <a:extLst>
                    <a:ext uri="{FF2B5EF4-FFF2-40B4-BE49-F238E27FC236}">
                      <a16:creationId xmlns:a16="http://schemas.microsoft.com/office/drawing/2014/main" id="{AB9CE0A8-3DB0-4583-BA9D-1056C3E1CEC6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9345526" y="4998004"/>
                  <a:ext cx="1104380" cy="1303109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169" name="TextBox 168">
            <a:extLst>
              <a:ext uri="{FF2B5EF4-FFF2-40B4-BE49-F238E27FC236}">
                <a16:creationId xmlns:a16="http://schemas.microsoft.com/office/drawing/2014/main" id="{2DA90D7A-3820-4FA3-96A3-4901F531E145}"/>
              </a:ext>
            </a:extLst>
          </p:cNvPr>
          <p:cNvSpPr txBox="1"/>
          <p:nvPr/>
        </p:nvSpPr>
        <p:spPr>
          <a:xfrm rot="16200000">
            <a:off x="-432736" y="1580525"/>
            <a:ext cx="1614417" cy="396000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sz="1400" b="1" dirty="0"/>
              <a:t>KPI Indicators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E5A00908-A6A5-45B8-8CBB-938A483589C2}"/>
              </a:ext>
            </a:extLst>
          </p:cNvPr>
          <p:cNvSpPr txBox="1"/>
          <p:nvPr/>
        </p:nvSpPr>
        <p:spPr>
          <a:xfrm rot="16200000">
            <a:off x="-1295613" y="4404809"/>
            <a:ext cx="3340170" cy="396000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sz="1400" b="1" dirty="0"/>
              <a:t>Non- KPI Indicators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3D62C117-5AC1-4C81-A914-A9A72E0DF50E}"/>
              </a:ext>
            </a:extLst>
          </p:cNvPr>
          <p:cNvSpPr/>
          <p:nvPr/>
        </p:nvSpPr>
        <p:spPr>
          <a:xfrm>
            <a:off x="9262370" y="4675019"/>
            <a:ext cx="2681235" cy="161441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4000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chemeClr val="tx1"/>
                </a:solidFill>
              </a:rPr>
              <a:t>High facility averages for guidelines, supportive supervision, availability of O2 and community led monitoring</a:t>
            </a:r>
          </a:p>
          <a:p>
            <a:pPr marL="144000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chemeClr val="tx1"/>
                </a:solidFill>
              </a:rPr>
              <a:t>Average means for xx, </a:t>
            </a:r>
            <a:r>
              <a:rPr lang="en-GB" sz="1100" dirty="0" err="1">
                <a:solidFill>
                  <a:schemeClr val="tx1"/>
                </a:solidFill>
              </a:rPr>
              <a:t>yy</a:t>
            </a:r>
            <a:r>
              <a:rPr lang="en-GB" sz="1100" dirty="0">
                <a:solidFill>
                  <a:schemeClr val="tx1"/>
                </a:solidFill>
              </a:rPr>
              <a:t>, </a:t>
            </a:r>
            <a:r>
              <a:rPr lang="en-GB" sz="1100" dirty="0" err="1">
                <a:solidFill>
                  <a:schemeClr val="tx1"/>
                </a:solidFill>
              </a:rPr>
              <a:t>zzz</a:t>
            </a:r>
            <a:r>
              <a:rPr lang="en-GB" sz="1100" dirty="0">
                <a:solidFill>
                  <a:schemeClr val="tx1"/>
                </a:solidFill>
              </a:rPr>
              <a:t> however these had a wide spread with highs of 90 an lows of 20 and below observed</a:t>
            </a:r>
          </a:p>
        </p:txBody>
      </p:sp>
    </p:spTree>
    <p:extLst>
      <p:ext uri="{BB962C8B-B14F-4D97-AF65-F5344CB8AC3E}">
        <p14:creationId xmlns:p14="http://schemas.microsoft.com/office/powerpoint/2010/main" val="32891361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tangle 149">
            <a:extLst>
              <a:ext uri="{FF2B5EF4-FFF2-40B4-BE49-F238E27FC236}">
                <a16:creationId xmlns:a16="http://schemas.microsoft.com/office/drawing/2014/main" id="{E6085849-293F-46BB-B2F4-2D128583292D}"/>
              </a:ext>
            </a:extLst>
          </p:cNvPr>
          <p:cNvSpPr/>
          <p:nvPr/>
        </p:nvSpPr>
        <p:spPr>
          <a:xfrm>
            <a:off x="141514" y="867468"/>
            <a:ext cx="6422572" cy="550848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DBB1E5-13EB-489B-80F3-302D5B85F2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DBB1E5-13EB-489B-80F3-302D5B85F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7A865A13-5BB7-4029-A6E4-951B1772A0E9}"/>
              </a:ext>
            </a:extLst>
          </p:cNvPr>
          <p:cNvGrpSpPr/>
          <p:nvPr/>
        </p:nvGrpSpPr>
        <p:grpSpPr>
          <a:xfrm>
            <a:off x="1524000" y="223118"/>
            <a:ext cx="9144000" cy="369332"/>
            <a:chOff x="0" y="295544"/>
            <a:chExt cx="9144000" cy="369332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D19B5CF-C4AB-449A-AAA0-CDF79580278E}"/>
                </a:ext>
              </a:extLst>
            </p:cNvPr>
            <p:cNvSpPr/>
            <p:nvPr/>
          </p:nvSpPr>
          <p:spPr>
            <a:xfrm>
              <a:off x="734382" y="295544"/>
              <a:ext cx="767523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Supply Chain and Health Services Dashboard</a:t>
              </a: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9D479C72-27FC-4179-A756-DEF29BE4A257}"/>
                </a:ext>
              </a:extLst>
            </p:cNvPr>
            <p:cNvGrpSpPr/>
            <p:nvPr/>
          </p:nvGrpSpPr>
          <p:grpSpPr>
            <a:xfrm>
              <a:off x="0" y="343694"/>
              <a:ext cx="9144000" cy="273032"/>
              <a:chOff x="0" y="598473"/>
              <a:chExt cx="9144000" cy="273032"/>
            </a:xfrm>
          </p:grpSpPr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5D87E020-AE36-4269-A5F8-04F31AC1F8F6}"/>
                  </a:ext>
                </a:extLst>
              </p:cNvPr>
              <p:cNvGrpSpPr/>
              <p:nvPr/>
            </p:nvGrpSpPr>
            <p:grpSpPr>
              <a:xfrm flipH="1">
                <a:off x="8162094" y="598473"/>
                <a:ext cx="981906" cy="273032"/>
                <a:chOff x="93860" y="5978044"/>
                <a:chExt cx="2333623" cy="273032"/>
              </a:xfrm>
            </p:grpSpPr>
            <p:grpSp>
              <p:nvGrpSpPr>
                <p:cNvPr id="67" name="Group 66">
                  <a:extLst>
                    <a:ext uri="{FF2B5EF4-FFF2-40B4-BE49-F238E27FC236}">
                      <a16:creationId xmlns:a16="http://schemas.microsoft.com/office/drawing/2014/main" id="{6B1C332F-361F-401A-9380-CE19000B15F2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5066535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6" name="Straight Connector 75">
                    <a:extLst>
                      <a:ext uri="{FF2B5EF4-FFF2-40B4-BE49-F238E27FC236}">
                        <a16:creationId xmlns:a16="http://schemas.microsoft.com/office/drawing/2014/main" id="{90E99884-A6B5-4898-9B41-18A4761EEB5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76">
                    <a:extLst>
                      <a:ext uri="{FF2B5EF4-FFF2-40B4-BE49-F238E27FC236}">
                        <a16:creationId xmlns:a16="http://schemas.microsoft.com/office/drawing/2014/main" id="{9D3C933C-F219-433B-AF84-E596AFD132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0844E72B-7E9A-4AB0-B9EF-1DFE52224E8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8" name="Group 67">
                  <a:extLst>
                    <a:ext uri="{FF2B5EF4-FFF2-40B4-BE49-F238E27FC236}">
                      <a16:creationId xmlns:a16="http://schemas.microsoft.com/office/drawing/2014/main" id="{FFBC62DC-F408-410C-81CC-A699D7D41FF8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947748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D9200B24-11E2-484A-BEC5-67A07FAE136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69AB7456-5AC9-484F-9EFA-F29987F2F4D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4E98E84A-3CB6-45CC-B164-2472BAC44D7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BE250DBE-D57A-4A82-A464-15018036E69B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828961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2FBD811D-518F-4C62-BB65-003F8785BC8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32539E9B-A35F-415E-93D9-5CD1777A345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CE643024-BBA7-420D-B97B-570F90F37A1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0EF7E3C9-3056-4226-98BA-E23233FC25BB}"/>
                  </a:ext>
                </a:extLst>
              </p:cNvPr>
              <p:cNvGrpSpPr/>
              <p:nvPr/>
            </p:nvGrpSpPr>
            <p:grpSpPr>
              <a:xfrm>
                <a:off x="0" y="598473"/>
                <a:ext cx="981906" cy="273032"/>
                <a:chOff x="93860" y="5978044"/>
                <a:chExt cx="2333623" cy="273032"/>
              </a:xfrm>
            </p:grpSpPr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C7661A02-2EAD-42A7-BBDB-96FD2702C2BF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5066535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64" name="Straight Connector 63">
                    <a:extLst>
                      <a:ext uri="{FF2B5EF4-FFF2-40B4-BE49-F238E27FC236}">
                        <a16:creationId xmlns:a16="http://schemas.microsoft.com/office/drawing/2014/main" id="{FC279BEA-33EC-40F5-9526-AC46FA56EDB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5" name="Straight Connector 64">
                    <a:extLst>
                      <a:ext uri="{FF2B5EF4-FFF2-40B4-BE49-F238E27FC236}">
                        <a16:creationId xmlns:a16="http://schemas.microsoft.com/office/drawing/2014/main" id="{AD18F3F2-7FD7-40CB-9298-F85C6EAF3D1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6" name="Straight Connector 65">
                    <a:extLst>
                      <a:ext uri="{FF2B5EF4-FFF2-40B4-BE49-F238E27FC236}">
                        <a16:creationId xmlns:a16="http://schemas.microsoft.com/office/drawing/2014/main" id="{DBC79D75-8C03-4252-B01E-F27CE7E99D0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6" name="Group 55">
                  <a:extLst>
                    <a:ext uri="{FF2B5EF4-FFF2-40B4-BE49-F238E27FC236}">
                      <a16:creationId xmlns:a16="http://schemas.microsoft.com/office/drawing/2014/main" id="{9AB5B898-DF29-4A9D-B0E0-94E99BAE5EA8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947748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61" name="Straight Connector 60">
                    <a:extLst>
                      <a:ext uri="{FF2B5EF4-FFF2-40B4-BE49-F238E27FC236}">
                        <a16:creationId xmlns:a16="http://schemas.microsoft.com/office/drawing/2014/main" id="{6D7F8370-1932-495A-A1E8-C88818D7906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2" name="Straight Connector 61">
                    <a:extLst>
                      <a:ext uri="{FF2B5EF4-FFF2-40B4-BE49-F238E27FC236}">
                        <a16:creationId xmlns:a16="http://schemas.microsoft.com/office/drawing/2014/main" id="{D6181864-41BF-481F-AC7C-B0B53C91110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3" name="Straight Connector 62">
                    <a:extLst>
                      <a:ext uri="{FF2B5EF4-FFF2-40B4-BE49-F238E27FC236}">
                        <a16:creationId xmlns:a16="http://schemas.microsoft.com/office/drawing/2014/main" id="{CBC6C444-4AD5-44A5-8EFB-56AEFE1A7B9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D14A3A93-0FD2-4AE1-8D2C-2E6CEBFAA211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828961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58" name="Straight Connector 57">
                    <a:extLst>
                      <a:ext uri="{FF2B5EF4-FFF2-40B4-BE49-F238E27FC236}">
                        <a16:creationId xmlns:a16="http://schemas.microsoft.com/office/drawing/2014/main" id="{B1827FBB-43DC-4C60-B15A-5AA8A9C6964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9" name="Straight Connector 58">
                    <a:extLst>
                      <a:ext uri="{FF2B5EF4-FFF2-40B4-BE49-F238E27FC236}">
                        <a16:creationId xmlns:a16="http://schemas.microsoft.com/office/drawing/2014/main" id="{2EA42D94-5CB4-4033-BBAA-A2875330E06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0" name="Straight Connector 59">
                    <a:extLst>
                      <a:ext uri="{FF2B5EF4-FFF2-40B4-BE49-F238E27FC236}">
                        <a16:creationId xmlns:a16="http://schemas.microsoft.com/office/drawing/2014/main" id="{EAF37FF8-55F6-4182-B1C1-C32E4091781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</p:grpSp>
      <p:sp>
        <p:nvSpPr>
          <p:cNvPr id="79" name="Title 7">
            <a:extLst>
              <a:ext uri="{FF2B5EF4-FFF2-40B4-BE49-F238E27FC236}">
                <a16:creationId xmlns:a16="http://schemas.microsoft.com/office/drawing/2014/main" id="{A1676573-A720-4D61-8D96-36566EDD4721}"/>
              </a:ext>
            </a:extLst>
          </p:cNvPr>
          <p:cNvSpPr txBox="1">
            <a:spLocks/>
          </p:cNvSpPr>
          <p:nvPr/>
        </p:nvSpPr>
        <p:spPr>
          <a:xfrm>
            <a:off x="1" y="-3752"/>
            <a:ext cx="12181236" cy="80262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prstClr val="white"/>
                </a:solidFill>
                <a:latin typeface="Arial Black"/>
              </a:rPr>
              <a:t>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Country level scores for the 11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tHFA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 indicators (Model 3)</a:t>
            </a:r>
          </a:p>
        </p:txBody>
      </p: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A096806B-275E-4991-AC08-5CE2ECC39DC1}"/>
              </a:ext>
            </a:extLst>
          </p:cNvPr>
          <p:cNvCxnSpPr>
            <a:cxnSpLocks/>
          </p:cNvCxnSpPr>
          <p:nvPr/>
        </p:nvCxnSpPr>
        <p:spPr>
          <a:xfrm>
            <a:off x="248396" y="1191943"/>
            <a:ext cx="611342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TextBox 152">
            <a:extLst>
              <a:ext uri="{FF2B5EF4-FFF2-40B4-BE49-F238E27FC236}">
                <a16:creationId xmlns:a16="http://schemas.microsoft.com/office/drawing/2014/main" id="{258AE297-0F3E-40C1-A0AA-217C33CD6BD8}"/>
              </a:ext>
            </a:extLst>
          </p:cNvPr>
          <p:cNvSpPr txBox="1"/>
          <p:nvPr/>
        </p:nvSpPr>
        <p:spPr>
          <a:xfrm>
            <a:off x="248396" y="887247"/>
            <a:ext cx="61134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1200" b="1" dirty="0"/>
              <a:t>Scores of the 11 </a:t>
            </a:r>
            <a:r>
              <a:rPr lang="en-GB" sz="1200" b="1" dirty="0" err="1"/>
              <a:t>tHFA</a:t>
            </a:r>
            <a:r>
              <a:rPr lang="en-GB" sz="1200" b="1" dirty="0"/>
              <a:t> indicators</a:t>
            </a:r>
          </a:p>
        </p:txBody>
      </p:sp>
      <p:graphicFrame>
        <p:nvGraphicFramePr>
          <p:cNvPr id="157" name="Chart 156">
            <a:extLst>
              <a:ext uri="{FF2B5EF4-FFF2-40B4-BE49-F238E27FC236}">
                <a16:creationId xmlns:a16="http://schemas.microsoft.com/office/drawing/2014/main" id="{066454A8-8B9A-4BAC-8166-BD886D2702A0}"/>
              </a:ext>
            </a:extLst>
          </p:cNvPr>
          <p:cNvGraphicFramePr/>
          <p:nvPr/>
        </p:nvGraphicFramePr>
        <p:xfrm>
          <a:off x="6361818" y="4892551"/>
          <a:ext cx="1676536" cy="14902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161" name="Chart 160">
                <a:extLst>
                  <a:ext uri="{FF2B5EF4-FFF2-40B4-BE49-F238E27FC236}">
                    <a16:creationId xmlns:a16="http://schemas.microsoft.com/office/drawing/2014/main" id="{AB9CE0A8-3DB0-4583-BA9D-1056C3E1CEC6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875839486"/>
                  </p:ext>
                </p:extLst>
              </p:nvPr>
            </p:nvGraphicFramePr>
            <p:xfrm>
              <a:off x="5597160" y="1263274"/>
              <a:ext cx="889965" cy="4925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>
          <p:pic>
            <p:nvPicPr>
              <p:cNvPr id="161" name="Chart 160">
                <a:extLst>
                  <a:ext uri="{FF2B5EF4-FFF2-40B4-BE49-F238E27FC236}">
                    <a16:creationId xmlns:a16="http://schemas.microsoft.com/office/drawing/2014/main" id="{AB9CE0A8-3DB0-4583-BA9D-1056C3E1CEC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597160" y="1263274"/>
                <a:ext cx="889965" cy="492551"/>
              </a:xfrm>
              <a:prstGeom prst="rect">
                <a:avLst/>
              </a:prstGeom>
            </p:spPr>
          </p:pic>
        </mc:Fallback>
      </mc:AlternateContent>
      <p:sp>
        <p:nvSpPr>
          <p:cNvPr id="121" name="Rectangle 120">
            <a:extLst>
              <a:ext uri="{FF2B5EF4-FFF2-40B4-BE49-F238E27FC236}">
                <a16:creationId xmlns:a16="http://schemas.microsoft.com/office/drawing/2014/main" id="{3D62C117-5AC1-4C81-A914-A9A72E0DF50E}"/>
              </a:ext>
            </a:extLst>
          </p:cNvPr>
          <p:cNvSpPr/>
          <p:nvPr/>
        </p:nvSpPr>
        <p:spPr>
          <a:xfrm>
            <a:off x="6872686" y="1444158"/>
            <a:ext cx="4318291" cy="41545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4000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chemeClr val="tx1"/>
                </a:solidFill>
              </a:rPr>
              <a:t>High facility averages for guidelines, supportive supervision, availability of O2 and community led monitoring</a:t>
            </a:r>
          </a:p>
          <a:p>
            <a:pPr marL="144000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chemeClr val="tx1"/>
                </a:solidFill>
              </a:rPr>
              <a:t>Average means for xx, </a:t>
            </a:r>
            <a:r>
              <a:rPr lang="en-GB" sz="1100" dirty="0" err="1">
                <a:solidFill>
                  <a:schemeClr val="tx1"/>
                </a:solidFill>
              </a:rPr>
              <a:t>yy</a:t>
            </a:r>
            <a:r>
              <a:rPr lang="en-GB" sz="1100" dirty="0">
                <a:solidFill>
                  <a:schemeClr val="tx1"/>
                </a:solidFill>
              </a:rPr>
              <a:t>, </a:t>
            </a:r>
            <a:r>
              <a:rPr lang="en-GB" sz="1100" dirty="0" err="1">
                <a:solidFill>
                  <a:schemeClr val="tx1"/>
                </a:solidFill>
              </a:rPr>
              <a:t>zzz</a:t>
            </a:r>
            <a:r>
              <a:rPr lang="en-GB" sz="1100" dirty="0">
                <a:solidFill>
                  <a:schemeClr val="tx1"/>
                </a:solidFill>
              </a:rPr>
              <a:t> however these had a wide spread with highs of 90 an lows of 20 and below observed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15C4BCD-062B-4F01-94F9-B0623BC4D4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472882"/>
              </p:ext>
            </p:extLst>
          </p:nvPr>
        </p:nvGraphicFramePr>
        <p:xfrm>
          <a:off x="248396" y="1276104"/>
          <a:ext cx="5727861" cy="51918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86" name="Chart 85">
                <a:extLst>
                  <a:ext uri="{FF2B5EF4-FFF2-40B4-BE49-F238E27FC236}">
                    <a16:creationId xmlns:a16="http://schemas.microsoft.com/office/drawing/2014/main" id="{057D2EB0-C191-44E7-AEE1-9F9653FBFA0F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102439023"/>
                  </p:ext>
                </p:extLst>
              </p:nvPr>
            </p:nvGraphicFramePr>
            <p:xfrm>
              <a:off x="5597160" y="1707102"/>
              <a:ext cx="889965" cy="4925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9"/>
              </a:graphicData>
            </a:graphic>
          </p:graphicFrame>
        </mc:Choice>
        <mc:Fallback>
          <p:pic>
            <p:nvPicPr>
              <p:cNvPr id="86" name="Chart 85">
                <a:extLst>
                  <a:ext uri="{FF2B5EF4-FFF2-40B4-BE49-F238E27FC236}">
                    <a16:creationId xmlns:a16="http://schemas.microsoft.com/office/drawing/2014/main" id="{057D2EB0-C191-44E7-AEE1-9F9653FBFA0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597160" y="1707102"/>
                <a:ext cx="889965" cy="49255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87" name="Chart 86">
                <a:extLst>
                  <a:ext uri="{FF2B5EF4-FFF2-40B4-BE49-F238E27FC236}">
                    <a16:creationId xmlns:a16="http://schemas.microsoft.com/office/drawing/2014/main" id="{EAC46F85-3F27-499D-8C61-A3EBEE540D0C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051182180"/>
                  </p:ext>
                </p:extLst>
              </p:nvPr>
            </p:nvGraphicFramePr>
            <p:xfrm>
              <a:off x="5597160" y="2150930"/>
              <a:ext cx="889965" cy="4925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1"/>
              </a:graphicData>
            </a:graphic>
          </p:graphicFrame>
        </mc:Choice>
        <mc:Fallback>
          <p:pic>
            <p:nvPicPr>
              <p:cNvPr id="87" name="Chart 86">
                <a:extLst>
                  <a:ext uri="{FF2B5EF4-FFF2-40B4-BE49-F238E27FC236}">
                    <a16:creationId xmlns:a16="http://schemas.microsoft.com/office/drawing/2014/main" id="{EAC46F85-3F27-499D-8C61-A3EBEE540D0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597160" y="2150930"/>
                <a:ext cx="889965" cy="49255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88" name="Chart 87">
                <a:extLst>
                  <a:ext uri="{FF2B5EF4-FFF2-40B4-BE49-F238E27FC236}">
                    <a16:creationId xmlns:a16="http://schemas.microsoft.com/office/drawing/2014/main" id="{315D7EBB-39BC-4F52-AF0C-AFBE42D7010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829437086"/>
                  </p:ext>
                </p:extLst>
              </p:nvPr>
            </p:nvGraphicFramePr>
            <p:xfrm>
              <a:off x="5597160" y="2594758"/>
              <a:ext cx="889965" cy="4925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2"/>
              </a:graphicData>
            </a:graphic>
          </p:graphicFrame>
        </mc:Choice>
        <mc:Fallback>
          <p:pic>
            <p:nvPicPr>
              <p:cNvPr id="88" name="Chart 87">
                <a:extLst>
                  <a:ext uri="{FF2B5EF4-FFF2-40B4-BE49-F238E27FC236}">
                    <a16:creationId xmlns:a16="http://schemas.microsoft.com/office/drawing/2014/main" id="{315D7EBB-39BC-4F52-AF0C-AFBE42D7010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597160" y="2594758"/>
                <a:ext cx="889965" cy="49255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89" name="Chart 88">
                <a:extLst>
                  <a:ext uri="{FF2B5EF4-FFF2-40B4-BE49-F238E27FC236}">
                    <a16:creationId xmlns:a16="http://schemas.microsoft.com/office/drawing/2014/main" id="{81C7D848-9898-4607-8757-36A8F3E6DE1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142640818"/>
                  </p:ext>
                </p:extLst>
              </p:nvPr>
            </p:nvGraphicFramePr>
            <p:xfrm>
              <a:off x="5597160" y="3038586"/>
              <a:ext cx="889965" cy="4925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3"/>
              </a:graphicData>
            </a:graphic>
          </p:graphicFrame>
        </mc:Choice>
        <mc:Fallback>
          <p:pic>
            <p:nvPicPr>
              <p:cNvPr id="89" name="Chart 88">
                <a:extLst>
                  <a:ext uri="{FF2B5EF4-FFF2-40B4-BE49-F238E27FC236}">
                    <a16:creationId xmlns:a16="http://schemas.microsoft.com/office/drawing/2014/main" id="{81C7D848-9898-4607-8757-36A8F3E6DE1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597160" y="3038586"/>
                <a:ext cx="889965" cy="49255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90" name="Chart 89">
                <a:extLst>
                  <a:ext uri="{FF2B5EF4-FFF2-40B4-BE49-F238E27FC236}">
                    <a16:creationId xmlns:a16="http://schemas.microsoft.com/office/drawing/2014/main" id="{6D927026-B447-4718-8E5A-0ED066808A0A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819794639"/>
                  </p:ext>
                </p:extLst>
              </p:nvPr>
            </p:nvGraphicFramePr>
            <p:xfrm>
              <a:off x="5597160" y="3482414"/>
              <a:ext cx="889965" cy="4925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4"/>
              </a:graphicData>
            </a:graphic>
          </p:graphicFrame>
        </mc:Choice>
        <mc:Fallback>
          <p:pic>
            <p:nvPicPr>
              <p:cNvPr id="90" name="Chart 89">
                <a:extLst>
                  <a:ext uri="{FF2B5EF4-FFF2-40B4-BE49-F238E27FC236}">
                    <a16:creationId xmlns:a16="http://schemas.microsoft.com/office/drawing/2014/main" id="{6D927026-B447-4718-8E5A-0ED066808A0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5597160" y="3482414"/>
                <a:ext cx="889965" cy="49255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91" name="Chart 90">
                <a:extLst>
                  <a:ext uri="{FF2B5EF4-FFF2-40B4-BE49-F238E27FC236}">
                    <a16:creationId xmlns:a16="http://schemas.microsoft.com/office/drawing/2014/main" id="{B18B9A7C-EF39-46FE-BAC9-C8EC09AA619C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550742379"/>
                  </p:ext>
                </p:extLst>
              </p:nvPr>
            </p:nvGraphicFramePr>
            <p:xfrm>
              <a:off x="5597160" y="3926242"/>
              <a:ext cx="889965" cy="4925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6"/>
              </a:graphicData>
            </a:graphic>
          </p:graphicFrame>
        </mc:Choice>
        <mc:Fallback>
          <p:pic>
            <p:nvPicPr>
              <p:cNvPr id="91" name="Chart 90">
                <a:extLst>
                  <a:ext uri="{FF2B5EF4-FFF2-40B4-BE49-F238E27FC236}">
                    <a16:creationId xmlns:a16="http://schemas.microsoft.com/office/drawing/2014/main" id="{B18B9A7C-EF39-46FE-BAC9-C8EC09AA619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597160" y="3926242"/>
                <a:ext cx="889965" cy="49255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92" name="Chart 91">
                <a:extLst>
                  <a:ext uri="{FF2B5EF4-FFF2-40B4-BE49-F238E27FC236}">
                    <a16:creationId xmlns:a16="http://schemas.microsoft.com/office/drawing/2014/main" id="{0CAEAEA8-A076-4841-952E-B12D23063AA7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215169355"/>
                  </p:ext>
                </p:extLst>
              </p:nvPr>
            </p:nvGraphicFramePr>
            <p:xfrm>
              <a:off x="5597160" y="4370070"/>
              <a:ext cx="889965" cy="4925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7"/>
              </a:graphicData>
            </a:graphic>
          </p:graphicFrame>
        </mc:Choice>
        <mc:Fallback>
          <p:pic>
            <p:nvPicPr>
              <p:cNvPr id="92" name="Chart 91">
                <a:extLst>
                  <a:ext uri="{FF2B5EF4-FFF2-40B4-BE49-F238E27FC236}">
                    <a16:creationId xmlns:a16="http://schemas.microsoft.com/office/drawing/2014/main" id="{0CAEAEA8-A076-4841-952E-B12D23063AA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597160" y="4370070"/>
                <a:ext cx="889965" cy="49255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93" name="Chart 92">
                <a:extLst>
                  <a:ext uri="{FF2B5EF4-FFF2-40B4-BE49-F238E27FC236}">
                    <a16:creationId xmlns:a16="http://schemas.microsoft.com/office/drawing/2014/main" id="{3DAA0280-5EB7-48B6-A328-4D9ADF821B5F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583773444"/>
                  </p:ext>
                </p:extLst>
              </p:nvPr>
            </p:nvGraphicFramePr>
            <p:xfrm>
              <a:off x="5597160" y="4813898"/>
              <a:ext cx="889965" cy="4925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8"/>
              </a:graphicData>
            </a:graphic>
          </p:graphicFrame>
        </mc:Choice>
        <mc:Fallback>
          <p:pic>
            <p:nvPicPr>
              <p:cNvPr id="93" name="Chart 92">
                <a:extLst>
                  <a:ext uri="{FF2B5EF4-FFF2-40B4-BE49-F238E27FC236}">
                    <a16:creationId xmlns:a16="http://schemas.microsoft.com/office/drawing/2014/main" id="{3DAA0280-5EB7-48B6-A328-4D9ADF821B5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597160" y="4813898"/>
                <a:ext cx="889965" cy="49255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94" name="Chart 93">
                <a:extLst>
                  <a:ext uri="{FF2B5EF4-FFF2-40B4-BE49-F238E27FC236}">
                    <a16:creationId xmlns:a16="http://schemas.microsoft.com/office/drawing/2014/main" id="{BE9BCA69-E82A-4B39-8C6E-B54B8EA88502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619137060"/>
                  </p:ext>
                </p:extLst>
              </p:nvPr>
            </p:nvGraphicFramePr>
            <p:xfrm>
              <a:off x="5597160" y="5257726"/>
              <a:ext cx="889965" cy="4925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9"/>
              </a:graphicData>
            </a:graphic>
          </p:graphicFrame>
        </mc:Choice>
        <mc:Fallback>
          <p:pic>
            <p:nvPicPr>
              <p:cNvPr id="94" name="Chart 93">
                <a:extLst>
                  <a:ext uri="{FF2B5EF4-FFF2-40B4-BE49-F238E27FC236}">
                    <a16:creationId xmlns:a16="http://schemas.microsoft.com/office/drawing/2014/main" id="{BE9BCA69-E82A-4B39-8C6E-B54B8EA8850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597160" y="5257726"/>
                <a:ext cx="889965" cy="49255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95" name="Chart 94">
                <a:extLst>
                  <a:ext uri="{FF2B5EF4-FFF2-40B4-BE49-F238E27FC236}">
                    <a16:creationId xmlns:a16="http://schemas.microsoft.com/office/drawing/2014/main" id="{DFB00D2C-BFAC-4406-A2DA-C641579E8CBE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257175436"/>
                  </p:ext>
                </p:extLst>
              </p:nvPr>
            </p:nvGraphicFramePr>
            <p:xfrm>
              <a:off x="5597160" y="5701554"/>
              <a:ext cx="889965" cy="4925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0"/>
              </a:graphicData>
            </a:graphic>
          </p:graphicFrame>
        </mc:Choice>
        <mc:Fallback>
          <p:pic>
            <p:nvPicPr>
              <p:cNvPr id="95" name="Chart 94">
                <a:extLst>
                  <a:ext uri="{FF2B5EF4-FFF2-40B4-BE49-F238E27FC236}">
                    <a16:creationId xmlns:a16="http://schemas.microsoft.com/office/drawing/2014/main" id="{DFB00D2C-BFAC-4406-A2DA-C641579E8CB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597160" y="5701554"/>
                <a:ext cx="889965" cy="492551"/>
              </a:xfrm>
              <a:prstGeom prst="rect">
                <a:avLst/>
              </a:prstGeom>
            </p:spPr>
          </p:pic>
        </mc:Fallback>
      </mc:AlternateContent>
      <p:sp>
        <p:nvSpPr>
          <p:cNvPr id="97" name="Rectangle 96">
            <a:extLst>
              <a:ext uri="{FF2B5EF4-FFF2-40B4-BE49-F238E27FC236}">
                <a16:creationId xmlns:a16="http://schemas.microsoft.com/office/drawing/2014/main" id="{CBAC70DC-C195-47FF-879B-FBF0A109A9B5}"/>
              </a:ext>
            </a:extLst>
          </p:cNvPr>
          <p:cNvSpPr/>
          <p:nvPr/>
        </p:nvSpPr>
        <p:spPr>
          <a:xfrm>
            <a:off x="8262259" y="858028"/>
            <a:ext cx="2667000" cy="8026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T- scores to be calculated as included in the callout box</a:t>
            </a:r>
          </a:p>
        </p:txBody>
      </p:sp>
    </p:spTree>
    <p:extLst>
      <p:ext uri="{BB962C8B-B14F-4D97-AF65-F5344CB8AC3E}">
        <p14:creationId xmlns:p14="http://schemas.microsoft.com/office/powerpoint/2010/main" val="13721652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DBB1E5-13EB-489B-80F3-302D5B85F2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DBB1E5-13EB-489B-80F3-302D5B85F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7" name="Chart 6">
                <a:extLst>
                  <a:ext uri="{FF2B5EF4-FFF2-40B4-BE49-F238E27FC236}">
                    <a16:creationId xmlns:a16="http://schemas.microsoft.com/office/drawing/2014/main" id="{F52CAC21-9570-40AD-873F-78843B50F1C0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885615874"/>
                  </p:ext>
                </p:extLst>
              </p:nvPr>
            </p:nvGraphicFramePr>
            <p:xfrm>
              <a:off x="718457" y="3668486"/>
              <a:ext cx="11212285" cy="261257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7" name="Chart 6">
                <a:extLst>
                  <a:ext uri="{FF2B5EF4-FFF2-40B4-BE49-F238E27FC236}">
                    <a16:creationId xmlns:a16="http://schemas.microsoft.com/office/drawing/2014/main" id="{F52CAC21-9570-40AD-873F-78843B50F1C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18457" y="3668486"/>
                <a:ext cx="11212285" cy="261257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" name="Chart 7">
                <a:extLst>
                  <a:ext uri="{FF2B5EF4-FFF2-40B4-BE49-F238E27FC236}">
                    <a16:creationId xmlns:a16="http://schemas.microsoft.com/office/drawing/2014/main" id="{0B6561DD-AFA0-4A42-8F07-3E1FEC1C8B19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987051695"/>
                  </p:ext>
                </p:extLst>
              </p:nvPr>
            </p:nvGraphicFramePr>
            <p:xfrm>
              <a:off x="718458" y="1027415"/>
              <a:ext cx="11448142" cy="271727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8"/>
              </a:graphicData>
            </a:graphic>
          </p:graphicFrame>
        </mc:Choice>
        <mc:Fallback xmlns="">
          <p:pic>
            <p:nvPicPr>
              <p:cNvPr id="8" name="Chart 7">
                <a:extLst>
                  <a:ext uri="{FF2B5EF4-FFF2-40B4-BE49-F238E27FC236}">
                    <a16:creationId xmlns:a16="http://schemas.microsoft.com/office/drawing/2014/main" id="{0B6561DD-AFA0-4A42-8F07-3E1FEC1C8B1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18458" y="1027415"/>
                <a:ext cx="11448142" cy="2717271"/>
              </a:xfrm>
              <a:prstGeom prst="rect">
                <a:avLst/>
              </a:prstGeom>
            </p:spPr>
          </p:pic>
        </mc:Fallback>
      </mc:AlternateContent>
      <p:sp>
        <p:nvSpPr>
          <p:cNvPr id="6" name="Title 7">
            <a:extLst>
              <a:ext uri="{FF2B5EF4-FFF2-40B4-BE49-F238E27FC236}">
                <a16:creationId xmlns:a16="http://schemas.microsoft.com/office/drawing/2014/main" id="{1780476F-FC4D-4D70-83A0-8086E86304EF}"/>
              </a:ext>
            </a:extLst>
          </p:cNvPr>
          <p:cNvSpPr txBox="1">
            <a:spLocks/>
          </p:cNvSpPr>
          <p:nvPr/>
        </p:nvSpPr>
        <p:spPr>
          <a:xfrm>
            <a:off x="1" y="-3752"/>
            <a:ext cx="12181236" cy="80262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prstClr val="white"/>
                </a:solidFill>
                <a:latin typeface="Arial Black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Distibrution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 of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tHFA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 indicators by facility typ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B6E4C80-45F1-425D-90D4-0E5A4E29814F}"/>
              </a:ext>
            </a:extLst>
          </p:cNvPr>
          <p:cNvSpPr/>
          <p:nvPr/>
        </p:nvSpPr>
        <p:spPr>
          <a:xfrm>
            <a:off x="9840686" y="1027415"/>
            <a:ext cx="1785257" cy="8026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To be replaced by simp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19E6E8-C2D3-4467-A712-F8F7C600FE26}"/>
              </a:ext>
            </a:extLst>
          </p:cNvPr>
          <p:cNvSpPr/>
          <p:nvPr/>
        </p:nvSpPr>
        <p:spPr>
          <a:xfrm>
            <a:off x="7032173" y="1031573"/>
            <a:ext cx="2667000" cy="8026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T- scores to be calculated as included in the callout box</a:t>
            </a:r>
          </a:p>
        </p:txBody>
      </p:sp>
    </p:spTree>
    <p:extLst>
      <p:ext uri="{BB962C8B-B14F-4D97-AF65-F5344CB8AC3E}">
        <p14:creationId xmlns:p14="http://schemas.microsoft.com/office/powerpoint/2010/main" val="33311752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tangle 84">
            <a:extLst>
              <a:ext uri="{FF2B5EF4-FFF2-40B4-BE49-F238E27FC236}">
                <a16:creationId xmlns:a16="http://schemas.microsoft.com/office/drawing/2014/main" id="{F9166D16-B5C2-4579-8585-314BAB1CB8CA}"/>
              </a:ext>
            </a:extLst>
          </p:cNvPr>
          <p:cNvSpPr/>
          <p:nvPr/>
        </p:nvSpPr>
        <p:spPr>
          <a:xfrm>
            <a:off x="4555237" y="1007653"/>
            <a:ext cx="7528011" cy="3807007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B90408-B2C2-44FF-A8F9-724864263CED}"/>
              </a:ext>
            </a:extLst>
          </p:cNvPr>
          <p:cNvSpPr/>
          <p:nvPr/>
        </p:nvSpPr>
        <p:spPr>
          <a:xfrm>
            <a:off x="160185" y="1007654"/>
            <a:ext cx="4251140" cy="530604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DBB1E5-13EB-489B-80F3-302D5B85F2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DBB1E5-13EB-489B-80F3-302D5B85F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7A865A13-5BB7-4029-A6E4-951B1772A0E9}"/>
              </a:ext>
            </a:extLst>
          </p:cNvPr>
          <p:cNvGrpSpPr/>
          <p:nvPr/>
        </p:nvGrpSpPr>
        <p:grpSpPr>
          <a:xfrm>
            <a:off x="1524000" y="223118"/>
            <a:ext cx="9144000" cy="369332"/>
            <a:chOff x="0" y="295544"/>
            <a:chExt cx="9144000" cy="369332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D19B5CF-C4AB-449A-AAA0-CDF79580278E}"/>
                </a:ext>
              </a:extLst>
            </p:cNvPr>
            <p:cNvSpPr/>
            <p:nvPr/>
          </p:nvSpPr>
          <p:spPr>
            <a:xfrm>
              <a:off x="734382" y="295544"/>
              <a:ext cx="767523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Supply Chain and Health Services Dashboard</a:t>
              </a: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9D479C72-27FC-4179-A756-DEF29BE4A257}"/>
                </a:ext>
              </a:extLst>
            </p:cNvPr>
            <p:cNvGrpSpPr/>
            <p:nvPr/>
          </p:nvGrpSpPr>
          <p:grpSpPr>
            <a:xfrm>
              <a:off x="0" y="343694"/>
              <a:ext cx="9144000" cy="273032"/>
              <a:chOff x="0" y="598473"/>
              <a:chExt cx="9144000" cy="273032"/>
            </a:xfrm>
          </p:grpSpPr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5D87E020-AE36-4269-A5F8-04F31AC1F8F6}"/>
                  </a:ext>
                </a:extLst>
              </p:cNvPr>
              <p:cNvGrpSpPr/>
              <p:nvPr/>
            </p:nvGrpSpPr>
            <p:grpSpPr>
              <a:xfrm flipH="1">
                <a:off x="8162094" y="598473"/>
                <a:ext cx="981906" cy="273032"/>
                <a:chOff x="93860" y="5978044"/>
                <a:chExt cx="2333623" cy="273032"/>
              </a:xfrm>
            </p:grpSpPr>
            <p:grpSp>
              <p:nvGrpSpPr>
                <p:cNvPr id="67" name="Group 66">
                  <a:extLst>
                    <a:ext uri="{FF2B5EF4-FFF2-40B4-BE49-F238E27FC236}">
                      <a16:creationId xmlns:a16="http://schemas.microsoft.com/office/drawing/2014/main" id="{6B1C332F-361F-401A-9380-CE19000B15F2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5066535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6" name="Straight Connector 75">
                    <a:extLst>
                      <a:ext uri="{FF2B5EF4-FFF2-40B4-BE49-F238E27FC236}">
                        <a16:creationId xmlns:a16="http://schemas.microsoft.com/office/drawing/2014/main" id="{90E99884-A6B5-4898-9B41-18A4761EEB5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76">
                    <a:extLst>
                      <a:ext uri="{FF2B5EF4-FFF2-40B4-BE49-F238E27FC236}">
                        <a16:creationId xmlns:a16="http://schemas.microsoft.com/office/drawing/2014/main" id="{9D3C933C-F219-433B-AF84-E596AFD132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0844E72B-7E9A-4AB0-B9EF-1DFE52224E8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8" name="Group 67">
                  <a:extLst>
                    <a:ext uri="{FF2B5EF4-FFF2-40B4-BE49-F238E27FC236}">
                      <a16:creationId xmlns:a16="http://schemas.microsoft.com/office/drawing/2014/main" id="{FFBC62DC-F408-410C-81CC-A699D7D41FF8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947748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D9200B24-11E2-484A-BEC5-67A07FAE136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69AB7456-5AC9-484F-9EFA-F29987F2F4D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4E98E84A-3CB6-45CC-B164-2472BAC44D7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BE250DBE-D57A-4A82-A464-15018036E69B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828961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2FBD811D-518F-4C62-BB65-003F8785BC8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32539E9B-A35F-415E-93D9-5CD1777A345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CE643024-BBA7-420D-B97B-570F90F37A1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0EF7E3C9-3056-4226-98BA-E23233FC25BB}"/>
                  </a:ext>
                </a:extLst>
              </p:cNvPr>
              <p:cNvGrpSpPr/>
              <p:nvPr/>
            </p:nvGrpSpPr>
            <p:grpSpPr>
              <a:xfrm>
                <a:off x="0" y="598473"/>
                <a:ext cx="981906" cy="273032"/>
                <a:chOff x="93860" y="5978044"/>
                <a:chExt cx="2333623" cy="273032"/>
              </a:xfrm>
            </p:grpSpPr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C7661A02-2EAD-42A7-BBDB-96FD2702C2BF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5066535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64" name="Straight Connector 63">
                    <a:extLst>
                      <a:ext uri="{FF2B5EF4-FFF2-40B4-BE49-F238E27FC236}">
                        <a16:creationId xmlns:a16="http://schemas.microsoft.com/office/drawing/2014/main" id="{FC279BEA-33EC-40F5-9526-AC46FA56EDB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5" name="Straight Connector 64">
                    <a:extLst>
                      <a:ext uri="{FF2B5EF4-FFF2-40B4-BE49-F238E27FC236}">
                        <a16:creationId xmlns:a16="http://schemas.microsoft.com/office/drawing/2014/main" id="{AD18F3F2-7FD7-40CB-9298-F85C6EAF3D1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6" name="Straight Connector 65">
                    <a:extLst>
                      <a:ext uri="{FF2B5EF4-FFF2-40B4-BE49-F238E27FC236}">
                        <a16:creationId xmlns:a16="http://schemas.microsoft.com/office/drawing/2014/main" id="{DBC79D75-8C03-4252-B01E-F27CE7E99D0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6" name="Group 55">
                  <a:extLst>
                    <a:ext uri="{FF2B5EF4-FFF2-40B4-BE49-F238E27FC236}">
                      <a16:creationId xmlns:a16="http://schemas.microsoft.com/office/drawing/2014/main" id="{9AB5B898-DF29-4A9D-B0E0-94E99BAE5EA8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947748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61" name="Straight Connector 60">
                    <a:extLst>
                      <a:ext uri="{FF2B5EF4-FFF2-40B4-BE49-F238E27FC236}">
                        <a16:creationId xmlns:a16="http://schemas.microsoft.com/office/drawing/2014/main" id="{6D7F8370-1932-495A-A1E8-C88818D7906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2" name="Straight Connector 61">
                    <a:extLst>
                      <a:ext uri="{FF2B5EF4-FFF2-40B4-BE49-F238E27FC236}">
                        <a16:creationId xmlns:a16="http://schemas.microsoft.com/office/drawing/2014/main" id="{D6181864-41BF-481F-AC7C-B0B53C91110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3" name="Straight Connector 62">
                    <a:extLst>
                      <a:ext uri="{FF2B5EF4-FFF2-40B4-BE49-F238E27FC236}">
                        <a16:creationId xmlns:a16="http://schemas.microsoft.com/office/drawing/2014/main" id="{CBC6C444-4AD5-44A5-8EFB-56AEFE1A7B9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D14A3A93-0FD2-4AE1-8D2C-2E6CEBFAA211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828961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58" name="Straight Connector 57">
                    <a:extLst>
                      <a:ext uri="{FF2B5EF4-FFF2-40B4-BE49-F238E27FC236}">
                        <a16:creationId xmlns:a16="http://schemas.microsoft.com/office/drawing/2014/main" id="{B1827FBB-43DC-4C60-B15A-5AA8A9C6964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9" name="Straight Connector 58">
                    <a:extLst>
                      <a:ext uri="{FF2B5EF4-FFF2-40B4-BE49-F238E27FC236}">
                        <a16:creationId xmlns:a16="http://schemas.microsoft.com/office/drawing/2014/main" id="{2EA42D94-5CB4-4033-BBAA-A2875330E06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0" name="Straight Connector 59">
                    <a:extLst>
                      <a:ext uri="{FF2B5EF4-FFF2-40B4-BE49-F238E27FC236}">
                        <a16:creationId xmlns:a16="http://schemas.microsoft.com/office/drawing/2014/main" id="{EAF37FF8-55F6-4182-B1C1-C32E4091781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</p:grpSp>
      <p:sp>
        <p:nvSpPr>
          <p:cNvPr id="79" name="Title 7">
            <a:extLst>
              <a:ext uri="{FF2B5EF4-FFF2-40B4-BE49-F238E27FC236}">
                <a16:creationId xmlns:a16="http://schemas.microsoft.com/office/drawing/2014/main" id="{A1676573-A720-4D61-8D96-36566EDD4721}"/>
              </a:ext>
            </a:extLst>
          </p:cNvPr>
          <p:cNvSpPr txBox="1">
            <a:spLocks/>
          </p:cNvSpPr>
          <p:nvPr/>
        </p:nvSpPr>
        <p:spPr>
          <a:xfrm>
            <a:off x="1" y="-3752"/>
            <a:ext cx="12181236" cy="8958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 dirty="0"/>
              <a:t> KPI 1 : Provision of integrated, people-</a:t>
            </a:r>
            <a:r>
              <a:rPr lang="en-GB" sz="2400" dirty="0" err="1"/>
              <a:t>centered</a:t>
            </a:r>
            <a:r>
              <a:rPr lang="en-GB" sz="2400" dirty="0"/>
              <a:t>, high-quality services</a:t>
            </a:r>
          </a:p>
        </p:txBody>
      </p:sp>
      <p:sp>
        <p:nvSpPr>
          <p:cNvPr id="84" name="Slide Number Placeholder 1">
            <a:extLst>
              <a:ext uri="{FF2B5EF4-FFF2-40B4-BE49-F238E27FC236}">
                <a16:creationId xmlns:a16="http://schemas.microsoft.com/office/drawing/2014/main" id="{87EBC8AE-E8DD-4348-A898-1278FE8AD9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57002" y="6304309"/>
            <a:ext cx="897300" cy="365125"/>
          </a:xfrm>
        </p:spPr>
        <p:txBody>
          <a:bodyPr/>
          <a:lstStyle/>
          <a:p>
            <a:fld id="{9E2BE927-25C7-4379-86F1-C17ED9D2A7F2}" type="slidenum">
              <a:rPr lang="en-US" smtClean="0"/>
              <a:t>5</a:t>
            </a:fld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D365958-1319-4553-A41C-9EE73C8DB9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8088364"/>
              </p:ext>
            </p:extLst>
          </p:nvPr>
        </p:nvGraphicFramePr>
        <p:xfrm>
          <a:off x="604306" y="1830088"/>
          <a:ext cx="3362898" cy="26359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B0A205E-6B87-4A15-8257-D9B26E9AE02A}"/>
              </a:ext>
            </a:extLst>
          </p:cNvPr>
          <p:cNvCxnSpPr>
            <a:cxnSpLocks/>
          </p:cNvCxnSpPr>
          <p:nvPr/>
        </p:nvCxnSpPr>
        <p:spPr>
          <a:xfrm>
            <a:off x="4582149" y="1447069"/>
            <a:ext cx="744966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549EDD33-D1C7-4B4F-89CC-EF19992C51AF}"/>
              </a:ext>
            </a:extLst>
          </p:cNvPr>
          <p:cNvSpPr txBox="1"/>
          <p:nvPr/>
        </p:nvSpPr>
        <p:spPr>
          <a:xfrm>
            <a:off x="4662791" y="1066171"/>
            <a:ext cx="73183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1600" b="1" dirty="0"/>
              <a:t>Average by facility types</a:t>
            </a:r>
          </a:p>
        </p:txBody>
      </p:sp>
      <p:graphicFrame>
        <p:nvGraphicFramePr>
          <p:cNvPr id="82" name="Chart 81">
            <a:extLst>
              <a:ext uri="{FF2B5EF4-FFF2-40B4-BE49-F238E27FC236}">
                <a16:creationId xmlns:a16="http://schemas.microsoft.com/office/drawing/2014/main" id="{A414131B-6382-4347-BBAD-911BA5B836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907134"/>
              </p:ext>
            </p:extLst>
          </p:nvPr>
        </p:nvGraphicFramePr>
        <p:xfrm>
          <a:off x="222240" y="4284912"/>
          <a:ext cx="1840819" cy="17991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6" name="Rectangle 85">
            <a:extLst>
              <a:ext uri="{FF2B5EF4-FFF2-40B4-BE49-F238E27FC236}">
                <a16:creationId xmlns:a16="http://schemas.microsoft.com/office/drawing/2014/main" id="{12A7A32F-2A00-4722-97C2-3FCEDB47A07D}"/>
              </a:ext>
            </a:extLst>
          </p:cNvPr>
          <p:cNvSpPr/>
          <p:nvPr/>
        </p:nvSpPr>
        <p:spPr>
          <a:xfrm>
            <a:off x="4587428" y="5022938"/>
            <a:ext cx="7528010" cy="13262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Add chart to show all indicator scores on this page</a:t>
            </a: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9570E63A-F846-4D2A-9007-EDC88D30AB8F}"/>
              </a:ext>
            </a:extLst>
          </p:cNvPr>
          <p:cNvCxnSpPr>
            <a:cxnSpLocks/>
          </p:cNvCxnSpPr>
          <p:nvPr/>
        </p:nvCxnSpPr>
        <p:spPr>
          <a:xfrm>
            <a:off x="185206" y="1734742"/>
            <a:ext cx="420109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>
            <a:extLst>
              <a:ext uri="{FF2B5EF4-FFF2-40B4-BE49-F238E27FC236}">
                <a16:creationId xmlns:a16="http://schemas.microsoft.com/office/drawing/2014/main" id="{F5E03D2B-16D1-4AB0-89C7-82EA43BF1FEA}"/>
              </a:ext>
            </a:extLst>
          </p:cNvPr>
          <p:cNvSpPr txBox="1"/>
          <p:nvPr/>
        </p:nvSpPr>
        <p:spPr>
          <a:xfrm>
            <a:off x="222240" y="1066171"/>
            <a:ext cx="412703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1600" b="1" dirty="0"/>
              <a:t>Country Average for Indicator and Primary Dimensions</a:t>
            </a:r>
          </a:p>
        </p:txBody>
      </p:sp>
      <p:graphicFrame>
        <p:nvGraphicFramePr>
          <p:cNvPr id="89" name="Chart 88">
            <a:extLst>
              <a:ext uri="{FF2B5EF4-FFF2-40B4-BE49-F238E27FC236}">
                <a16:creationId xmlns:a16="http://schemas.microsoft.com/office/drawing/2014/main" id="{FEE28285-81CA-4F43-B4C9-5C936FC608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36792270"/>
              </p:ext>
            </p:extLst>
          </p:nvPr>
        </p:nvGraphicFramePr>
        <p:xfrm>
          <a:off x="2505906" y="4284912"/>
          <a:ext cx="1840819" cy="17991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0" name="TextBox 89">
            <a:extLst>
              <a:ext uri="{FF2B5EF4-FFF2-40B4-BE49-F238E27FC236}">
                <a16:creationId xmlns:a16="http://schemas.microsoft.com/office/drawing/2014/main" id="{3A1411BA-337D-4147-80F1-225EBD3C3719}"/>
              </a:ext>
            </a:extLst>
          </p:cNvPr>
          <p:cNvSpPr txBox="1"/>
          <p:nvPr/>
        </p:nvSpPr>
        <p:spPr>
          <a:xfrm>
            <a:off x="222240" y="5986519"/>
            <a:ext cx="171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sz="1200" dirty="0"/>
              <a:t>People-centeredness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0136B833-1CD6-4ABF-8936-D1C865D84B90}"/>
              </a:ext>
            </a:extLst>
          </p:cNvPr>
          <p:cNvSpPr txBox="1"/>
          <p:nvPr/>
        </p:nvSpPr>
        <p:spPr>
          <a:xfrm>
            <a:off x="2674188" y="5894186"/>
            <a:ext cx="15489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sz="1200" dirty="0"/>
              <a:t>Health worker competence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64EFDE24-4E9B-4631-8A08-B6C96F6BCA6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06538791"/>
              </p:ext>
            </p:extLst>
          </p:nvPr>
        </p:nvGraphicFramePr>
        <p:xfrm>
          <a:off x="6020822" y="1560667"/>
          <a:ext cx="5935814" cy="1034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92" name="Chart 91">
            <a:extLst>
              <a:ext uri="{FF2B5EF4-FFF2-40B4-BE49-F238E27FC236}">
                <a16:creationId xmlns:a16="http://schemas.microsoft.com/office/drawing/2014/main" id="{AD37689D-10D0-4E81-960F-6B0407AA942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38435267"/>
              </p:ext>
            </p:extLst>
          </p:nvPr>
        </p:nvGraphicFramePr>
        <p:xfrm>
          <a:off x="6020822" y="3564848"/>
          <a:ext cx="6010992" cy="1034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93" name="Chart 92">
            <a:extLst>
              <a:ext uri="{FF2B5EF4-FFF2-40B4-BE49-F238E27FC236}">
                <a16:creationId xmlns:a16="http://schemas.microsoft.com/office/drawing/2014/main" id="{CB7D7731-E58B-4B18-87F3-9B276552B5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8551675"/>
              </p:ext>
            </p:extLst>
          </p:nvPr>
        </p:nvGraphicFramePr>
        <p:xfrm>
          <a:off x="6020822" y="2530098"/>
          <a:ext cx="6010992" cy="1034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94" name="Group 93">
            <a:extLst>
              <a:ext uri="{FF2B5EF4-FFF2-40B4-BE49-F238E27FC236}">
                <a16:creationId xmlns:a16="http://schemas.microsoft.com/office/drawing/2014/main" id="{FE6BA20B-9966-443D-92FF-2143FF2B2F51}"/>
              </a:ext>
            </a:extLst>
          </p:cNvPr>
          <p:cNvGrpSpPr/>
          <p:nvPr/>
        </p:nvGrpSpPr>
        <p:grpSpPr>
          <a:xfrm>
            <a:off x="4591875" y="2752749"/>
            <a:ext cx="1285035" cy="588963"/>
            <a:chOff x="5068357" y="4216003"/>
            <a:chExt cx="2282627" cy="964883"/>
          </a:xfrm>
          <a:solidFill>
            <a:srgbClr val="C30C3E"/>
          </a:solidFill>
        </p:grpSpPr>
        <p:sp>
          <p:nvSpPr>
            <p:cNvPr id="109" name="Rounded Rectangle 124">
              <a:extLst>
                <a:ext uri="{FF2B5EF4-FFF2-40B4-BE49-F238E27FC236}">
                  <a16:creationId xmlns:a16="http://schemas.microsoft.com/office/drawing/2014/main" id="{09F4C969-7FA5-44E4-BDBD-3C83F335A923}"/>
                </a:ext>
              </a:extLst>
            </p:cNvPr>
            <p:cNvSpPr/>
            <p:nvPr/>
          </p:nvSpPr>
          <p:spPr>
            <a:xfrm>
              <a:off x="5068357" y="4216003"/>
              <a:ext cx="2282627" cy="964883"/>
            </a:xfrm>
            <a:prstGeom prst="roundRect">
              <a:avLst>
                <a:gd name="adj" fmla="val 4031"/>
              </a:avLst>
            </a:prstGeom>
            <a:solidFill>
              <a:srgbClr val="BA7DE6"/>
            </a:solidFill>
            <a:ln w="3175" cap="flat" cmpd="sng" algn="ctr">
              <a:solidFill>
                <a:srgbClr val="BA7DE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econdary health care facilities</a:t>
              </a:r>
            </a:p>
          </p:txBody>
        </p:sp>
        <p:pic>
          <p:nvPicPr>
            <p:cNvPr id="112" name="Picture 111">
              <a:extLst>
                <a:ext uri="{FF2B5EF4-FFF2-40B4-BE49-F238E27FC236}">
                  <a16:creationId xmlns:a16="http://schemas.microsoft.com/office/drawing/2014/main" id="{35083E9B-1361-4CBA-AD1D-8571FD3CF5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48655" y="4698444"/>
              <a:ext cx="464945" cy="464945"/>
            </a:xfrm>
            <a:prstGeom prst="rect">
              <a:avLst/>
            </a:prstGeom>
            <a:noFill/>
          </p:spPr>
        </p:pic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3CBDA7E3-9E14-4FDE-822B-B5ED830902E0}"/>
              </a:ext>
            </a:extLst>
          </p:cNvPr>
          <p:cNvGrpSpPr/>
          <p:nvPr/>
        </p:nvGrpSpPr>
        <p:grpSpPr>
          <a:xfrm>
            <a:off x="4591875" y="1796812"/>
            <a:ext cx="1285035" cy="561975"/>
            <a:chOff x="5068357" y="2990850"/>
            <a:chExt cx="2282627" cy="964883"/>
          </a:xfrm>
          <a:solidFill>
            <a:schemeClr val="accent2"/>
          </a:solidFill>
        </p:grpSpPr>
        <p:sp>
          <p:nvSpPr>
            <p:cNvPr id="117" name="Rounded Rectangle 123">
              <a:extLst>
                <a:ext uri="{FF2B5EF4-FFF2-40B4-BE49-F238E27FC236}">
                  <a16:creationId xmlns:a16="http://schemas.microsoft.com/office/drawing/2014/main" id="{D63352D3-F318-457F-B163-7059725CD788}"/>
                </a:ext>
              </a:extLst>
            </p:cNvPr>
            <p:cNvSpPr/>
            <p:nvPr/>
          </p:nvSpPr>
          <p:spPr>
            <a:xfrm>
              <a:off x="5068357" y="2990850"/>
              <a:ext cx="2282627" cy="964883"/>
            </a:xfrm>
            <a:prstGeom prst="roundRect">
              <a:avLst>
                <a:gd name="adj" fmla="val 5084"/>
              </a:avLst>
            </a:prstGeom>
            <a:solidFill>
              <a:srgbClr val="E8D4F7"/>
            </a:solidFill>
            <a:ln w="3175" cap="flat" cmpd="sng" algn="ctr">
              <a:solidFill>
                <a:srgbClr val="E8D4F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imary health care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acilities</a:t>
              </a:r>
            </a:p>
          </p:txBody>
        </p:sp>
        <p:pic>
          <p:nvPicPr>
            <p:cNvPr id="119" name="Picture 118">
              <a:extLst>
                <a:ext uri="{FF2B5EF4-FFF2-40B4-BE49-F238E27FC236}">
                  <a16:creationId xmlns:a16="http://schemas.microsoft.com/office/drawing/2014/main" id="{B062C421-4AC6-4FC4-AE77-9705FAC2D5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84215" y="3529013"/>
              <a:ext cx="393825" cy="393825"/>
            </a:xfrm>
            <a:prstGeom prst="rect">
              <a:avLst/>
            </a:prstGeom>
            <a:noFill/>
          </p:spPr>
        </p:pic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37CF1A4C-AB65-4E44-AECB-08D1C25AA75D}"/>
              </a:ext>
            </a:extLst>
          </p:cNvPr>
          <p:cNvGrpSpPr/>
          <p:nvPr/>
        </p:nvGrpSpPr>
        <p:grpSpPr>
          <a:xfrm>
            <a:off x="4582153" y="3783531"/>
            <a:ext cx="1294757" cy="596900"/>
            <a:chOff x="5068358" y="5441155"/>
            <a:chExt cx="1294644" cy="964883"/>
          </a:xfrm>
          <a:solidFill>
            <a:srgbClr val="F9E1A7"/>
          </a:solidFill>
        </p:grpSpPr>
        <p:sp>
          <p:nvSpPr>
            <p:cNvPr id="121" name="Rounded Rectangle 125">
              <a:extLst>
                <a:ext uri="{FF2B5EF4-FFF2-40B4-BE49-F238E27FC236}">
                  <a16:creationId xmlns:a16="http://schemas.microsoft.com/office/drawing/2014/main" id="{B42BE2C6-807C-4BCB-BC89-0FC4768CD51C}"/>
                </a:ext>
              </a:extLst>
            </p:cNvPr>
            <p:cNvSpPr/>
            <p:nvPr/>
          </p:nvSpPr>
          <p:spPr>
            <a:xfrm>
              <a:off x="5068358" y="5441155"/>
              <a:ext cx="1294644" cy="964883"/>
            </a:xfrm>
            <a:prstGeom prst="roundRect">
              <a:avLst>
                <a:gd name="adj" fmla="val 5084"/>
              </a:avLst>
            </a:prstGeom>
            <a:solidFill>
              <a:srgbClr val="461469"/>
            </a:solidFill>
            <a:ln w="3175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rtiary health care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acilities</a:t>
              </a:r>
            </a:p>
          </p:txBody>
        </p:sp>
        <p:pic>
          <p:nvPicPr>
            <p:cNvPr id="122" name="Picture 121">
              <a:extLst>
                <a:ext uri="{FF2B5EF4-FFF2-40B4-BE49-F238E27FC236}">
                  <a16:creationId xmlns:a16="http://schemas.microsoft.com/office/drawing/2014/main" id="{AC7270BB-04DC-497B-A90F-72B4249A94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89593" y="5943709"/>
              <a:ext cx="371806" cy="371806"/>
            </a:xfrm>
            <a:prstGeom prst="rect">
              <a:avLst/>
            </a:prstGeom>
            <a:noFill/>
          </p:spPr>
        </p:pic>
      </p:grpSp>
      <p:sp>
        <p:nvSpPr>
          <p:cNvPr id="81" name="TextBox 80">
            <a:extLst>
              <a:ext uri="{FF2B5EF4-FFF2-40B4-BE49-F238E27FC236}">
                <a16:creationId xmlns:a16="http://schemas.microsoft.com/office/drawing/2014/main" id="{3190BE78-F6BF-4694-BB8A-06DDFBA23464}"/>
              </a:ext>
            </a:extLst>
          </p:cNvPr>
          <p:cNvSpPr txBox="1"/>
          <p:nvPr/>
        </p:nvSpPr>
        <p:spPr>
          <a:xfrm>
            <a:off x="2063059" y="2917403"/>
            <a:ext cx="468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b="1" dirty="0"/>
              <a:t>85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BE050158-54A5-41D9-BA5D-B14F6F24298F}"/>
              </a:ext>
            </a:extLst>
          </p:cNvPr>
          <p:cNvSpPr txBox="1"/>
          <p:nvPr/>
        </p:nvSpPr>
        <p:spPr>
          <a:xfrm>
            <a:off x="1463363" y="4337291"/>
            <a:ext cx="171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sz="1200" dirty="0"/>
              <a:t>Full indicator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15E68DDF-D534-487C-9655-F75253184C73}"/>
              </a:ext>
            </a:extLst>
          </p:cNvPr>
          <p:cNvSpPr txBox="1"/>
          <p:nvPr/>
        </p:nvSpPr>
        <p:spPr>
          <a:xfrm>
            <a:off x="908649" y="4999818"/>
            <a:ext cx="468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b="1" dirty="0"/>
              <a:t>85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81B1A1C3-84B0-48B2-8D42-2283FC75C9BE}"/>
              </a:ext>
            </a:extLst>
          </p:cNvPr>
          <p:cNvSpPr txBox="1"/>
          <p:nvPr/>
        </p:nvSpPr>
        <p:spPr>
          <a:xfrm>
            <a:off x="3214645" y="4995449"/>
            <a:ext cx="468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b="1" dirty="0"/>
              <a:t>85</a:t>
            </a:r>
          </a:p>
        </p:txBody>
      </p:sp>
    </p:spTree>
    <p:extLst>
      <p:ext uri="{BB962C8B-B14F-4D97-AF65-F5344CB8AC3E}">
        <p14:creationId xmlns:p14="http://schemas.microsoft.com/office/powerpoint/2010/main" val="42512246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XCOLS" val="9"/>
  <p:tag name="MAXROWS" val="6"/>
  <p:tag name="MAXGUTTERROW" val="1 cm"/>
  <p:tag name="MAXGUTTERCOL" val="1 cm"/>
  <p:tag name="GUIDEMETRICUNIT" val="cm"/>
  <p:tag name="MASTERLEFTMARGIN" val="28.3465"/>
  <p:tag name="MASTERTOPMARGIN" val="141.7324"/>
  <p:tag name="MASTERBOTTOMMARGIN" val="70.8661"/>
  <p:tag name="MASTERRIGHTMARGIN" val="28.3465"/>
  <p:tag name="CUSTMASTERLEFTMARGIN" val="28.3465"/>
  <p:tag name="CUSTMASTERTOPMARGIN" val="141.7324"/>
  <p:tag name="CUSTMASTERBOTTOMMARGIN" val="70.8661"/>
  <p:tag name="CUSTMASTERRIGHTMARGIN" val="28.3465"/>
  <p:tag name="GUIDESAPPLIEDTO" val="2"/>
  <p:tag name="TITLETOPMARGIN" val="21.2599"/>
  <p:tag name="TITLEBOTTOMMARGIN" val="95.25"/>
  <p:tag name="THINKCELLPRESENTATIONDONOTDELETE" val="&lt;?xml version=&quot;1.0&quot; encoding=&quot;UTF-16&quot; standalone=&quot;yes&quot;?&gt;&lt;root reqver=&quot;27037&quot;&gt;&lt;version val=&quot;3296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3"/>
  <p:tag name="GUIDEROWS" val="1"/>
  <p:tag name="GUTTERCOL" val="0.6 cm"/>
  <p:tag name="GUTTERROW" val="0.6 cm"/>
  <p:tag name="GUIDESAPPLIEDTO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Jjj.Je65BYDJuT86666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IztLd1r_H9BLfK4Vw6t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Jjj.Je65BYDJuT86666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Jjj.Je65BYDJuT86666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2"/>
  <p:tag name="GUTTERCOL" val="0.6 cm"/>
  <p:tag name="GUTTERROW" val="0.6 cm"/>
  <p:tag name="GUIDESAPPLIEDTO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IztLd1r_H9BLfK4Vw6t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Jjj.Je65BYDJuT86666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4"/>
  <p:tag name="GUIDEROWS" val="1"/>
  <p:tag name="GUTTERCOL" val="0.6 cm"/>
  <p:tag name="GUTTERROW" val="0.6 cm"/>
  <p:tag name="GUIDESAPPLIEDTO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3"/>
  <p:tag name="GUIDEROWS" val="1"/>
  <p:tag name="GUTTERCOL" val="0.6 cm"/>
  <p:tag name="GUTTERROW" val="0.6 cm"/>
  <p:tag name="GUIDESAPPLIEDTO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4"/>
  <p:tag name="GUIDEROWS" val="1"/>
  <p:tag name="GUTTERCOL" val="0.6 cm"/>
  <p:tag name="GUTTERROW" val="0.6 cm"/>
  <p:tag name="GUIDESAPPLIEDTO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TITLESHAPE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4"/>
  <p:tag name="GUIDEROWS" val="1"/>
  <p:tag name="GUTTERCOL" val="0.6 cm"/>
  <p:tag name="GUTTERROW" val="0.6 cm"/>
  <p:tag name="GUIDESAPPLIEDTO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MEASURMENT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1"/>
  <p:tag name="GUTTERCOL" val="0.6 cm"/>
  <p:tag name="GUTTERROW" val="0.6 cm"/>
  <p:tag name="GUIDESAPPLIEDTO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TITLESHAPE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MEASURMENT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IDECOLS" val="1"/>
  <p:tag name="GUIDEROWS" val="1"/>
  <p:tag name="GUTTERCOL" val="0.6"/>
  <p:tag name="GUTTERROW" val="0.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IDECOLS" val="1"/>
  <p:tag name="GUIDEROWS" val="1"/>
  <p:tag name="GUTTERCOL" val="0.6"/>
  <p:tag name="GUTTERROW" val="0.6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3"/>
  <p:tag name="GUIDEROWS" val="1"/>
  <p:tag name="GUTTERCOL" val="0.6 cm"/>
  <p:tag name="GUTTERROW" val="0.6 cm"/>
  <p:tag name="GUIDESAPPLIEDTO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2"/>
  <p:tag name="GUTTERCOL" val="0.6 cm"/>
  <p:tag name="GUTTERROW" val="0.6 cm"/>
  <p:tag name="GUIDESAPPLIEDTO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4"/>
  <p:tag name="GUIDEROWS" val="1"/>
  <p:tag name="GUTTERCOL" val="0.6 cm"/>
  <p:tag name="GUTTERROW" val="0.6 cm"/>
  <p:tag name="GUIDESAPPLIEDTO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3"/>
  <p:tag name="GUIDEROWS" val="1"/>
  <p:tag name="GUTTERCOL" val="0.6 cm"/>
  <p:tag name="GUTTERROW" val="0.6 cm"/>
  <p:tag name="GUIDESAPPLIEDTO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4"/>
  <p:tag name="GUIDEROWS" val="1"/>
  <p:tag name="GUTTERCOL" val="0.6 cm"/>
  <p:tag name="GUTTERROW" val="0.6 cm"/>
  <p:tag name="GUIDESAPPLIEDTO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4"/>
  <p:tag name="GUIDEROWS" val="1"/>
  <p:tag name="GUTTERCOL" val="0.6 cm"/>
  <p:tag name="GUTTERROW" val="0.6 cm"/>
  <p:tag name="GUIDESAPPLIEDTO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1"/>
  <p:tag name="GUTTERCOL" val="0.6 cm"/>
  <p:tag name="GUTTERROW" val="0.6 cm"/>
  <p:tag name="GUIDESAPPLIEDTO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Office Theme">
  <a:themeElements>
    <a:clrScheme name="__Global Fund">
      <a:dk1>
        <a:sysClr val="windowText" lastClr="000000"/>
      </a:dk1>
      <a:lt1>
        <a:sysClr val="window" lastClr="FFFFFF"/>
      </a:lt1>
      <a:dk2>
        <a:srgbClr val="939393"/>
      </a:dk2>
      <a:lt2>
        <a:srgbClr val="D1D3D4"/>
      </a:lt2>
      <a:accent1>
        <a:srgbClr val="EE0C3D"/>
      </a:accent1>
      <a:accent2>
        <a:srgbClr val="2E4DF9"/>
      </a:accent2>
      <a:accent3>
        <a:srgbClr val="FAD90D"/>
      </a:accent3>
      <a:accent4>
        <a:srgbClr val="44CC36"/>
      </a:accent4>
      <a:accent5>
        <a:srgbClr val="FC9B00"/>
      </a:accent5>
      <a:accent6>
        <a:srgbClr val="8C29D3"/>
      </a:accent6>
      <a:hlink>
        <a:srgbClr val="EE0C3D"/>
      </a:hlink>
      <a:folHlink>
        <a:srgbClr val="2E4DF9"/>
      </a:folHlink>
    </a:clrScheme>
    <a:fontScheme name="The Global Fund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.potx" id="{0E450436-E164-4C98-91D5-B61F304C1443}" vid="{06F56BEF-E294-4202-A558-926633D5E1E6}"/>
    </a:ext>
  </a:extLst>
</a:theme>
</file>

<file path=ppt/theme/theme2.xml><?xml version="1.0" encoding="utf-8"?>
<a:theme xmlns:a="http://schemas.openxmlformats.org/drawingml/2006/main" name="2_Office Theme">
  <a:themeElements>
    <a:clrScheme name="__Global Fund">
      <a:dk1>
        <a:sysClr val="windowText" lastClr="000000"/>
      </a:dk1>
      <a:lt1>
        <a:sysClr val="window" lastClr="FFFFFF"/>
      </a:lt1>
      <a:dk2>
        <a:srgbClr val="939393"/>
      </a:dk2>
      <a:lt2>
        <a:srgbClr val="D1D3D4"/>
      </a:lt2>
      <a:accent1>
        <a:srgbClr val="EE0C3D"/>
      </a:accent1>
      <a:accent2>
        <a:srgbClr val="2E4DF9"/>
      </a:accent2>
      <a:accent3>
        <a:srgbClr val="FAD90D"/>
      </a:accent3>
      <a:accent4>
        <a:srgbClr val="44CC36"/>
      </a:accent4>
      <a:accent5>
        <a:srgbClr val="FC9B00"/>
      </a:accent5>
      <a:accent6>
        <a:srgbClr val="8C29D3"/>
      </a:accent6>
      <a:hlink>
        <a:srgbClr val="EE0C3D"/>
      </a:hlink>
      <a:folHlink>
        <a:srgbClr val="2E4DF9"/>
      </a:folHlink>
    </a:clrScheme>
    <a:fontScheme name="The Global Fund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.potx" id="{0E450436-E164-4C98-91D5-B61F304C1443}" vid="{06F56BEF-E294-4202-A558-926633D5E1E6}"/>
    </a:ext>
  </a:extLst>
</a:theme>
</file>

<file path=ppt/theme/theme3.xml><?xml version="1.0" encoding="utf-8"?>
<a:theme xmlns:a="http://schemas.openxmlformats.org/drawingml/2006/main" name="3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EE0C3D"/>
      </a:accent1>
      <a:accent2>
        <a:srgbClr val="2E4DF9"/>
      </a:accent2>
      <a:accent3>
        <a:srgbClr val="FAD90D"/>
      </a:accent3>
      <a:accent4>
        <a:srgbClr val="FC9B00"/>
      </a:accent4>
      <a:accent5>
        <a:srgbClr val="44CC36"/>
      </a:accent5>
      <a:accent6>
        <a:srgbClr val="8C29D3"/>
      </a:accent6>
      <a:hlink>
        <a:srgbClr val="0000FF"/>
      </a:hlink>
      <a:folHlink>
        <a:srgbClr val="800080"/>
      </a:folHlink>
    </a:clrScheme>
    <a:fontScheme name="Custom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EE0C3D"/>
        </a:accent1>
        <a:accent2>
          <a:srgbClr val="2E4DF9"/>
        </a:accent2>
        <a:accent3>
          <a:srgbClr val="FAD90D"/>
        </a:accent3>
        <a:accent4>
          <a:srgbClr val="FC9B00"/>
        </a:accent4>
        <a:accent5>
          <a:srgbClr val="44CC36"/>
        </a:accent5>
        <a:accent6>
          <a:srgbClr val="8C29D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GV0356_OFF.potx" id="{3141AFE8-B2E1-43D5-9DDA-B139D5A7748A}" vid="{D3E2B1E5-239A-4D62-B9A7-A5D064ABC61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3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010F27D-960A-4B5B-A17B-57401A512C7D}">
  <we:reference id="f1abd87f-a3ba-42fb-91d5-100000000000" version="1.0.0.6" store="EXCatalog" storeType="EXCatalog"/>
  <we:alternateReferences>
    <we:reference id="WA104380278" version="1.0.0.6" store="en-US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documentContentValidatorConfiguration":{"enableDocumentContentValidator":false,"documentContentValidatorVersion":0},"elementsMetadata":[],"slideId":"637583062410043406","enableDocumentContentUpdater":true,"version":"1.10"}]]></TemplafySlideTemplateConfiguration>
</file>

<file path=customXml/item10.xml><?xml version="1.0" encoding="utf-8"?>
<TemplafySlideTemplateConfiguration><![CDATA[{"documentContentValidatorConfiguration":{"enableDocumentContentValidator":false,"documentContentValidatorVersion":0},"elementsMetadata":[],"slideId":"637583062409887152","enableDocumentContentUpdater":true,"version":"1.10"}]]></TemplafySlideTemplate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TemplateConfiguration><![CDATA[{"documentContentValidatorConfiguration":{"enableDocumentContentValidator":false,"documentContentValidatorVersion":0},"elementsMetadata":[],"slideId":"637583062410355965","enableDocumentContentUpdater":true,"version":"1.10"}]]></TemplafySlideTemplateConfiguration>
</file>

<file path=customXml/item1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b5b3e28e-126a-4198-9176-7a9a4cddfa47">
      <UserInfo>
        <DisplayName>Karen Zamboni</DisplayName>
        <AccountId>201</AccountId>
        <AccountType/>
      </UserInfo>
      <UserInfo>
        <DisplayName>Maud Rivoire</DisplayName>
        <AccountId>58</AccountId>
        <AccountType/>
      </UserInfo>
      <UserInfo>
        <DisplayName>Juliet Bryant - 2</DisplayName>
        <AccountId>150</AccountId>
        <AccountType/>
      </UserInfo>
      <UserInfo>
        <DisplayName>Toni Whistler</DisplayName>
        <AccountId>296</AccountId>
        <AccountType/>
      </UserInfo>
      <UserInfo>
        <DisplayName>Sandra Irbe</DisplayName>
        <AccountId>90</AccountId>
        <AccountType/>
      </UserInfo>
      <UserInfo>
        <DisplayName>Nalinee Sangrujee</DisplayName>
        <AccountId>278</AccountId>
        <AccountType/>
      </UserInfo>
      <UserInfo>
        <DisplayName>Ben Park</DisplayName>
        <AccountId>285</AccountId>
        <AccountType/>
      </UserInfo>
      <UserInfo>
        <DisplayName>Nicholas Oliphant</DisplayName>
        <AccountId>208</AccountId>
        <AccountType/>
      </UserInfo>
      <UserInfo>
        <DisplayName>Stephen Kimatu</DisplayName>
        <AccountId>311</AccountId>
        <AccountType/>
      </UserInfo>
      <UserInfo>
        <DisplayName>Dardane Arifaj</DisplayName>
        <AccountId>148</AccountId>
        <AccountType/>
      </UserInfo>
      <UserInfo>
        <DisplayName>Alain Prat</DisplayName>
        <AccountId>297</AccountId>
        <AccountType/>
      </UserInfo>
      <UserInfo>
        <DisplayName>Samira Hadana</DisplayName>
        <AccountId>12</AccountId>
        <AccountType/>
      </UserInfo>
      <UserInfo>
        <DisplayName>Sandrine Cloez</DisplayName>
        <AccountId>298</AccountId>
        <AccountType/>
      </UserInfo>
    </SharedWithUsers>
    <lcf76f155ced4ddcb4097134ff3c332f xmlns="17933f9c-be11-4baa-a5a9-1ead26986908">
      <Terms xmlns="http://schemas.microsoft.com/office/infopath/2007/PartnerControls"/>
    </lcf76f155ced4ddcb4097134ff3c332f>
    <TaxCatchAll xmlns="b5b3e28e-126a-4198-9176-7a9a4cddfa47" xsi:nil="true"/>
  </documentManagement>
</p:properties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TemplateConfiguration><![CDATA[{"elementsMetadata":[{"type":"shape","id":"75e29959-3882-4429-8714-44ba5bcf4f7a","elementConfiguration":{"inheritDimensions":"inheritWidth","binding":"Form.DocLang.Logo_horizontal","disableUpdates":false,"type":"image"}},{"type":"shape","id":"885f5805-58be-4ab0-a651-dab7ba2249a4","elementConfiguration":{"inheritDimensions":"inheritWidth","binding":"Form.DocLang.Logo_stacked_black","disableUpdates":false,"type":"image"}},{"type":"shape","id":"4d9b3a11-fbfa-4d52-b923-56265da5eff0","elementConfiguration":{"inheritDimensions":"inheritWidth","binding":"Form.DocLang.Logo_stacked_black","disableUpdates":false,"type":"image"}},{"type":"shape","id":"8acd1dfe-ca90-47a8-8b5e-5901a125b25c","elementConfiguration":{"inheritDimensions":"inheritWidth","binding":"Form.DocLang.Logo_stacked_black","disableUpdates":false,"type":"image"}},{"type":"shape","id":"68428251-c7c0-4d31-9e14-d98c662cd6b3","elementConfiguration":{"inheritDimensions":"inheritWidth","binding":"Form.DocLang.Logo_stacked_black","disableUpdates":false,"type":"image"}},{"type":"shape","id":"2996ed4c-ca9b-4443-911c-da4156efb094","elementConfiguration":{"inheritDimensions":"inheritWidth","binding":"Form.DocLang.Logo_stacked_black","disableUpdates":false,"type":"image"}},{"type":"shape","id":"e858da4f-aeff-4351-a888-4b335f815c8b","elementConfiguration":{"inheritDimensions":"inheritWidth","binding":"Form.DocLang.Logo_stacked_colour","disableUpdates":false,"type":"image"}},{"type":"shape","id":"48488bad-a84e-49c0-9a02-616a35022e17","elementConfiguration":{"inheritDimensions":"inheritWidth","binding":"Form.DocLang.Logo_stacked_black","disableUpdates":false,"type":"image"}},{"type":"shape","id":"c23c06be-f3c9-449c-a78d-1fe3586db483","elementConfiguration":{"inheritDimensions":"inheritWidth","binding":"Form.DocLang.Logo_stacked_colour","disableUpdates":false,"type":"image"}},{"type":"shape","id":"a45f3bc4-b0c6-48eb-8bac-da651050f0a5","elementConfiguration":{"inheritDimensions":"inheritWidth","binding":"Form.DocLang.Logo_stacked_white","disableUpdates":false,"type":"image"}},{"type":"shape","id":"b5eb3e21-d681-4032-9a1c-d6ce183302dc","elementConfiguration":{"inheritDimensions":"inheritWidth","binding":"Form.DocLang.Logo_stacked_black","disableUpdates":false,"type":"image"}},{"type":"shape","id":"3258589b-5309-4eb2-9b7d-be03ca973363","elementConfiguration":{"inheritDimensions":"inheritWidth","binding":"Form.DocLang.Logo_stacked_black","disableUpdates":false,"type":"image"}},{"type":"shape","id":"e104d76c-22dc-4d75-b30b-7aa3b21ade2f","elementConfiguration":{"inheritDimensions":"inheritWidth","binding":"Form.DocLang.Logo_stacked_colour","disableUpdates":false,"type":"image"}}],"transformationConfigurations":[{"language":"{{Form.DocLang.StdSpell}}","disableUpdates":false,"type":"proofingLanguage"}],"templateName":"","templateDescription":"","enableDocumentContentUpdater":true,"version":"1.10"}]]></TemplafyTemplateConfiguration>
</file>

<file path=customXml/item17.xml><?xml version="1.0" encoding="utf-8"?>
<TemplafySlideTemplateConfiguration><![CDATA[{"documentContentValidatorConfiguration":{"enableDocumentContentValidator":false,"documentContentValidatorVersion":0},"elementsMetadata":[],"slideId":"637583062410512162","enableDocumentContentUpdater":true,"version":"1.10"}]]></TemplafySlideTemplateConfiguration>
</file>

<file path=customXml/item18.xml><?xml version="1.0" encoding="utf-8"?>
<TemplafySlideTemplateConfiguration><![CDATA[{"documentContentValidatorConfiguration":{"enableDocumentContentValidator":false,"documentContentValidatorVersion":0},"elementsMetadata":[],"slideId":"637583062410668407","enableDocumentContentUpdater":true,"version":"1.10"}]]></TemplafySlideTemplateConfiguration>
</file>

<file path=customXml/item19.xml><?xml version="1.0" encoding="utf-8"?>
<TemplafySlideTemplateConfiguration><![CDATA[{"documentContentValidatorConfiguration":{"enableDocumentContentValidator":false,"documentContentValidatorVersion":0},"elementsMetadata":[],"slideId":"637583062409887152","enableDocumentContentUpdater":true,"version":"1.10"}]]></TemplafySlideTemplateConfiguration>
</file>

<file path=customXml/item2.xml><?xml version="1.0" encoding="utf-8"?>
<TemplafySlideFormConfiguration><![CDATA[{"formFields":[],"formDataEntries":[]}]]></TemplafySlideFormConfiguration>
</file>

<file path=customXml/item20.xml><?xml version="1.0" encoding="utf-8"?>
<TemplafySlideTemplateConfiguration><![CDATA[{"documentContentValidatorConfiguration":{"enableDocumentContentValidator":false,"documentContentValidatorVersion":0},"elementsMetadata":[],"slideId":"637583062410512162","enableDocumentContentUpdater":true,"version":"1.10"}]]></TemplafySlideTemplate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TemplateConfiguration><![CDATA[{"documentContentValidatorConfiguration":{"enableDocumentContentValidator":false,"documentContentValidatorVersion":0},"elementsMetadata":[],"slideId":"637583062410355965","enableDocumentContentUpdater":true,"version":"1.10"}]]></TemplafySlideTemplateConfiguration>
</file>

<file path=customXml/item2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4.xml><?xml version="1.0" encoding="utf-8"?>
<TemplafySlideTemplateConfiguration><![CDATA[{"documentContentValidatorConfiguration":{"enableDocumentContentValidator":false,"documentContentValidatorVersion":0},"elementsMetadata":[],"slideId":"637583062410043406","enableDocumentContentUpdater":true,"version":"1.10"}]]></TemplafySlideTemplateConfiguration>
</file>

<file path=customXml/item25.xml><?xml version="1.0" encoding="utf-8"?>
<TemplafySlideFormConfiguration><![CDATA[{"formFields":[],"formDataEntries":[]}]]></TemplafySlideFormConfiguration>
</file>

<file path=customXml/item2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7141C08D2377147AE884921457E4118" ma:contentTypeVersion="13" ma:contentTypeDescription="Create a new document." ma:contentTypeScope="" ma:versionID="068ddbfd91aef5bc744879205c9c74ee">
  <xsd:schema xmlns:xsd="http://www.w3.org/2001/XMLSchema" xmlns:xs="http://www.w3.org/2001/XMLSchema" xmlns:p="http://schemas.microsoft.com/office/2006/metadata/properties" xmlns:ns2="17933f9c-be11-4baa-a5a9-1ead26986908" xmlns:ns3="b5b3e28e-126a-4198-9176-7a9a4cddfa47" targetNamespace="http://schemas.microsoft.com/office/2006/metadata/properties" ma:root="true" ma:fieldsID="768592ea11a78aee58355b4ca81d3218" ns2:_="" ns3:_="">
    <xsd:import namespace="17933f9c-be11-4baa-a5a9-1ead26986908"/>
    <xsd:import namespace="b5b3e28e-126a-4198-9176-7a9a4cddfa4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933f9c-be11-4baa-a5a9-1ead2698690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cbc5697c-9d86-4020-9001-b7da574043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b3e28e-126a-4198-9176-7a9a4cddfa4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d66cc1a4-c817-4395-ab27-20c19dabb4d3}" ma:internalName="TaxCatchAll" ma:showField="CatchAllData" ma:web="b5b3e28e-126a-4198-9176-7a9a4cddfa4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7.xml><?xml version="1.0" encoding="utf-8"?>
<TemplafySlideFormConfiguration><![CDATA[{"formFields":[],"formDataEntries":[]}]]></TemplafySlideFormConfiguration>
</file>

<file path=customXml/item3.xml><?xml version="1.0" encoding="utf-8"?>
<TemplafyFormConfiguration><![CDATA[{"formFields":[{"dataSource":"Languages","displayColumn":"language","defaultValue":"{{UserProfile.DocumentLanguage.Id}}","hideIfNoUserInteractionRequired":false,"distinct":true,"required":true,"autoSelectFirstOption":false,"helpTexts":{"prefix":"","postfix":""},"spacing":{},"type":"dropDown","name":"DocLang","label":"Document Language","fullyQualifiedName":"DocLang"}],"formDataEntries":[{"name":"DocLang","value":"Yq4f8ikL1FlYGwH8CgaazA=="}]}]]></TemplafyFormConfiguration>
</file>

<file path=customXml/item4.xml><?xml version="1.0" encoding="utf-8"?>
<TemplafySlideFormConfiguration><![CDATA[{"formFields":[],"formDataEntries":[]}]]></TemplafySlideForm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documentContentValidatorConfiguration":{"enableDocumentContentValidator":false,"documentContentValidatorVersion":0},"elementsMetadata":[],"slideId":"637583062409730928","enableDocumentContentUpdater":true,"version":"1.10"}]]></TemplafySlideTemplate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TemplateConfiguration><![CDATA[{"documentContentValidatorConfiguration":{"enableDocumentContentValidator":false,"documentContentValidatorVersion":0},"elementsMetadata":[],"slideId":"637583062409730928","enableDocumentContentUpdater":true,"version":"1.10"}]]></TemplafySlideTemplate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9C9A752C-E6C9-4C94-971E-84800D4F5CD0}">
  <ds:schemaRefs/>
</ds:datastoreItem>
</file>

<file path=customXml/itemProps10.xml><?xml version="1.0" encoding="utf-8"?>
<ds:datastoreItem xmlns:ds="http://schemas.openxmlformats.org/officeDocument/2006/customXml" ds:itemID="{F6A79B5E-9EDA-4A74-8918-4D6A727F126A}">
  <ds:schemaRefs/>
</ds:datastoreItem>
</file>

<file path=customXml/itemProps11.xml><?xml version="1.0" encoding="utf-8"?>
<ds:datastoreItem xmlns:ds="http://schemas.openxmlformats.org/officeDocument/2006/customXml" ds:itemID="{065B7E90-D4B4-42D4-882F-A9A584AD6B3C}">
  <ds:schemaRefs/>
</ds:datastoreItem>
</file>

<file path=customXml/itemProps12.xml><?xml version="1.0" encoding="utf-8"?>
<ds:datastoreItem xmlns:ds="http://schemas.openxmlformats.org/officeDocument/2006/customXml" ds:itemID="{397103EF-FE04-4DFC-92E5-E605C2E06E58}">
  <ds:schemaRefs/>
</ds:datastoreItem>
</file>

<file path=customXml/itemProps13.xml><?xml version="1.0" encoding="utf-8"?>
<ds:datastoreItem xmlns:ds="http://schemas.openxmlformats.org/officeDocument/2006/customXml" ds:itemID="{42E67A68-7568-46F5-9D84-9883C9524B6F}">
  <ds:schemaRefs/>
</ds:datastoreItem>
</file>

<file path=customXml/itemProps14.xml><?xml version="1.0" encoding="utf-8"?>
<ds:datastoreItem xmlns:ds="http://schemas.openxmlformats.org/officeDocument/2006/customXml" ds:itemID="{78C4199D-B32C-43FE-8FA0-D74E0A2A7557}">
  <ds:schemaRefs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purl.org/dc/dcmitype/"/>
    <ds:schemaRef ds:uri="http://purl.org/dc/terms/"/>
    <ds:schemaRef ds:uri="17933f9c-be11-4baa-a5a9-1ead26986908"/>
    <ds:schemaRef ds:uri="http://schemas.openxmlformats.org/package/2006/metadata/core-properties"/>
    <ds:schemaRef ds:uri="b5b3e28e-126a-4198-9176-7a9a4cddfa47"/>
    <ds:schemaRef ds:uri="http://schemas.microsoft.com/office/2006/metadata/properties"/>
    <ds:schemaRef ds:uri="http://www.w3.org/XML/1998/namespace"/>
  </ds:schemaRefs>
</ds:datastoreItem>
</file>

<file path=customXml/itemProps15.xml><?xml version="1.0" encoding="utf-8"?>
<ds:datastoreItem xmlns:ds="http://schemas.openxmlformats.org/officeDocument/2006/customXml" ds:itemID="{9DD5DA6F-37EC-4303-94E7-CEB89028ED7F}">
  <ds:schemaRefs/>
</ds:datastoreItem>
</file>

<file path=customXml/itemProps16.xml><?xml version="1.0" encoding="utf-8"?>
<ds:datastoreItem xmlns:ds="http://schemas.openxmlformats.org/officeDocument/2006/customXml" ds:itemID="{24B83C46-1F1A-4859-B726-FAA3C0298E1C}">
  <ds:schemaRefs/>
</ds:datastoreItem>
</file>

<file path=customXml/itemProps17.xml><?xml version="1.0" encoding="utf-8"?>
<ds:datastoreItem xmlns:ds="http://schemas.openxmlformats.org/officeDocument/2006/customXml" ds:itemID="{97513F1A-EDB8-452C-B31A-823AACC67C43}">
  <ds:schemaRefs/>
</ds:datastoreItem>
</file>

<file path=customXml/itemProps18.xml><?xml version="1.0" encoding="utf-8"?>
<ds:datastoreItem xmlns:ds="http://schemas.openxmlformats.org/officeDocument/2006/customXml" ds:itemID="{3D5471B5-2D37-4E43-AEC4-2BFD6E8DD8F9}">
  <ds:schemaRefs/>
</ds:datastoreItem>
</file>

<file path=customXml/itemProps19.xml><?xml version="1.0" encoding="utf-8"?>
<ds:datastoreItem xmlns:ds="http://schemas.openxmlformats.org/officeDocument/2006/customXml" ds:itemID="{9EE5938A-8A9F-41E8-AE0F-A4A9DF5A4410}">
  <ds:schemaRefs/>
</ds:datastoreItem>
</file>

<file path=customXml/itemProps2.xml><?xml version="1.0" encoding="utf-8"?>
<ds:datastoreItem xmlns:ds="http://schemas.openxmlformats.org/officeDocument/2006/customXml" ds:itemID="{BCC0A21A-5483-43DF-BD28-110E4E8C22C8}">
  <ds:schemaRefs/>
</ds:datastoreItem>
</file>

<file path=customXml/itemProps20.xml><?xml version="1.0" encoding="utf-8"?>
<ds:datastoreItem xmlns:ds="http://schemas.openxmlformats.org/officeDocument/2006/customXml" ds:itemID="{35B88C32-8F00-40F4-B1FC-BE6389EF9DD2}">
  <ds:schemaRefs/>
</ds:datastoreItem>
</file>

<file path=customXml/itemProps21.xml><?xml version="1.0" encoding="utf-8"?>
<ds:datastoreItem xmlns:ds="http://schemas.openxmlformats.org/officeDocument/2006/customXml" ds:itemID="{0843F014-F63A-4A96-9A81-8149A20DC8DB}">
  <ds:schemaRefs/>
</ds:datastoreItem>
</file>

<file path=customXml/itemProps22.xml><?xml version="1.0" encoding="utf-8"?>
<ds:datastoreItem xmlns:ds="http://schemas.openxmlformats.org/officeDocument/2006/customXml" ds:itemID="{EDDC3791-9401-406A-9496-BF52CAD8C740}">
  <ds:schemaRefs/>
</ds:datastoreItem>
</file>

<file path=customXml/itemProps23.xml><?xml version="1.0" encoding="utf-8"?>
<ds:datastoreItem xmlns:ds="http://schemas.openxmlformats.org/officeDocument/2006/customXml" ds:itemID="{B5CC00E5-0E29-472D-A362-2B448A7C6B47}">
  <ds:schemaRefs>
    <ds:schemaRef ds:uri="http://schemas.microsoft.com/sharepoint/v3/contenttype/forms"/>
  </ds:schemaRefs>
</ds:datastoreItem>
</file>

<file path=customXml/itemProps24.xml><?xml version="1.0" encoding="utf-8"?>
<ds:datastoreItem xmlns:ds="http://schemas.openxmlformats.org/officeDocument/2006/customXml" ds:itemID="{9637CDD4-016D-4706-91CE-BEDB72C1CF7B}">
  <ds:schemaRefs/>
</ds:datastoreItem>
</file>

<file path=customXml/itemProps25.xml><?xml version="1.0" encoding="utf-8"?>
<ds:datastoreItem xmlns:ds="http://schemas.openxmlformats.org/officeDocument/2006/customXml" ds:itemID="{29AE7D6C-4B79-424C-B40C-0C1EA6DAFBA2}">
  <ds:schemaRefs/>
</ds:datastoreItem>
</file>

<file path=customXml/itemProps26.xml><?xml version="1.0" encoding="utf-8"?>
<ds:datastoreItem xmlns:ds="http://schemas.openxmlformats.org/officeDocument/2006/customXml" ds:itemID="{462FFB4A-6D11-4C45-89FF-9BCE9110B3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7933f9c-be11-4baa-a5a9-1ead26986908"/>
    <ds:schemaRef ds:uri="b5b3e28e-126a-4198-9176-7a9a4cddfa4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7.xml><?xml version="1.0" encoding="utf-8"?>
<ds:datastoreItem xmlns:ds="http://schemas.openxmlformats.org/officeDocument/2006/customXml" ds:itemID="{DFE7971E-E660-419C-B6B9-385840446D67}">
  <ds:schemaRefs/>
</ds:datastoreItem>
</file>

<file path=customXml/itemProps3.xml><?xml version="1.0" encoding="utf-8"?>
<ds:datastoreItem xmlns:ds="http://schemas.openxmlformats.org/officeDocument/2006/customXml" ds:itemID="{3767200E-D1D8-4965-855E-9803E6657062}">
  <ds:schemaRefs/>
</ds:datastoreItem>
</file>

<file path=customXml/itemProps4.xml><?xml version="1.0" encoding="utf-8"?>
<ds:datastoreItem xmlns:ds="http://schemas.openxmlformats.org/officeDocument/2006/customXml" ds:itemID="{A4DE39FF-A9F8-4849-BA66-C5B610850F40}">
  <ds:schemaRefs/>
</ds:datastoreItem>
</file>

<file path=customXml/itemProps5.xml><?xml version="1.0" encoding="utf-8"?>
<ds:datastoreItem xmlns:ds="http://schemas.openxmlformats.org/officeDocument/2006/customXml" ds:itemID="{B7256D98-D766-458C-AFFB-EF4134177978}">
  <ds:schemaRefs/>
</ds:datastoreItem>
</file>

<file path=customXml/itemProps6.xml><?xml version="1.0" encoding="utf-8"?>
<ds:datastoreItem xmlns:ds="http://schemas.openxmlformats.org/officeDocument/2006/customXml" ds:itemID="{41B18765-8E8D-4975-B4C8-58FD9CE4991F}">
  <ds:schemaRefs/>
</ds:datastoreItem>
</file>

<file path=customXml/itemProps7.xml><?xml version="1.0" encoding="utf-8"?>
<ds:datastoreItem xmlns:ds="http://schemas.openxmlformats.org/officeDocument/2006/customXml" ds:itemID="{440C306E-45CA-4929-ADF0-D056F1ECBF75}">
  <ds:schemaRefs/>
</ds:datastoreItem>
</file>

<file path=customXml/itemProps8.xml><?xml version="1.0" encoding="utf-8"?>
<ds:datastoreItem xmlns:ds="http://schemas.openxmlformats.org/officeDocument/2006/customXml" ds:itemID="{10DF56B6-A6CD-4EA1-8CCD-682845BDDBFB}">
  <ds:schemaRefs/>
</ds:datastoreItem>
</file>

<file path=customXml/itemProps9.xml><?xml version="1.0" encoding="utf-8"?>
<ds:datastoreItem xmlns:ds="http://schemas.openxmlformats.org/officeDocument/2006/customXml" ds:itemID="{99DF1B51-39D2-49C2-90A6-49419C8EC480}">
  <ds:schemaRefs/>
</ds:datastoreItem>
</file>

<file path=docMetadata/LabelInfo.xml><?xml version="1.0" encoding="utf-8"?>
<clbl:labelList xmlns:clbl="http://schemas.microsoft.com/office/2020/mipLabelMetadata">
  <clbl:label id="{77920909-8782-4efb-aaf1-44ac114d7c03}" enabled="0" method="" siteId="{77920909-8782-4efb-aaf1-44ac114d7c03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78BA2670</Template>
  <TotalTime>9276</TotalTime>
  <Words>385</Words>
  <Application>Microsoft Office PowerPoint</Application>
  <PresentationFormat>Widescreen</PresentationFormat>
  <Paragraphs>104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Arial</vt:lpstr>
      <vt:lpstr>Arial Black</vt:lpstr>
      <vt:lpstr>Bahnschrift</vt:lpstr>
      <vt:lpstr>Calibri</vt:lpstr>
      <vt:lpstr>Segoe UI</vt:lpstr>
      <vt:lpstr>Wingdings</vt:lpstr>
      <vt:lpstr>Office Theme</vt:lpstr>
      <vt:lpstr>2_Office Theme</vt:lpstr>
      <vt:lpstr>3_Whi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he Global Fun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lentine Adaiwo</dc:creator>
  <cp:lastModifiedBy>Seun Osonuga</cp:lastModifiedBy>
  <cp:revision>10</cp:revision>
  <dcterms:created xsi:type="dcterms:W3CDTF">2022-06-01T19:35:12Z</dcterms:created>
  <dcterms:modified xsi:type="dcterms:W3CDTF">2024-07-25T08:52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 Version">
    <vt:lpwstr>1.0.2</vt:lpwstr>
  </property>
  <property fmtid="{D5CDD505-2E9C-101B-9397-08002B2CF9AE}" pid="3" name="TemplafyTimeStamp">
    <vt:lpwstr>2021-06-03T08:37:19.7193650Z</vt:lpwstr>
  </property>
  <property fmtid="{D5CDD505-2E9C-101B-9397-08002B2CF9AE}" pid="4" name="TemplafyTenantId">
    <vt:lpwstr>theglobalfund</vt:lpwstr>
  </property>
  <property fmtid="{D5CDD505-2E9C-101B-9397-08002B2CF9AE}" pid="5" name="TemplafyTemplateId">
    <vt:lpwstr>637578145338082095</vt:lpwstr>
  </property>
  <property fmtid="{D5CDD505-2E9C-101B-9397-08002B2CF9AE}" pid="6" name="TemplafyUserProfileId">
    <vt:lpwstr>637871572840144028</vt:lpwstr>
  </property>
  <property fmtid="{D5CDD505-2E9C-101B-9397-08002B2CF9AE}" pid="7" name="TemplafyLanguageCode">
    <vt:lpwstr>en-US</vt:lpwstr>
  </property>
  <property fmtid="{D5CDD505-2E9C-101B-9397-08002B2CF9AE}" pid="8" name="ContentTypeId">
    <vt:lpwstr>0x01010047141C08D2377147AE884921457E4118</vt:lpwstr>
  </property>
  <property fmtid="{D5CDD505-2E9C-101B-9397-08002B2CF9AE}" pid="9" name="MediaServiceImageTags">
    <vt:lpwstr/>
  </property>
</Properties>
</file>